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6" r:id="rId4"/>
    <p:sldMasterId id="2147483908" r:id="rId5"/>
  </p:sldMasterIdLst>
  <p:notesMasterIdLst>
    <p:notesMasterId r:id="rId8"/>
  </p:notesMasterIdLst>
  <p:sldIdLst>
    <p:sldId id="2076137522" r:id="rId6"/>
    <p:sldId id="6289"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0C2A"/>
    <a:srgbClr val="3CA8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BA1298-98B7-4066-BAEC-C955B970C64A}" v="113" dt="2021-08-10T01:57:30.2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6" d="100"/>
          <a:sy n="86" d="100"/>
        </p:scale>
        <p:origin x="66" y="1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0F4895-A86F-4FDA-A09D-B40C8F9AC076}" type="datetimeFigureOut">
              <a:rPr lang="en-SG" smtClean="0"/>
              <a:t>20/10/2021</a:t>
            </a:fld>
            <a:endParaRPr lang="en-S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E067E9B-B9F3-4549-82FD-9703D523AC8B}" type="slidenum">
              <a:rPr lang="en-SG" smtClean="0"/>
              <a:t>‹#›</a:t>
            </a:fld>
            <a:endParaRPr lang="en-SG"/>
          </a:p>
        </p:txBody>
      </p:sp>
    </p:spTree>
    <p:extLst>
      <p:ext uri="{BB962C8B-B14F-4D97-AF65-F5344CB8AC3E}">
        <p14:creationId xmlns:p14="http://schemas.microsoft.com/office/powerpoint/2010/main" val="2533128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067E9B-B9F3-4549-82FD-9703D523AC8B}"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05606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 Black Standar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57200" y="2436307"/>
            <a:ext cx="6724650" cy="1477328"/>
          </a:xfrm>
        </p:spPr>
        <p:txBody>
          <a:bodyPr wrap="square" anchor="b">
            <a:spAutoFit/>
          </a:bodyPr>
          <a:lstStyle>
            <a:lvl1pPr algn="l">
              <a:lnSpc>
                <a:spcPct val="80000"/>
              </a:lnSpc>
              <a:defRPr sz="6000">
                <a:ln w="9525" cap="rnd">
                  <a:noFill/>
                </a:ln>
                <a:solidFill>
                  <a:schemeClr val="bg1"/>
                </a:solidFill>
              </a:defRPr>
            </a:lvl1pPr>
          </a:lstStyle>
          <a:p>
            <a:r>
              <a:rPr lang="en-US"/>
              <a:t>Click to edit Master title style</a:t>
            </a:r>
          </a:p>
        </p:txBody>
      </p:sp>
      <p:sp>
        <p:nvSpPr>
          <p:cNvPr id="54" name="Text Placeholder 53"/>
          <p:cNvSpPr>
            <a:spLocks noGrp="1"/>
          </p:cNvSpPr>
          <p:nvPr>
            <p:ph type="body" sz="quarter" idx="10" hasCustomPrompt="1"/>
          </p:nvPr>
        </p:nvSpPr>
        <p:spPr bwMode="gray">
          <a:xfrm>
            <a:off x="457200" y="4365591"/>
            <a:ext cx="6724650" cy="2074414"/>
          </a:xfrm>
        </p:spPr>
        <p:txBody>
          <a:bodyPr wrap="square">
            <a:spAutoFit/>
          </a:bodyPr>
          <a:lstStyle>
            <a:lvl1pPr marL="0" indent="0">
              <a:spcBef>
                <a:spcPts val="600"/>
              </a:spcBef>
              <a:spcAft>
                <a:spcPts val="200"/>
              </a:spcAft>
              <a:buClr>
                <a:schemeClr val="bg1"/>
              </a:buClr>
              <a:buFont typeface="Arial" panose="020B0604020202020204" pitchFamily="34" charset="0"/>
              <a:buChar char="​"/>
              <a:defRPr sz="2400" b="1" cap="all" baseline="0">
                <a:solidFill>
                  <a:schemeClr val="bg1"/>
                </a:solidFill>
              </a:defRPr>
            </a:lvl1pPr>
            <a:lvl2pPr marL="0" indent="0">
              <a:spcBef>
                <a:spcPts val="5400"/>
              </a:spcBef>
              <a:spcAft>
                <a:spcPts val="0"/>
              </a:spcAft>
              <a:buClr>
                <a:schemeClr val="bg1"/>
              </a:buClr>
              <a:buFont typeface="Arial" panose="020B0604020202020204" pitchFamily="34" charset="0"/>
              <a:buChar char="​"/>
              <a:defRPr sz="1800" b="1">
                <a:solidFill>
                  <a:schemeClr val="bg1"/>
                </a:solidFill>
              </a:defRPr>
            </a:lvl2pPr>
            <a:lvl3pPr marL="0" indent="0">
              <a:spcBef>
                <a:spcPts val="200"/>
              </a:spcBef>
              <a:spcAft>
                <a:spcPts val="200"/>
              </a:spcAft>
              <a:buClr>
                <a:schemeClr val="bg1"/>
              </a:buClr>
              <a:buFont typeface="Arial" panose="020B0604020202020204" pitchFamily="34" charset="0"/>
              <a:buChar char="​"/>
              <a:defRPr sz="1600" b="0" spc="50" baseline="0">
                <a:solidFill>
                  <a:schemeClr val="bg2"/>
                </a:solidFill>
              </a:defRPr>
            </a:lvl3pPr>
            <a:lvl4pPr marL="0" indent="0">
              <a:spcBef>
                <a:spcPts val="2400"/>
              </a:spcBef>
              <a:spcAft>
                <a:spcPts val="200"/>
              </a:spcAft>
              <a:buClr>
                <a:schemeClr val="bg1"/>
              </a:buClr>
              <a:buFont typeface="Arial" panose="020B0604020202020204" pitchFamily="34" charset="0"/>
              <a:buChar char="​"/>
              <a:defRPr sz="1400" b="0" spc="0">
                <a:solidFill>
                  <a:schemeClr val="bg1"/>
                </a:solidFill>
              </a:defRPr>
            </a:lvl4pPr>
            <a:lvl5pPr marL="0" indent="0">
              <a:spcBef>
                <a:spcPts val="2400"/>
              </a:spcBef>
              <a:spcAft>
                <a:spcPts val="200"/>
              </a:spcAft>
              <a:buClr>
                <a:schemeClr val="bg1"/>
              </a:buClr>
              <a:buFont typeface="Arial" panose="020B0604020202020204" pitchFamily="34" charset="0"/>
              <a:buChar char="​"/>
              <a:defRPr sz="1400">
                <a:solidFill>
                  <a:schemeClr val="bg1"/>
                </a:solidFill>
              </a:defRPr>
            </a:lvl5pPr>
            <a:lvl6pPr marL="0" indent="0">
              <a:spcBef>
                <a:spcPts val="2400"/>
              </a:spcBef>
              <a:spcAft>
                <a:spcPts val="200"/>
              </a:spcAft>
              <a:buClr>
                <a:schemeClr val="bg1"/>
              </a:buClr>
              <a:buFont typeface="Arial" panose="020B0604020202020204" pitchFamily="34" charset="0"/>
              <a:buChar char="​"/>
              <a:defRPr sz="1400">
                <a:solidFill>
                  <a:schemeClr val="bg1"/>
                </a:solidFill>
              </a:defRPr>
            </a:lvl6pPr>
            <a:lvl7pPr marL="0" indent="0">
              <a:spcBef>
                <a:spcPts val="2400"/>
              </a:spcBef>
              <a:spcAft>
                <a:spcPts val="200"/>
              </a:spcAft>
              <a:buClr>
                <a:schemeClr val="bg1"/>
              </a:buClr>
              <a:buFont typeface="Arial" panose="020B0604020202020204" pitchFamily="34" charset="0"/>
              <a:buChar char="​"/>
              <a:defRPr sz="1400">
                <a:solidFill>
                  <a:schemeClr val="bg1"/>
                </a:solidFill>
              </a:defRPr>
            </a:lvl7pPr>
            <a:lvl8pPr marL="0" indent="0">
              <a:spcBef>
                <a:spcPts val="2400"/>
              </a:spcBef>
              <a:spcAft>
                <a:spcPts val="200"/>
              </a:spcAft>
              <a:buClr>
                <a:schemeClr val="bg1"/>
              </a:buClr>
              <a:buFont typeface="Arial" panose="020B0604020202020204" pitchFamily="34" charset="0"/>
              <a:buChar char="​"/>
              <a:defRPr sz="1400">
                <a:solidFill>
                  <a:schemeClr val="bg1"/>
                </a:solidFill>
              </a:defRPr>
            </a:lvl8pPr>
            <a:lvl9pPr marL="0" indent="0">
              <a:spcBef>
                <a:spcPts val="2400"/>
              </a:spcBef>
              <a:spcAft>
                <a:spcPts val="200"/>
              </a:spcAft>
              <a:buClr>
                <a:schemeClr val="bg1"/>
              </a:buClr>
              <a:buFont typeface="Arial" panose="020B0604020202020204" pitchFamily="34" charset="0"/>
              <a:buChar char="​"/>
              <a:defRPr sz="1400">
                <a:solidFill>
                  <a:schemeClr val="bg1"/>
                </a:solidFill>
              </a:defRPr>
            </a:lvl9pPr>
          </a:lstStyle>
          <a:p>
            <a:pPr lvl="0"/>
            <a:r>
              <a:rPr lang="en-US"/>
              <a:t>Edit Master text styles: subtitle</a:t>
            </a:r>
          </a:p>
          <a:p>
            <a:pPr lvl="1"/>
            <a:r>
              <a:rPr lang="en-US"/>
              <a:t>Second level: name</a:t>
            </a:r>
          </a:p>
          <a:p>
            <a:pPr lvl="2"/>
            <a:r>
              <a:rPr lang="en-US"/>
              <a:t>Third level: position/title</a:t>
            </a:r>
          </a:p>
          <a:p>
            <a:pPr lvl="3"/>
            <a:r>
              <a:rPr lang="en-US"/>
              <a:t>Fourth level: date</a:t>
            </a:r>
          </a:p>
        </p:txBody>
      </p:sp>
      <p:cxnSp>
        <p:nvCxnSpPr>
          <p:cNvPr id="68" name="Straight Connector 67">
            <a:extLst>
              <a:ext uri="{FF2B5EF4-FFF2-40B4-BE49-F238E27FC236}">
                <a16:creationId xmlns:a16="http://schemas.microsoft.com/office/drawing/2014/main" id="{D47C6403-C2B0-4709-BEB5-E21E2D054A25}"/>
              </a:ext>
            </a:extLst>
          </p:cNvPr>
          <p:cNvCxnSpPr>
            <a:cxnSpLocks/>
          </p:cNvCxnSpPr>
          <p:nvPr userDrawn="1"/>
        </p:nvCxnSpPr>
        <p:spPr>
          <a:xfrm>
            <a:off x="457200" y="4108450"/>
            <a:ext cx="4813300" cy="0"/>
          </a:xfrm>
          <a:prstGeom prst="line">
            <a:avLst/>
          </a:prstGeom>
          <a:ln w="9525"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72" name="Graphic 71">
            <a:extLst>
              <a:ext uri="{FF2B5EF4-FFF2-40B4-BE49-F238E27FC236}">
                <a16:creationId xmlns:a16="http://schemas.microsoft.com/office/drawing/2014/main" id="{A85426BA-7511-40D7-B7E9-BA00B4C2F4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650287" y="5686425"/>
            <a:ext cx="3248025" cy="1190625"/>
          </a:xfrm>
          <a:prstGeom prst="rect">
            <a:avLst/>
          </a:prstGeom>
        </p:spPr>
      </p:pic>
      <p:sp>
        <p:nvSpPr>
          <p:cNvPr id="24" name="Freeform: Shape 23">
            <a:extLst>
              <a:ext uri="{FF2B5EF4-FFF2-40B4-BE49-F238E27FC236}">
                <a16:creationId xmlns:a16="http://schemas.microsoft.com/office/drawing/2014/main" id="{7F3B351C-A4EE-47A3-82A1-40E905B43CCD}"/>
              </a:ext>
            </a:extLst>
          </p:cNvPr>
          <p:cNvSpPr/>
          <p:nvPr userDrawn="1"/>
        </p:nvSpPr>
        <p:spPr>
          <a:xfrm>
            <a:off x="4959913" y="-1"/>
            <a:ext cx="7232087" cy="2366874"/>
          </a:xfrm>
          <a:custGeom>
            <a:avLst/>
            <a:gdLst>
              <a:gd name="connsiteX0" fmla="*/ 0 w 7232087"/>
              <a:gd name="connsiteY0" fmla="*/ 0 h 2366874"/>
              <a:gd name="connsiteX1" fmla="*/ 150075 w 7232087"/>
              <a:gd name="connsiteY1" fmla="*/ 0 h 2366874"/>
              <a:gd name="connsiteX2" fmla="*/ 150078 w 7232087"/>
              <a:gd name="connsiteY2" fmla="*/ 1 h 2366874"/>
              <a:gd name="connsiteX3" fmla="*/ 1504285 w 7232087"/>
              <a:gd name="connsiteY3" fmla="*/ 1 h 2366874"/>
              <a:gd name="connsiteX4" fmla="*/ 7232087 w 7232087"/>
              <a:gd name="connsiteY4" fmla="*/ 1832657 h 2366874"/>
              <a:gd name="connsiteX5" fmla="*/ 7232087 w 7232087"/>
              <a:gd name="connsiteY5" fmla="*/ 2366874 h 2366874"/>
              <a:gd name="connsiteX6" fmla="*/ 0 w 7232087"/>
              <a:gd name="connsiteY6" fmla="*/ 0 h 2366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2087" h="2366874">
                <a:moveTo>
                  <a:pt x="0" y="0"/>
                </a:moveTo>
                <a:lnTo>
                  <a:pt x="150075" y="0"/>
                </a:lnTo>
                <a:lnTo>
                  <a:pt x="150078" y="1"/>
                </a:lnTo>
                <a:lnTo>
                  <a:pt x="1504285" y="1"/>
                </a:lnTo>
                <a:lnTo>
                  <a:pt x="7232087" y="1832657"/>
                </a:lnTo>
                <a:lnTo>
                  <a:pt x="7232087" y="236687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99ADFB20-CE8A-4A02-980E-02103DA5D04D}"/>
              </a:ext>
            </a:extLst>
          </p:cNvPr>
          <p:cNvSpPr/>
          <p:nvPr userDrawn="1"/>
        </p:nvSpPr>
        <p:spPr>
          <a:xfrm>
            <a:off x="969789" y="0"/>
            <a:ext cx="11222210" cy="3672739"/>
          </a:xfrm>
          <a:custGeom>
            <a:avLst/>
            <a:gdLst>
              <a:gd name="connsiteX0" fmla="*/ 0 w 11222210"/>
              <a:gd name="connsiteY0" fmla="*/ 0 h 3672739"/>
              <a:gd name="connsiteX1" fmla="*/ 3990123 w 11222210"/>
              <a:gd name="connsiteY1" fmla="*/ 0 h 3672739"/>
              <a:gd name="connsiteX2" fmla="*/ 11222210 w 11222210"/>
              <a:gd name="connsiteY2" fmla="*/ 2366874 h 3672739"/>
              <a:gd name="connsiteX3" fmla="*/ 11222210 w 11222210"/>
              <a:gd name="connsiteY3" fmla="*/ 3672739 h 3672739"/>
              <a:gd name="connsiteX4" fmla="*/ 0 w 11222210"/>
              <a:gd name="connsiteY4" fmla="*/ 0 h 3672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22210" h="3672739">
                <a:moveTo>
                  <a:pt x="0" y="0"/>
                </a:moveTo>
                <a:lnTo>
                  <a:pt x="3990123" y="0"/>
                </a:lnTo>
                <a:lnTo>
                  <a:pt x="11222210" y="2366874"/>
                </a:lnTo>
                <a:lnTo>
                  <a:pt x="11222210" y="3672739"/>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699AF9E5-2A57-4198-AD83-B83A731BA064}"/>
              </a:ext>
            </a:extLst>
          </p:cNvPr>
          <p:cNvSpPr/>
          <p:nvPr userDrawn="1"/>
        </p:nvSpPr>
        <p:spPr>
          <a:xfrm>
            <a:off x="12192000" y="2333700"/>
            <a:ext cx="211755" cy="102152"/>
          </a:xfrm>
          <a:custGeom>
            <a:avLst/>
            <a:gdLst>
              <a:gd name="connsiteX0" fmla="*/ 211755 w 211755"/>
              <a:gd name="connsiteY0" fmla="*/ 0 h 102152"/>
              <a:gd name="connsiteX1" fmla="*/ 210765 w 211755"/>
              <a:gd name="connsiteY1" fmla="*/ 102152 h 102152"/>
              <a:gd name="connsiteX2" fmla="*/ 0 w 211755"/>
              <a:gd name="connsiteY2" fmla="*/ 33174 h 102152"/>
              <a:gd name="connsiteX3" fmla="*/ 0 w 211755"/>
              <a:gd name="connsiteY3" fmla="*/ 33173 h 102152"/>
              <a:gd name="connsiteX4" fmla="*/ 210765 w 211755"/>
              <a:gd name="connsiteY4" fmla="*/ 102151 h 102152"/>
              <a:gd name="connsiteX5" fmla="*/ 211755 w 211755"/>
              <a:gd name="connsiteY5" fmla="*/ 0 h 10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755" h="102152">
                <a:moveTo>
                  <a:pt x="211755" y="0"/>
                </a:moveTo>
                <a:lnTo>
                  <a:pt x="210765" y="102152"/>
                </a:lnTo>
                <a:lnTo>
                  <a:pt x="0" y="33174"/>
                </a:lnTo>
                <a:lnTo>
                  <a:pt x="0" y="33173"/>
                </a:lnTo>
                <a:lnTo>
                  <a:pt x="210765" y="102151"/>
                </a:lnTo>
                <a:lnTo>
                  <a:pt x="211755"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1C2F3CC4-9606-4E53-A622-4673CD23228F}"/>
              </a:ext>
            </a:extLst>
          </p:cNvPr>
          <p:cNvSpPr/>
          <p:nvPr userDrawn="1"/>
        </p:nvSpPr>
        <p:spPr>
          <a:xfrm>
            <a:off x="6371924" y="0"/>
            <a:ext cx="5845476" cy="1857398"/>
          </a:xfrm>
          <a:custGeom>
            <a:avLst/>
            <a:gdLst>
              <a:gd name="connsiteX0" fmla="*/ 0 w 7899400"/>
              <a:gd name="connsiteY0" fmla="*/ 0 h 3086100"/>
              <a:gd name="connsiteX1" fmla="*/ 7899400 w 7899400"/>
              <a:gd name="connsiteY1" fmla="*/ 0 h 3086100"/>
              <a:gd name="connsiteX2" fmla="*/ 7899400 w 7899400"/>
              <a:gd name="connsiteY2" fmla="*/ 3086100 h 3086100"/>
              <a:gd name="connsiteX3" fmla="*/ 0 w 7899400"/>
              <a:gd name="connsiteY3" fmla="*/ 0 h 3086100"/>
            </a:gdLst>
            <a:ahLst/>
            <a:cxnLst>
              <a:cxn ang="0">
                <a:pos x="connsiteX0" y="connsiteY0"/>
              </a:cxn>
              <a:cxn ang="0">
                <a:pos x="connsiteX1" y="connsiteY1"/>
              </a:cxn>
              <a:cxn ang="0">
                <a:pos x="connsiteX2" y="connsiteY2"/>
              </a:cxn>
              <a:cxn ang="0">
                <a:pos x="connsiteX3" y="connsiteY3"/>
              </a:cxn>
            </a:cxnLst>
            <a:rect l="l" t="t" r="r" b="b"/>
            <a:pathLst>
              <a:path w="7899400" h="3086100">
                <a:moveTo>
                  <a:pt x="0" y="0"/>
                </a:moveTo>
                <a:lnTo>
                  <a:pt x="7899400" y="0"/>
                </a:lnTo>
                <a:lnTo>
                  <a:pt x="7899400" y="30861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296019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ntent - Standar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B8A98BB-1323-40AE-BD7B-03146CA9976F}"/>
              </a:ext>
            </a:extLst>
          </p:cNvPr>
          <p:cNvSpPr>
            <a:spLocks noGrp="1"/>
          </p:cNvSpPr>
          <p:nvPr>
            <p:ph sz="quarter" idx="19"/>
          </p:nvPr>
        </p:nvSpPr>
        <p:spPr>
          <a:xfrm>
            <a:off x="457200" y="1943100"/>
            <a:ext cx="3454400" cy="44577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a:extLst>
              <a:ext uri="{FF2B5EF4-FFF2-40B4-BE49-F238E27FC236}">
                <a16:creationId xmlns:a16="http://schemas.microsoft.com/office/drawing/2014/main" id="{8B2C515F-1E57-4A3B-9E47-8A7381E7FE9F}"/>
              </a:ext>
            </a:extLst>
          </p:cNvPr>
          <p:cNvSpPr>
            <a:spLocks noGrp="1"/>
          </p:cNvSpPr>
          <p:nvPr>
            <p:ph sz="quarter" idx="20"/>
          </p:nvPr>
        </p:nvSpPr>
        <p:spPr>
          <a:xfrm>
            <a:off x="4368800" y="1943100"/>
            <a:ext cx="3454400" cy="44577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4">
            <a:extLst>
              <a:ext uri="{FF2B5EF4-FFF2-40B4-BE49-F238E27FC236}">
                <a16:creationId xmlns:a16="http://schemas.microsoft.com/office/drawing/2014/main" id="{F4D69AE9-BA87-40DD-95DB-B6CE8597D23A}"/>
              </a:ext>
            </a:extLst>
          </p:cNvPr>
          <p:cNvSpPr>
            <a:spLocks noGrp="1"/>
          </p:cNvSpPr>
          <p:nvPr>
            <p:ph sz="quarter" idx="21"/>
          </p:nvPr>
        </p:nvSpPr>
        <p:spPr>
          <a:xfrm>
            <a:off x="8280400" y="1943100"/>
            <a:ext cx="3454400" cy="44577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24E9BA8E-8BF2-458F-AFEC-73F2D07C0A12}"/>
              </a:ext>
            </a:extLst>
          </p:cNvPr>
          <p:cNvSpPr>
            <a:spLocks noGrp="1"/>
          </p:cNvSpPr>
          <p:nvPr>
            <p:ph type="title"/>
          </p:nvPr>
        </p:nvSpPr>
        <p:spPr>
          <a:xfrm>
            <a:off x="457200" y="457200"/>
            <a:ext cx="10902950" cy="553998"/>
          </a:xfrm>
        </p:spPr>
        <p:txBody>
          <a:bodyPr/>
          <a:lstStyle>
            <a:lvl1pPr>
              <a:defRPr>
                <a:solidFill>
                  <a:schemeClr val="accent1"/>
                </a:solidFill>
              </a:defRPr>
            </a:lvl1pPr>
          </a:lstStyle>
          <a:p>
            <a:r>
              <a:rPr lang="en-US"/>
              <a:t>Click to edit Master title style</a:t>
            </a:r>
          </a:p>
        </p:txBody>
      </p:sp>
      <p:sp>
        <p:nvSpPr>
          <p:cNvPr id="13" name="Text Placeholder 2">
            <a:extLst>
              <a:ext uri="{FF2B5EF4-FFF2-40B4-BE49-F238E27FC236}">
                <a16:creationId xmlns:a16="http://schemas.microsoft.com/office/drawing/2014/main" id="{D003DEBD-293F-4817-8905-6EDCC3BAC8B6}"/>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853339FB-85DA-4B5F-903E-C7DC8965D943}"/>
              </a:ext>
            </a:extLst>
          </p:cNvPr>
          <p:cNvSpPr>
            <a:spLocks noGrp="1"/>
          </p:cNvSpPr>
          <p:nvPr>
            <p:ph type="sldNum" sz="quarter" idx="2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26025400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 Standar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8FA402D-8265-4389-AB41-CAE6A862A304}"/>
              </a:ext>
            </a:extLst>
          </p:cNvPr>
          <p:cNvSpPr>
            <a:spLocks noGrp="1"/>
          </p:cNvSpPr>
          <p:nvPr>
            <p:ph type="title"/>
          </p:nvPr>
        </p:nvSpPr>
        <p:spPr>
          <a:xfrm>
            <a:off x="457200" y="457200"/>
            <a:ext cx="10902950" cy="553998"/>
          </a:xfrm>
        </p:spPr>
        <p:txBody>
          <a:bodyPr/>
          <a:lstStyle>
            <a:lvl1pPr>
              <a:defRPr>
                <a:solidFill>
                  <a:schemeClr val="accent1"/>
                </a:solidFill>
              </a:defRPr>
            </a:lvl1pPr>
          </a:lstStyle>
          <a:p>
            <a:r>
              <a:rPr lang="en-US"/>
              <a:t>Click to edit Master title style</a:t>
            </a:r>
          </a:p>
        </p:txBody>
      </p:sp>
      <p:sp>
        <p:nvSpPr>
          <p:cNvPr id="12" name="Text Placeholder 2">
            <a:extLst>
              <a:ext uri="{FF2B5EF4-FFF2-40B4-BE49-F238E27FC236}">
                <a16:creationId xmlns:a16="http://schemas.microsoft.com/office/drawing/2014/main" id="{90AD8EE2-D532-4A78-A680-7C2CF646D513}"/>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5" name="Content Placeholder 4">
            <a:extLst>
              <a:ext uri="{FF2B5EF4-FFF2-40B4-BE49-F238E27FC236}">
                <a16:creationId xmlns:a16="http://schemas.microsoft.com/office/drawing/2014/main" id="{9DE971B7-757A-4B7B-B932-50CE0B707BF7}"/>
              </a:ext>
            </a:extLst>
          </p:cNvPr>
          <p:cNvSpPr>
            <a:spLocks noGrp="1"/>
          </p:cNvSpPr>
          <p:nvPr>
            <p:ph sz="quarter" idx="20"/>
          </p:nvPr>
        </p:nvSpPr>
        <p:spPr>
          <a:xfrm>
            <a:off x="457200" y="1943101"/>
            <a:ext cx="2438400" cy="4457700"/>
          </a:xfrm>
        </p:spPr>
        <p:txBody>
          <a:bodyPr/>
          <a:lstStyle>
            <a:lvl1pPr>
              <a:defRPr sz="16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6CC814C8-2E3E-4B10-ABDC-C0D3E962EBF0}"/>
              </a:ext>
            </a:extLst>
          </p:cNvPr>
          <p:cNvSpPr>
            <a:spLocks noGrp="1"/>
          </p:cNvSpPr>
          <p:nvPr>
            <p:ph sz="quarter" idx="21"/>
          </p:nvPr>
        </p:nvSpPr>
        <p:spPr>
          <a:xfrm>
            <a:off x="3390900" y="1943101"/>
            <a:ext cx="2476500" cy="4457700"/>
          </a:xfrm>
        </p:spPr>
        <p:txBody>
          <a:bodyPr/>
          <a:lstStyle>
            <a:lvl1pPr>
              <a:defRPr sz="16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D38922D6-B529-4B9D-BF69-C765B5C679EA}"/>
              </a:ext>
            </a:extLst>
          </p:cNvPr>
          <p:cNvSpPr>
            <a:spLocks noGrp="1"/>
          </p:cNvSpPr>
          <p:nvPr>
            <p:ph sz="quarter" idx="22"/>
          </p:nvPr>
        </p:nvSpPr>
        <p:spPr>
          <a:xfrm>
            <a:off x="6324600" y="1943101"/>
            <a:ext cx="2476500" cy="4457700"/>
          </a:xfrm>
        </p:spPr>
        <p:txBody>
          <a:bodyPr/>
          <a:lstStyle>
            <a:lvl1pPr>
              <a:defRPr sz="16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6C102AF4-3DE7-49FB-8721-6DF46E4B9B9A}"/>
              </a:ext>
            </a:extLst>
          </p:cNvPr>
          <p:cNvSpPr>
            <a:spLocks noGrp="1"/>
          </p:cNvSpPr>
          <p:nvPr>
            <p:ph sz="quarter" idx="23"/>
          </p:nvPr>
        </p:nvSpPr>
        <p:spPr>
          <a:xfrm>
            <a:off x="9258300" y="1943101"/>
            <a:ext cx="2476500" cy="4457700"/>
          </a:xfrm>
        </p:spPr>
        <p:txBody>
          <a:bodyPr/>
          <a:lstStyle>
            <a:lvl1pPr>
              <a:defRPr sz="1600"/>
            </a:lvl1pPr>
            <a:lvl2pPr>
              <a:defRPr sz="16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5A0A7A74-A715-4F42-A1A6-5E00285DD091}"/>
              </a:ext>
            </a:extLst>
          </p:cNvPr>
          <p:cNvSpPr>
            <a:spLocks noGrp="1"/>
          </p:cNvSpPr>
          <p:nvPr>
            <p:ph type="sldNum" sz="quarter" idx="25"/>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19987938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9688E61-57E8-46C0-975D-0C433FFC1DFC}"/>
              </a:ext>
            </a:extLst>
          </p:cNvPr>
          <p:cNvPicPr>
            <a:picLocks noChangeAspect="1"/>
          </p:cNvPicPr>
          <p:nvPr userDrawn="1"/>
        </p:nvPicPr>
        <p:blipFill rotWithShape="1">
          <a:blip r:embed="rId2" cstate="screen">
            <a:alphaModFix amt="70000"/>
            <a:extLst>
              <a:ext uri="{28A0092B-C50C-407E-A947-70E740481C1C}">
                <a14:useLocalDpi xmlns:a14="http://schemas.microsoft.com/office/drawing/2010/main"/>
              </a:ext>
            </a:extLst>
          </a:blip>
          <a:srcRect/>
          <a:stretch/>
        </p:blipFill>
        <p:spPr>
          <a:xfrm>
            <a:off x="8964" y="0"/>
            <a:ext cx="12183036" cy="6858000"/>
          </a:xfrm>
          <a:prstGeom prst="rect">
            <a:avLst/>
          </a:prstGeom>
        </p:spPr>
      </p:pic>
      <p:sp>
        <p:nvSpPr>
          <p:cNvPr id="2" name="Title 1"/>
          <p:cNvSpPr>
            <a:spLocks noGrp="1"/>
          </p:cNvSpPr>
          <p:nvPr>
            <p:ph type="title"/>
          </p:nvPr>
        </p:nvSpPr>
        <p:spPr>
          <a:xfrm>
            <a:off x="457200" y="453014"/>
            <a:ext cx="10902950" cy="553998"/>
          </a:xfrm>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8B815F77-2A4A-4F54-8774-A2D2FE1B8917}"/>
              </a:ext>
            </a:extLst>
          </p:cNvPr>
          <p:cNvSpPr>
            <a:spLocks noGrp="1"/>
          </p:cNvSpPr>
          <p:nvPr>
            <p:ph type="sldNum" sz="quarter" idx="11"/>
          </p:nvPr>
        </p:nvSpPr>
        <p:spPr/>
        <p:txBody>
          <a:bodyPr/>
          <a:lstStyle/>
          <a:p>
            <a:fld id="{4C9EABC9-A6DF-4002-BA8F-FA0D4CABB02D}" type="slidenum">
              <a:rPr lang="en-US" smtClean="0"/>
              <a:pPr/>
              <a:t>‹#›</a:t>
            </a:fld>
            <a:endParaRPr lang="en-US"/>
          </a:p>
        </p:txBody>
      </p:sp>
      <p:grpSp>
        <p:nvGrpSpPr>
          <p:cNvPr id="6" name="Group 5">
            <a:extLst>
              <a:ext uri="{FF2B5EF4-FFF2-40B4-BE49-F238E27FC236}">
                <a16:creationId xmlns:a16="http://schemas.microsoft.com/office/drawing/2014/main" id="{3562A713-E671-4AEB-91B9-104A77C9F363}"/>
              </a:ext>
            </a:extLst>
          </p:cNvPr>
          <p:cNvGrpSpPr/>
          <p:nvPr userDrawn="1"/>
        </p:nvGrpSpPr>
        <p:grpSpPr>
          <a:xfrm>
            <a:off x="11411716" y="457200"/>
            <a:ext cx="323850" cy="324895"/>
            <a:chOff x="11693125" y="130630"/>
            <a:chExt cx="368246" cy="369434"/>
          </a:xfrm>
        </p:grpSpPr>
        <p:sp>
          <p:nvSpPr>
            <p:cNvPr id="7" name="Freeform 5">
              <a:extLst>
                <a:ext uri="{FF2B5EF4-FFF2-40B4-BE49-F238E27FC236}">
                  <a16:creationId xmlns:a16="http://schemas.microsoft.com/office/drawing/2014/main" id="{9407E9B8-0DB9-4F04-9BD5-BA8649798355}"/>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A8A62322-588A-49BF-BAC6-1BBD5F44A954}"/>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E9F62881-1CD2-4BF8-89EA-ED20CC823883}"/>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27472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730573-5B26-4655-9D96-00CF311C38AF}"/>
              </a:ext>
            </a:extLst>
          </p:cNvPr>
          <p:cNvPicPr>
            <a:picLocks noChangeAspect="1"/>
          </p:cNvPicPr>
          <p:nvPr userDrawn="1"/>
        </p:nvPicPr>
        <p:blipFill rotWithShape="1">
          <a:blip r:embed="rId2" cstate="screen">
            <a:alphaModFix amt="70000"/>
            <a:extLst>
              <a:ext uri="{28A0092B-C50C-407E-A947-70E740481C1C}">
                <a14:useLocalDpi xmlns:a14="http://schemas.microsoft.com/office/drawing/2010/main"/>
              </a:ext>
            </a:extLst>
          </a:blip>
          <a:srcRect/>
          <a:stretch/>
        </p:blipFill>
        <p:spPr>
          <a:xfrm>
            <a:off x="8964" y="0"/>
            <a:ext cx="12183036" cy="6858000"/>
          </a:xfrm>
          <a:prstGeom prst="rect">
            <a:avLst/>
          </a:prstGeom>
        </p:spPr>
      </p:pic>
      <p:sp>
        <p:nvSpPr>
          <p:cNvPr id="2" name="Title 1"/>
          <p:cNvSpPr>
            <a:spLocks noGrp="1"/>
          </p:cNvSpPr>
          <p:nvPr>
            <p:ph type="title"/>
          </p:nvPr>
        </p:nvSpPr>
        <p:spPr>
          <a:xfrm>
            <a:off x="457200" y="453014"/>
            <a:ext cx="10902950" cy="553998"/>
          </a:xfrm>
        </p:spPr>
        <p:txBody>
          <a:bodyPr/>
          <a:lstStyle/>
          <a:p>
            <a:r>
              <a:rPr lang="en-US"/>
              <a:t>Click to edit Master title style</a:t>
            </a:r>
          </a:p>
        </p:txBody>
      </p:sp>
      <p:sp>
        <p:nvSpPr>
          <p:cNvPr id="4" name="Text Placeholder 2">
            <a:extLst>
              <a:ext uri="{FF2B5EF4-FFF2-40B4-BE49-F238E27FC236}">
                <a16:creationId xmlns:a16="http://schemas.microsoft.com/office/drawing/2014/main" id="{A5CEA3C8-8FFE-4A25-A7FC-795689BBA779}"/>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5" name="Slide Number Placeholder 4">
            <a:extLst>
              <a:ext uri="{FF2B5EF4-FFF2-40B4-BE49-F238E27FC236}">
                <a16:creationId xmlns:a16="http://schemas.microsoft.com/office/drawing/2014/main" id="{0CB343CE-6603-4E39-995D-22078B1563EB}"/>
              </a:ext>
            </a:extLst>
          </p:cNvPr>
          <p:cNvSpPr>
            <a:spLocks noGrp="1"/>
          </p:cNvSpPr>
          <p:nvPr>
            <p:ph type="sldNum" sz="quarter" idx="18"/>
          </p:nvPr>
        </p:nvSpPr>
        <p:spPr/>
        <p:txBody>
          <a:bodyPr/>
          <a:lstStyle/>
          <a:p>
            <a:fld id="{4C9EABC9-A6DF-4002-BA8F-FA0D4CABB02D}" type="slidenum">
              <a:rPr lang="en-US" smtClean="0"/>
              <a:pPr/>
              <a:t>‹#›</a:t>
            </a:fld>
            <a:endParaRPr lang="en-US"/>
          </a:p>
        </p:txBody>
      </p:sp>
      <p:grpSp>
        <p:nvGrpSpPr>
          <p:cNvPr id="7" name="Group 6">
            <a:extLst>
              <a:ext uri="{FF2B5EF4-FFF2-40B4-BE49-F238E27FC236}">
                <a16:creationId xmlns:a16="http://schemas.microsoft.com/office/drawing/2014/main" id="{00EA54C4-D61E-4268-94FD-BAC291E35C8E}"/>
              </a:ext>
            </a:extLst>
          </p:cNvPr>
          <p:cNvGrpSpPr/>
          <p:nvPr userDrawn="1"/>
        </p:nvGrpSpPr>
        <p:grpSpPr>
          <a:xfrm>
            <a:off x="11411716" y="457200"/>
            <a:ext cx="323850" cy="324895"/>
            <a:chOff x="11693125" y="130630"/>
            <a:chExt cx="368246" cy="369434"/>
          </a:xfrm>
        </p:grpSpPr>
        <p:sp>
          <p:nvSpPr>
            <p:cNvPr id="8" name="Freeform 5">
              <a:extLst>
                <a:ext uri="{FF2B5EF4-FFF2-40B4-BE49-F238E27FC236}">
                  <a16:creationId xmlns:a16="http://schemas.microsoft.com/office/drawing/2014/main" id="{8785F652-8FA3-483C-84F2-25BA9C5B563A}"/>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C6B26A7-E7D7-42CF-84F5-7751E34B1CDA}"/>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7">
              <a:extLst>
                <a:ext uri="{FF2B5EF4-FFF2-40B4-BE49-F238E27FC236}">
                  <a16:creationId xmlns:a16="http://schemas.microsoft.com/office/drawing/2014/main" id="{9F592DB4-BFB2-41F1-9C6A-C931A36CF58B}"/>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115015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Subtitle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453014"/>
            <a:ext cx="10902950" cy="553998"/>
          </a:xfrm>
        </p:spPr>
        <p:txBody>
          <a:bodyPr/>
          <a:lstStyle/>
          <a:p>
            <a:r>
              <a:rPr lang="en-US"/>
              <a:t>Click to edit Master title style</a:t>
            </a:r>
          </a:p>
        </p:txBody>
      </p:sp>
      <p:sp>
        <p:nvSpPr>
          <p:cNvPr id="4" name="Text Placeholder 2">
            <a:extLst>
              <a:ext uri="{FF2B5EF4-FFF2-40B4-BE49-F238E27FC236}">
                <a16:creationId xmlns:a16="http://schemas.microsoft.com/office/drawing/2014/main" id="{A5CEA3C8-8FFE-4A25-A7FC-795689BBA779}"/>
              </a:ext>
            </a:extLst>
          </p:cNvPr>
          <p:cNvSpPr>
            <a:spLocks noGrp="1"/>
          </p:cNvSpPr>
          <p:nvPr>
            <p:ph type="body" idx="16" hasCustomPrompt="1"/>
          </p:nvPr>
        </p:nvSpPr>
        <p:spPr>
          <a:xfrm>
            <a:off x="457201" y="1090499"/>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9" name="Slide Number Placeholder 8">
            <a:extLst>
              <a:ext uri="{FF2B5EF4-FFF2-40B4-BE49-F238E27FC236}">
                <a16:creationId xmlns:a16="http://schemas.microsoft.com/office/drawing/2014/main" id="{FB54DC85-42D4-451E-96C8-A29F8E55E1C5}"/>
              </a:ext>
            </a:extLst>
          </p:cNvPr>
          <p:cNvSpPr>
            <a:spLocks noGrp="1"/>
          </p:cNvSpPr>
          <p:nvPr>
            <p:ph type="sldNum" sz="quarter" idx="18"/>
          </p:nvPr>
        </p:nvSpPr>
        <p:spPr/>
        <p:txBody>
          <a:bodyPr/>
          <a:lstStyle/>
          <a:p>
            <a:fld id="{4C9EABC9-A6DF-4002-BA8F-FA0D4CABB02D}" type="slidenum">
              <a:rPr lang="en-US" smtClean="0"/>
              <a:pPr/>
              <a:t>‹#›</a:t>
            </a:fld>
            <a:endParaRPr lang="en-US"/>
          </a:p>
        </p:txBody>
      </p:sp>
      <p:grpSp>
        <p:nvGrpSpPr>
          <p:cNvPr id="10" name="Group 9">
            <a:extLst>
              <a:ext uri="{FF2B5EF4-FFF2-40B4-BE49-F238E27FC236}">
                <a16:creationId xmlns:a16="http://schemas.microsoft.com/office/drawing/2014/main" id="{AC90898F-F6B6-4613-9DA6-A9B6F6895A99}"/>
              </a:ext>
            </a:extLst>
          </p:cNvPr>
          <p:cNvGrpSpPr/>
          <p:nvPr userDrawn="1"/>
        </p:nvGrpSpPr>
        <p:grpSpPr>
          <a:xfrm>
            <a:off x="11420680" y="457200"/>
            <a:ext cx="323850" cy="324895"/>
            <a:chOff x="11693125" y="130630"/>
            <a:chExt cx="368246" cy="369434"/>
          </a:xfrm>
          <a:solidFill>
            <a:schemeClr val="bg1"/>
          </a:solidFill>
        </p:grpSpPr>
        <p:sp>
          <p:nvSpPr>
            <p:cNvPr id="11" name="Freeform 5">
              <a:extLst>
                <a:ext uri="{FF2B5EF4-FFF2-40B4-BE49-F238E27FC236}">
                  <a16:creationId xmlns:a16="http://schemas.microsoft.com/office/drawing/2014/main" id="{EC01DD5C-3C40-4B22-9DE1-47ED845E4D2D}"/>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4558B425-DEB4-4629-8309-21751F73DF88}"/>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05C43A9A-D97F-4E56-82A0-48843FE1B5D9}"/>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740201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F88958D-B40C-4BF8-9C9C-B33419EB07AC}"/>
              </a:ext>
            </a:extLst>
          </p:cNvPr>
          <p:cNvSpPr>
            <a:spLocks noGrp="1"/>
          </p:cNvSpPr>
          <p:nvPr>
            <p:ph type="sldNum" sz="quarter" idx="11"/>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3066025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or Graphic Left ">
    <p:spTree>
      <p:nvGrpSpPr>
        <p:cNvPr id="1" name=""/>
        <p:cNvGrpSpPr/>
        <p:nvPr/>
      </p:nvGrpSpPr>
      <p:grpSpPr>
        <a:xfrm>
          <a:off x="0" y="0"/>
          <a:ext cx="0" cy="0"/>
          <a:chOff x="0" y="0"/>
          <a:chExt cx="0" cy="0"/>
        </a:xfrm>
      </p:grpSpPr>
      <p:sp>
        <p:nvSpPr>
          <p:cNvPr id="8" name="Rectangle 7"/>
          <p:cNvSpPr/>
          <p:nvPr userDrawn="1"/>
        </p:nvSpPr>
        <p:spPr>
          <a:xfrm>
            <a:off x="7245350" y="0"/>
            <a:ext cx="494506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0"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7693870" y="914400"/>
            <a:ext cx="4053630" cy="5029200"/>
          </a:xfrm>
        </p:spPr>
        <p:txBody>
          <a:bodyPr anchor="ctr"/>
          <a:lstStyle>
            <a:lvl1pPr>
              <a:defRPr sz="3200">
                <a:solidFill>
                  <a:schemeClr val="accent1"/>
                </a:solidFill>
                <a:latin typeface="+mj-lt"/>
              </a:defRPr>
            </a:lvl1pPr>
            <a:lvl2pPr>
              <a:spcBef>
                <a:spcPts val="1800"/>
              </a:spcBef>
              <a:defRPr b="1"/>
            </a:lvl2pPr>
            <a:lvl3pPr marL="0" indent="0">
              <a:buFont typeface="CiscoSansTT ExtraLight" panose="020B0303020201020303" pitchFamily="34" charset="0"/>
              <a:buChar char="​"/>
              <a:tabLst/>
              <a:defRPr sz="1800"/>
            </a:lvl3pPr>
            <a:lvl4pPr marL="514350" indent="-228600">
              <a:buFont typeface="Arial" panose="020B0604020202020204" pitchFamily="34" charset="0"/>
              <a:buChar char="•"/>
              <a:defRPr>
                <a:solidFill>
                  <a:schemeClr val="tx1"/>
                </a:solidFill>
              </a:defRPr>
            </a:lvl4pPr>
            <a:lvl5pPr>
              <a:spcBef>
                <a:spcPts val="600"/>
              </a:spcBef>
              <a:defRPr sz="2400" b="0" spc="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7504AF5-ADC9-49FE-85E5-3CD0794FA04E}"/>
              </a:ext>
            </a:extLst>
          </p:cNvPr>
          <p:cNvSpPr>
            <a:spLocks noGrp="1"/>
          </p:cNvSpPr>
          <p:nvPr>
            <p:ph type="sldNum" sz="quarter" idx="13"/>
          </p:nvPr>
        </p:nvSpPr>
        <p:spPr/>
        <p:txBody>
          <a:bodyPr/>
          <a:lstStyle/>
          <a:p>
            <a:fld id="{4C9EABC9-A6DF-4002-BA8F-FA0D4CABB02D}" type="slidenum">
              <a:rPr lang="en-US" smtClean="0"/>
              <a:pPr/>
              <a:t>‹#›</a:t>
            </a:fld>
            <a:endParaRPr lang="en-US"/>
          </a:p>
        </p:txBody>
      </p:sp>
      <p:grpSp>
        <p:nvGrpSpPr>
          <p:cNvPr id="10" name="Group 9">
            <a:extLst>
              <a:ext uri="{FF2B5EF4-FFF2-40B4-BE49-F238E27FC236}">
                <a16:creationId xmlns:a16="http://schemas.microsoft.com/office/drawing/2014/main" id="{4C05186D-4E5F-41AF-A5CF-38A6C7C49C28}"/>
              </a:ext>
            </a:extLst>
          </p:cNvPr>
          <p:cNvGrpSpPr/>
          <p:nvPr userDrawn="1"/>
        </p:nvGrpSpPr>
        <p:grpSpPr>
          <a:xfrm>
            <a:off x="11420680" y="457200"/>
            <a:ext cx="323850" cy="324895"/>
            <a:chOff x="11693125" y="130630"/>
            <a:chExt cx="368246" cy="369434"/>
          </a:xfrm>
        </p:grpSpPr>
        <p:sp>
          <p:nvSpPr>
            <p:cNvPr id="11" name="Freeform 5">
              <a:extLst>
                <a:ext uri="{FF2B5EF4-FFF2-40B4-BE49-F238E27FC236}">
                  <a16:creationId xmlns:a16="http://schemas.microsoft.com/office/drawing/2014/main" id="{53CEA688-720D-4CDE-B585-683610A85B76}"/>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C461BAA6-C1CF-457B-BF22-F399A0012FB3}"/>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66AE3D74-0F31-4C61-BB34-7876D9F3C8AD}"/>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34939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or Graphic Right">
    <p:spTree>
      <p:nvGrpSpPr>
        <p:cNvPr id="1" name=""/>
        <p:cNvGrpSpPr/>
        <p:nvPr/>
      </p:nvGrpSpPr>
      <p:grpSpPr>
        <a:xfrm>
          <a:off x="0" y="0"/>
          <a:ext cx="0" cy="0"/>
          <a:chOff x="0" y="0"/>
          <a:chExt cx="0" cy="0"/>
        </a:xfrm>
      </p:grpSpPr>
      <p:sp>
        <p:nvSpPr>
          <p:cNvPr id="8" name="Rectangle 7"/>
          <p:cNvSpPr/>
          <p:nvPr userDrawn="1"/>
        </p:nvSpPr>
        <p:spPr>
          <a:xfrm>
            <a:off x="0" y="0"/>
            <a:ext cx="494506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4948238"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448520" y="914400"/>
            <a:ext cx="4053630" cy="5029200"/>
          </a:xfrm>
        </p:spPr>
        <p:txBody>
          <a:bodyPr anchor="ctr"/>
          <a:lstStyle>
            <a:lvl1pPr>
              <a:defRPr sz="3200">
                <a:solidFill>
                  <a:schemeClr val="accent1"/>
                </a:solidFill>
                <a:latin typeface="+mj-lt"/>
              </a:defRPr>
            </a:lvl1pPr>
            <a:lvl2pPr>
              <a:spcBef>
                <a:spcPts val="1800"/>
              </a:spcBef>
              <a:defRPr b="1"/>
            </a:lvl2pPr>
            <a:lvl3pPr marL="0" indent="0">
              <a:buFont typeface="CiscoSansTT ExtraLight" panose="020B0303020201020303" pitchFamily="34" charset="0"/>
              <a:buChar char="​"/>
              <a:tabLst/>
              <a:defRPr sz="1800"/>
            </a:lvl3pPr>
            <a:lvl4pPr marL="514350" indent="-228600">
              <a:buFont typeface="Arial" panose="020B0604020202020204" pitchFamily="34" charset="0"/>
              <a:buChar char="•"/>
              <a:defRPr>
                <a:solidFill>
                  <a:schemeClr val="tx1"/>
                </a:solidFill>
              </a:defRPr>
            </a:lvl4pPr>
            <a:lvl5pPr>
              <a:spcBef>
                <a:spcPts val="600"/>
              </a:spcBef>
              <a:defRPr sz="2400" b="0" spc="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273574D4-07D7-4289-838F-6C40B3DD97E6}"/>
              </a:ext>
            </a:extLst>
          </p:cNvPr>
          <p:cNvSpPr/>
          <p:nvPr userDrawn="1"/>
        </p:nvSpPr>
        <p:spPr>
          <a:xfrm>
            <a:off x="4954687" y="596766"/>
            <a:ext cx="358458" cy="25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13F954E5-2D92-43C7-B374-53BCBFE95EE2}"/>
              </a:ext>
            </a:extLst>
          </p:cNvPr>
          <p:cNvSpPr>
            <a:spLocks noGrp="1"/>
          </p:cNvSpPr>
          <p:nvPr>
            <p:ph type="sldNum" sz="quarter" idx="1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25183869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age or Graphic Left (Red)">
    <p:spTree>
      <p:nvGrpSpPr>
        <p:cNvPr id="1" name=""/>
        <p:cNvGrpSpPr/>
        <p:nvPr/>
      </p:nvGrpSpPr>
      <p:grpSpPr>
        <a:xfrm>
          <a:off x="0" y="0"/>
          <a:ext cx="0" cy="0"/>
          <a:chOff x="0" y="0"/>
          <a:chExt cx="0" cy="0"/>
        </a:xfrm>
      </p:grpSpPr>
      <p:sp>
        <p:nvSpPr>
          <p:cNvPr id="8" name="Rectangle 7"/>
          <p:cNvSpPr/>
          <p:nvPr userDrawn="1"/>
        </p:nvSpPr>
        <p:spPr>
          <a:xfrm>
            <a:off x="7245350" y="0"/>
            <a:ext cx="494506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0"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7693870" y="914400"/>
            <a:ext cx="4053630" cy="5029200"/>
          </a:xfrm>
        </p:spPr>
        <p:txBody>
          <a:bodyPr anchor="ctr"/>
          <a:lstStyle>
            <a:lvl1pPr>
              <a:defRPr sz="3200">
                <a:solidFill>
                  <a:schemeClr val="bg1"/>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bg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a:extLst>
              <a:ext uri="{FF2B5EF4-FFF2-40B4-BE49-F238E27FC236}">
                <a16:creationId xmlns:a16="http://schemas.microsoft.com/office/drawing/2014/main" id="{953F642A-4EEE-412A-A117-B5D467656B7B}"/>
              </a:ext>
            </a:extLst>
          </p:cNvPr>
          <p:cNvGrpSpPr/>
          <p:nvPr userDrawn="1"/>
        </p:nvGrpSpPr>
        <p:grpSpPr>
          <a:xfrm>
            <a:off x="11410950" y="457200"/>
            <a:ext cx="323850" cy="324895"/>
            <a:chOff x="11693125" y="130630"/>
            <a:chExt cx="368246" cy="369434"/>
          </a:xfrm>
          <a:solidFill>
            <a:schemeClr val="bg1"/>
          </a:solidFill>
        </p:grpSpPr>
        <p:sp>
          <p:nvSpPr>
            <p:cNvPr id="23" name="Freeform 5">
              <a:extLst>
                <a:ext uri="{FF2B5EF4-FFF2-40B4-BE49-F238E27FC236}">
                  <a16:creationId xmlns:a16="http://schemas.microsoft.com/office/drawing/2014/main" id="{DF02C8FE-E179-4381-B0C0-F7ADA2702699}"/>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a:extLst>
                <a:ext uri="{FF2B5EF4-FFF2-40B4-BE49-F238E27FC236}">
                  <a16:creationId xmlns:a16="http://schemas.microsoft.com/office/drawing/2014/main" id="{3628DD47-18DB-4FB8-BF58-9676F0463169}"/>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D9F0F689-13A3-4BDA-B74F-C0F7DBAA91BE}"/>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Slide Number Placeholder 3">
            <a:extLst>
              <a:ext uri="{FF2B5EF4-FFF2-40B4-BE49-F238E27FC236}">
                <a16:creationId xmlns:a16="http://schemas.microsoft.com/office/drawing/2014/main" id="{AB5179EE-F3B6-4D8D-989D-B47E32AD3B26}"/>
              </a:ext>
            </a:extLst>
          </p:cNvPr>
          <p:cNvSpPr>
            <a:spLocks noGrp="1"/>
          </p:cNvSpPr>
          <p:nvPr>
            <p:ph type="sldNum" sz="quarter" idx="13"/>
          </p:nvPr>
        </p:nvSpPr>
        <p:spPr/>
        <p:txBody>
          <a:bodyPr/>
          <a:lstStyle>
            <a:lvl1pPr>
              <a:defRPr>
                <a:solidFill>
                  <a:schemeClr val="accent2">
                    <a:lumMod val="75000"/>
                  </a:schemeClr>
                </a:solidFill>
              </a:defRPr>
            </a:lvl1pPr>
          </a:lstStyle>
          <a:p>
            <a:fld id="{4C9EABC9-A6DF-4002-BA8F-FA0D4CABB02D}" type="slidenum">
              <a:rPr lang="en-US" smtClean="0"/>
              <a:pPr/>
              <a:t>‹#›</a:t>
            </a:fld>
            <a:endParaRPr lang="en-US"/>
          </a:p>
        </p:txBody>
      </p:sp>
    </p:spTree>
    <p:extLst>
      <p:ext uri="{BB962C8B-B14F-4D97-AF65-F5344CB8AC3E}">
        <p14:creationId xmlns:p14="http://schemas.microsoft.com/office/powerpoint/2010/main" val="31751231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or Graphic Right (Red)">
    <p:spTree>
      <p:nvGrpSpPr>
        <p:cNvPr id="1" name=""/>
        <p:cNvGrpSpPr/>
        <p:nvPr/>
      </p:nvGrpSpPr>
      <p:grpSpPr>
        <a:xfrm>
          <a:off x="0" y="0"/>
          <a:ext cx="0" cy="0"/>
          <a:chOff x="0" y="0"/>
          <a:chExt cx="0" cy="0"/>
        </a:xfrm>
      </p:grpSpPr>
      <p:sp>
        <p:nvSpPr>
          <p:cNvPr id="8" name="Rectangle 7"/>
          <p:cNvSpPr/>
          <p:nvPr userDrawn="1"/>
        </p:nvSpPr>
        <p:spPr>
          <a:xfrm>
            <a:off x="0" y="0"/>
            <a:ext cx="494506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4945062" y="0"/>
            <a:ext cx="7246938"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448520" y="914400"/>
            <a:ext cx="4053630" cy="5029200"/>
          </a:xfrm>
        </p:spPr>
        <p:txBody>
          <a:bodyPr anchor="ctr"/>
          <a:lstStyle>
            <a:lvl1pPr>
              <a:defRPr sz="3200">
                <a:solidFill>
                  <a:schemeClr val="bg1"/>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bg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EAB6510C-1BB6-4C1F-9108-FFEA82816141}"/>
              </a:ext>
            </a:extLst>
          </p:cNvPr>
          <p:cNvSpPr/>
          <p:nvPr userDrawn="1"/>
        </p:nvSpPr>
        <p:spPr>
          <a:xfrm>
            <a:off x="4954687" y="596766"/>
            <a:ext cx="358458" cy="25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251918C9-54DF-4896-BE0F-D29AF2C29D51}"/>
              </a:ext>
            </a:extLst>
          </p:cNvPr>
          <p:cNvSpPr>
            <a:spLocks noGrp="1"/>
          </p:cNvSpPr>
          <p:nvPr>
            <p:ph type="sldNum" sz="quarter" idx="1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1689257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1"/>
        </a:solidFill>
        <a:effectLst/>
      </p:bgPr>
    </p:bg>
    <p:spTree>
      <p:nvGrpSpPr>
        <p:cNvPr id="1" name=""/>
        <p:cNvGrpSpPr/>
        <p:nvPr/>
      </p:nvGrpSpPr>
      <p:grpSpPr>
        <a:xfrm>
          <a:off x="0" y="0"/>
          <a:ext cx="0" cy="0"/>
          <a:chOff x="0" y="0"/>
          <a:chExt cx="0" cy="0"/>
        </a:xfrm>
      </p:grpSpPr>
      <p:sp>
        <p:nvSpPr>
          <p:cNvPr id="16" name="Title Placeholder 1">
            <a:extLst>
              <a:ext uri="{FF2B5EF4-FFF2-40B4-BE49-F238E27FC236}">
                <a16:creationId xmlns:a16="http://schemas.microsoft.com/office/drawing/2014/main" id="{DD5FA88A-DC59-463A-BE5C-DD261A854C4D}"/>
              </a:ext>
            </a:extLst>
          </p:cNvPr>
          <p:cNvSpPr>
            <a:spLocks noGrp="1"/>
          </p:cNvSpPr>
          <p:nvPr>
            <p:ph type="title"/>
          </p:nvPr>
        </p:nvSpPr>
        <p:spPr>
          <a:xfrm>
            <a:off x="457200" y="457200"/>
            <a:ext cx="11277600" cy="553998"/>
          </a:xfrm>
          <a:prstGeom prst="rect">
            <a:avLst/>
          </a:prstGeom>
        </p:spPr>
        <p:txBody>
          <a:bodyPr vert="horz" wrap="square" lIns="0" tIns="0" rIns="0" bIns="0" rtlCol="0" anchor="t">
            <a:spAutoFit/>
          </a:bodyPr>
          <a:lstStyle>
            <a:lvl1pPr>
              <a:defRPr>
                <a:ln w="3175">
                  <a:noFill/>
                </a:ln>
                <a:solidFill>
                  <a:schemeClr val="accent1"/>
                </a:solidFill>
              </a:defRPr>
            </a:lvl1pPr>
          </a:lstStyle>
          <a:p>
            <a:r>
              <a:rPr lang="en-US"/>
              <a:t>Click to edit Master title style</a:t>
            </a:r>
          </a:p>
        </p:txBody>
      </p:sp>
      <p:sp>
        <p:nvSpPr>
          <p:cNvPr id="6" name="Text Placeholder 5">
            <a:extLst>
              <a:ext uri="{FF2B5EF4-FFF2-40B4-BE49-F238E27FC236}">
                <a16:creationId xmlns:a16="http://schemas.microsoft.com/office/drawing/2014/main" id="{DDA6FA95-4EDC-4CF4-8F63-931BC182CCB3}"/>
              </a:ext>
            </a:extLst>
          </p:cNvPr>
          <p:cNvSpPr>
            <a:spLocks noGrp="1"/>
          </p:cNvSpPr>
          <p:nvPr>
            <p:ph type="body" sz="quarter" idx="10"/>
          </p:nvPr>
        </p:nvSpPr>
        <p:spPr>
          <a:xfrm>
            <a:off x="1066802" y="1670860"/>
            <a:ext cx="4362449" cy="4729939"/>
          </a:xfrm>
        </p:spPr>
        <p:txBody>
          <a:bodyPr/>
          <a:lstStyle>
            <a:lvl1pPr>
              <a:spcBef>
                <a:spcPts val="2400"/>
              </a:spcBef>
              <a:spcAft>
                <a:spcPts val="0"/>
              </a:spcAft>
              <a:defRPr>
                <a:solidFill>
                  <a:schemeClr val="bg1"/>
                </a:solidFill>
              </a:defRPr>
            </a:lvl1pPr>
            <a:lvl2pPr marL="0" indent="0">
              <a:spcBef>
                <a:spcPts val="1200"/>
              </a:spcBef>
              <a:spcAft>
                <a:spcPts val="0"/>
              </a:spcAft>
              <a:buFont typeface="CiscoSansTT ExtraLight" panose="020B0303020201020303" pitchFamily="34" charset="0"/>
              <a:buChar char="​"/>
              <a:defRPr>
                <a:solidFill>
                  <a:schemeClr val="bg1"/>
                </a:solidFill>
              </a:defRPr>
            </a:lvl2pPr>
            <a:lvl5pPr>
              <a:defRPr>
                <a:solidFill>
                  <a:schemeClr val="bg1"/>
                </a:solidFill>
              </a:defRPr>
            </a:lvl5pPr>
          </a:lstStyle>
          <a:p>
            <a:pPr lvl="0"/>
            <a:r>
              <a:rPr lang="en-US"/>
              <a:t>Edit Master text styles</a:t>
            </a:r>
          </a:p>
          <a:p>
            <a:pPr lvl="1"/>
            <a:r>
              <a:rPr lang="en-US"/>
              <a:t>Second level</a:t>
            </a:r>
          </a:p>
        </p:txBody>
      </p:sp>
      <p:sp>
        <p:nvSpPr>
          <p:cNvPr id="30" name="Text Placeholder 5">
            <a:extLst>
              <a:ext uri="{FF2B5EF4-FFF2-40B4-BE49-F238E27FC236}">
                <a16:creationId xmlns:a16="http://schemas.microsoft.com/office/drawing/2014/main" id="{B581FA09-FE0A-4508-9AB5-6EC12D5A271D}"/>
              </a:ext>
            </a:extLst>
          </p:cNvPr>
          <p:cNvSpPr>
            <a:spLocks noGrp="1"/>
          </p:cNvSpPr>
          <p:nvPr>
            <p:ph type="body" sz="quarter" idx="11"/>
          </p:nvPr>
        </p:nvSpPr>
        <p:spPr>
          <a:xfrm>
            <a:off x="6477002" y="1670860"/>
            <a:ext cx="4362449" cy="4729939"/>
          </a:xfrm>
        </p:spPr>
        <p:txBody>
          <a:bodyPr/>
          <a:lstStyle>
            <a:lvl1pPr>
              <a:spcBef>
                <a:spcPts val="2400"/>
              </a:spcBef>
              <a:spcAft>
                <a:spcPts val="0"/>
              </a:spcAft>
              <a:defRPr>
                <a:solidFill>
                  <a:schemeClr val="bg1"/>
                </a:solidFill>
              </a:defRPr>
            </a:lvl1pPr>
            <a:lvl2pPr marL="0" indent="0">
              <a:spcBef>
                <a:spcPts val="1200"/>
              </a:spcBef>
              <a:spcAft>
                <a:spcPts val="0"/>
              </a:spcAft>
              <a:buFont typeface="CiscoSansTT ExtraLight" panose="020B0303020201020303" pitchFamily="34" charset="0"/>
              <a:buChar char="​"/>
              <a:defRPr>
                <a:solidFill>
                  <a:schemeClr val="bg1"/>
                </a:solidFill>
              </a:defRPr>
            </a:lvl2pPr>
            <a:lvl5pPr>
              <a:defRPr>
                <a:solidFill>
                  <a:schemeClr val="bg1"/>
                </a:solidFill>
              </a:defRPr>
            </a:lvl5pPr>
          </a:lstStyle>
          <a:p>
            <a:pPr lvl="0"/>
            <a:r>
              <a:rPr lang="en-US"/>
              <a:t>Edit Master text styles</a:t>
            </a:r>
          </a:p>
          <a:p>
            <a:pPr lvl="1"/>
            <a:r>
              <a:rPr lang="en-US"/>
              <a:t>Second level</a:t>
            </a:r>
          </a:p>
        </p:txBody>
      </p:sp>
      <p:sp>
        <p:nvSpPr>
          <p:cNvPr id="31" name="Text Placeholder 5">
            <a:extLst>
              <a:ext uri="{FF2B5EF4-FFF2-40B4-BE49-F238E27FC236}">
                <a16:creationId xmlns:a16="http://schemas.microsoft.com/office/drawing/2014/main" id="{F6075601-E013-4B6C-BD9A-CFF7EDCE2126}"/>
              </a:ext>
            </a:extLst>
          </p:cNvPr>
          <p:cNvSpPr>
            <a:spLocks noGrp="1"/>
          </p:cNvSpPr>
          <p:nvPr>
            <p:ph type="body" sz="quarter" idx="12" hasCustomPrompt="1"/>
          </p:nvPr>
        </p:nvSpPr>
        <p:spPr>
          <a:xfrm>
            <a:off x="457201" y="1670860"/>
            <a:ext cx="457200" cy="4729939"/>
          </a:xfrm>
        </p:spPr>
        <p:txBody>
          <a:bodyPr/>
          <a:lstStyle>
            <a:lvl1pPr algn="r">
              <a:spcBef>
                <a:spcPts val="2400"/>
              </a:spcBef>
              <a:spcAft>
                <a:spcPts val="0"/>
              </a:spcAft>
              <a:defRPr>
                <a:solidFill>
                  <a:schemeClr val="accent1"/>
                </a:solidFill>
              </a:defRPr>
            </a:lvl1pPr>
            <a:lvl2pPr marL="0" indent="0" algn="r">
              <a:spcBef>
                <a:spcPts val="1200"/>
              </a:spcBef>
              <a:spcAft>
                <a:spcPts val="0"/>
              </a:spcAft>
              <a:buFont typeface="CiscoSansTT ExtraLight" panose="020B0303020201020303" pitchFamily="34" charset="0"/>
              <a:buChar char="​"/>
              <a:defRPr>
                <a:solidFill>
                  <a:schemeClr val="accent1"/>
                </a:solidFill>
              </a:defRPr>
            </a:lvl2pPr>
            <a:lvl5pPr>
              <a:defRPr>
                <a:solidFill>
                  <a:schemeClr val="bg1"/>
                </a:solidFill>
              </a:defRPr>
            </a:lvl5pPr>
          </a:lstStyle>
          <a:p>
            <a:pPr lvl="0"/>
            <a:r>
              <a:rPr lang="en-US"/>
              <a:t>##</a:t>
            </a:r>
          </a:p>
          <a:p>
            <a:pPr lvl="1"/>
            <a:r>
              <a:rPr lang="en-US"/>
              <a:t>##</a:t>
            </a:r>
          </a:p>
        </p:txBody>
      </p:sp>
      <p:sp>
        <p:nvSpPr>
          <p:cNvPr id="32" name="Text Placeholder 5">
            <a:extLst>
              <a:ext uri="{FF2B5EF4-FFF2-40B4-BE49-F238E27FC236}">
                <a16:creationId xmlns:a16="http://schemas.microsoft.com/office/drawing/2014/main" id="{53B70BE1-F8D6-460B-A598-366D0AACA116}"/>
              </a:ext>
            </a:extLst>
          </p:cNvPr>
          <p:cNvSpPr>
            <a:spLocks noGrp="1"/>
          </p:cNvSpPr>
          <p:nvPr>
            <p:ph type="body" sz="quarter" idx="13" hasCustomPrompt="1"/>
          </p:nvPr>
        </p:nvSpPr>
        <p:spPr>
          <a:xfrm>
            <a:off x="5867401" y="1670860"/>
            <a:ext cx="457200" cy="4729939"/>
          </a:xfrm>
        </p:spPr>
        <p:txBody>
          <a:bodyPr/>
          <a:lstStyle>
            <a:lvl1pPr algn="r">
              <a:spcBef>
                <a:spcPts val="2400"/>
              </a:spcBef>
              <a:spcAft>
                <a:spcPts val="0"/>
              </a:spcAft>
              <a:defRPr>
                <a:solidFill>
                  <a:schemeClr val="accent1"/>
                </a:solidFill>
              </a:defRPr>
            </a:lvl1pPr>
            <a:lvl2pPr marL="0" indent="0" algn="r">
              <a:spcBef>
                <a:spcPts val="1200"/>
              </a:spcBef>
              <a:spcAft>
                <a:spcPts val="0"/>
              </a:spcAft>
              <a:buFont typeface="CiscoSansTT ExtraLight" panose="020B0303020201020303" pitchFamily="34" charset="0"/>
              <a:buChar char="​"/>
              <a:defRPr>
                <a:solidFill>
                  <a:schemeClr val="accent1"/>
                </a:solidFill>
              </a:defRPr>
            </a:lvl2pPr>
            <a:lvl5pPr>
              <a:defRPr>
                <a:solidFill>
                  <a:schemeClr val="bg1"/>
                </a:solidFill>
              </a:defRPr>
            </a:lvl5pPr>
          </a:lstStyle>
          <a:p>
            <a:pPr lvl="0"/>
            <a:r>
              <a:rPr lang="en-US"/>
              <a:t>##</a:t>
            </a:r>
          </a:p>
          <a:p>
            <a:pPr lvl="1"/>
            <a:r>
              <a:rPr lang="en-US"/>
              <a:t>##</a:t>
            </a:r>
          </a:p>
        </p:txBody>
      </p:sp>
      <p:sp>
        <p:nvSpPr>
          <p:cNvPr id="3" name="Slide Number Placeholder 2">
            <a:extLst>
              <a:ext uri="{FF2B5EF4-FFF2-40B4-BE49-F238E27FC236}">
                <a16:creationId xmlns:a16="http://schemas.microsoft.com/office/drawing/2014/main" id="{D102992D-16B8-47F1-93CA-DFA50064D163}"/>
              </a:ext>
            </a:extLst>
          </p:cNvPr>
          <p:cNvSpPr>
            <a:spLocks noGrp="1"/>
          </p:cNvSpPr>
          <p:nvPr>
            <p:ph type="sldNum" sz="quarter" idx="15"/>
          </p:nvPr>
        </p:nvSpPr>
        <p:spPr/>
        <p:txBody>
          <a:bodyPr/>
          <a:lstStyle/>
          <a:p>
            <a:fld id="{4C9EABC9-A6DF-4002-BA8F-FA0D4CABB02D}" type="slidenum">
              <a:rPr lang="en-US" smtClean="0"/>
              <a:pPr/>
              <a:t>‹#›</a:t>
            </a:fld>
            <a:endParaRPr lang="en-US"/>
          </a:p>
        </p:txBody>
      </p:sp>
      <p:grpSp>
        <p:nvGrpSpPr>
          <p:cNvPr id="12" name="Group 11">
            <a:extLst>
              <a:ext uri="{FF2B5EF4-FFF2-40B4-BE49-F238E27FC236}">
                <a16:creationId xmlns:a16="http://schemas.microsoft.com/office/drawing/2014/main" id="{07B57A4F-E741-4EE0-9574-541A44E493C8}"/>
              </a:ext>
            </a:extLst>
          </p:cNvPr>
          <p:cNvGrpSpPr/>
          <p:nvPr userDrawn="1"/>
        </p:nvGrpSpPr>
        <p:grpSpPr>
          <a:xfrm>
            <a:off x="11420680" y="457200"/>
            <a:ext cx="323850" cy="324895"/>
            <a:chOff x="11693125" y="130630"/>
            <a:chExt cx="368246" cy="369434"/>
          </a:xfrm>
          <a:solidFill>
            <a:schemeClr val="bg1"/>
          </a:solidFill>
        </p:grpSpPr>
        <p:sp>
          <p:nvSpPr>
            <p:cNvPr id="13" name="Freeform 5">
              <a:extLst>
                <a:ext uri="{FF2B5EF4-FFF2-40B4-BE49-F238E27FC236}">
                  <a16:creationId xmlns:a16="http://schemas.microsoft.com/office/drawing/2014/main" id="{C08543C4-5FBD-42E7-8996-346808F61F23}"/>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2A8AD15-2AED-484F-9653-94E5569A0809}"/>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2A2E2F80-1BF1-4C63-8B12-E0E969D678B3}"/>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10709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mage or Graphic Left (Black)">
    <p:spTree>
      <p:nvGrpSpPr>
        <p:cNvPr id="1" name=""/>
        <p:cNvGrpSpPr/>
        <p:nvPr/>
      </p:nvGrpSpPr>
      <p:grpSpPr>
        <a:xfrm>
          <a:off x="0" y="0"/>
          <a:ext cx="0" cy="0"/>
          <a:chOff x="0" y="0"/>
          <a:chExt cx="0" cy="0"/>
        </a:xfrm>
      </p:grpSpPr>
      <p:sp>
        <p:nvSpPr>
          <p:cNvPr id="8" name="Rectangle 7"/>
          <p:cNvSpPr/>
          <p:nvPr userDrawn="1"/>
        </p:nvSpPr>
        <p:spPr>
          <a:xfrm>
            <a:off x="7245350" y="0"/>
            <a:ext cx="494506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0"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7693870" y="914400"/>
            <a:ext cx="4053630" cy="5029200"/>
          </a:xfrm>
        </p:spPr>
        <p:txBody>
          <a:bodyPr anchor="ctr"/>
          <a:lstStyle>
            <a:lvl1pPr>
              <a:defRPr sz="3200">
                <a:solidFill>
                  <a:schemeClr val="accent1"/>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095DEA6-9557-4A7A-9513-F9268BD2AF31}"/>
              </a:ext>
            </a:extLst>
          </p:cNvPr>
          <p:cNvSpPr>
            <a:spLocks noGrp="1"/>
          </p:cNvSpPr>
          <p:nvPr>
            <p:ph type="sldNum" sz="quarter" idx="13"/>
          </p:nvPr>
        </p:nvSpPr>
        <p:spPr/>
        <p:txBody>
          <a:bodyPr/>
          <a:lstStyle/>
          <a:p>
            <a:fld id="{4C9EABC9-A6DF-4002-BA8F-FA0D4CABB02D}" type="slidenum">
              <a:rPr lang="en-US" smtClean="0"/>
              <a:pPr/>
              <a:t>‹#›</a:t>
            </a:fld>
            <a:endParaRPr lang="en-US"/>
          </a:p>
        </p:txBody>
      </p:sp>
      <p:grpSp>
        <p:nvGrpSpPr>
          <p:cNvPr id="10" name="Group 9">
            <a:extLst>
              <a:ext uri="{FF2B5EF4-FFF2-40B4-BE49-F238E27FC236}">
                <a16:creationId xmlns:a16="http://schemas.microsoft.com/office/drawing/2014/main" id="{F838A97C-5FAB-4C57-947A-104E0DBF8AEC}"/>
              </a:ext>
            </a:extLst>
          </p:cNvPr>
          <p:cNvGrpSpPr/>
          <p:nvPr userDrawn="1"/>
        </p:nvGrpSpPr>
        <p:grpSpPr>
          <a:xfrm>
            <a:off x="11410950" y="457200"/>
            <a:ext cx="323850" cy="324895"/>
            <a:chOff x="11693125" y="130630"/>
            <a:chExt cx="368246" cy="369434"/>
          </a:xfrm>
          <a:solidFill>
            <a:schemeClr val="bg1"/>
          </a:solidFill>
        </p:grpSpPr>
        <p:sp>
          <p:nvSpPr>
            <p:cNvPr id="11" name="Freeform 5">
              <a:extLst>
                <a:ext uri="{FF2B5EF4-FFF2-40B4-BE49-F238E27FC236}">
                  <a16:creationId xmlns:a16="http://schemas.microsoft.com/office/drawing/2014/main" id="{7EFE7216-0D64-442C-9221-9F51EA1034E3}"/>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6B5E34A5-2AB6-4FAC-9644-24C8650C6205}"/>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24C34CAA-EAA1-4C2D-8D4F-EFDFB4252988}"/>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851408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or Graphic Right (Blacnk)">
    <p:spTree>
      <p:nvGrpSpPr>
        <p:cNvPr id="1" name=""/>
        <p:cNvGrpSpPr/>
        <p:nvPr/>
      </p:nvGrpSpPr>
      <p:grpSpPr>
        <a:xfrm>
          <a:off x="0" y="0"/>
          <a:ext cx="0" cy="0"/>
          <a:chOff x="0" y="0"/>
          <a:chExt cx="0" cy="0"/>
        </a:xfrm>
      </p:grpSpPr>
      <p:sp>
        <p:nvSpPr>
          <p:cNvPr id="8" name="Rectangle 7"/>
          <p:cNvSpPr/>
          <p:nvPr userDrawn="1"/>
        </p:nvSpPr>
        <p:spPr>
          <a:xfrm>
            <a:off x="0" y="0"/>
            <a:ext cx="494506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4945062" y="0"/>
            <a:ext cx="7246938"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448520" y="914400"/>
            <a:ext cx="4053630" cy="5029200"/>
          </a:xfrm>
        </p:spPr>
        <p:txBody>
          <a:bodyPr anchor="ctr"/>
          <a:lstStyle>
            <a:lvl1pPr>
              <a:defRPr sz="3200">
                <a:solidFill>
                  <a:schemeClr val="accent1"/>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accent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A2172ADB-57CD-43BD-92FF-B6E70706EF64}"/>
              </a:ext>
            </a:extLst>
          </p:cNvPr>
          <p:cNvSpPr/>
          <p:nvPr userDrawn="1"/>
        </p:nvSpPr>
        <p:spPr>
          <a:xfrm>
            <a:off x="4954687" y="596766"/>
            <a:ext cx="358458" cy="25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AC31BADE-7D7E-43C8-8395-1A617BB62031}"/>
              </a:ext>
            </a:extLst>
          </p:cNvPr>
          <p:cNvSpPr>
            <a:spLocks noGrp="1"/>
          </p:cNvSpPr>
          <p:nvPr>
            <p:ph type="sldNum" sz="quarter" idx="1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16669520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mage or Graphic Left (Blue)">
    <p:spTree>
      <p:nvGrpSpPr>
        <p:cNvPr id="1" name=""/>
        <p:cNvGrpSpPr/>
        <p:nvPr/>
      </p:nvGrpSpPr>
      <p:grpSpPr>
        <a:xfrm>
          <a:off x="0" y="0"/>
          <a:ext cx="0" cy="0"/>
          <a:chOff x="0" y="0"/>
          <a:chExt cx="0" cy="0"/>
        </a:xfrm>
      </p:grpSpPr>
      <p:sp>
        <p:nvSpPr>
          <p:cNvPr id="8" name="Rectangle 7"/>
          <p:cNvSpPr/>
          <p:nvPr userDrawn="1"/>
        </p:nvSpPr>
        <p:spPr>
          <a:xfrm>
            <a:off x="7245350" y="0"/>
            <a:ext cx="4945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0"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7693870" y="914400"/>
            <a:ext cx="4053630" cy="5029200"/>
          </a:xfrm>
        </p:spPr>
        <p:txBody>
          <a:bodyPr anchor="ctr"/>
          <a:lstStyle>
            <a:lvl1pPr>
              <a:defRPr sz="3200">
                <a:solidFill>
                  <a:schemeClr val="bg2"/>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bg2"/>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451AC8B3-7C58-43CE-8B80-1A1816695C70}"/>
              </a:ext>
            </a:extLst>
          </p:cNvPr>
          <p:cNvSpPr>
            <a:spLocks noGrp="1"/>
          </p:cNvSpPr>
          <p:nvPr>
            <p:ph type="sldNum" sz="quarter" idx="13"/>
          </p:nvPr>
        </p:nvSpPr>
        <p:spPr/>
        <p:txBody>
          <a:bodyPr/>
          <a:lstStyle/>
          <a:p>
            <a:fld id="{4C9EABC9-A6DF-4002-BA8F-FA0D4CABB02D}" type="slidenum">
              <a:rPr lang="en-US" smtClean="0"/>
              <a:pPr/>
              <a:t>‹#›</a:t>
            </a:fld>
            <a:endParaRPr lang="en-US"/>
          </a:p>
        </p:txBody>
      </p:sp>
      <p:grpSp>
        <p:nvGrpSpPr>
          <p:cNvPr id="10" name="Group 9">
            <a:extLst>
              <a:ext uri="{FF2B5EF4-FFF2-40B4-BE49-F238E27FC236}">
                <a16:creationId xmlns:a16="http://schemas.microsoft.com/office/drawing/2014/main" id="{9F372DA8-EA38-4E55-81EB-4D0341BA6541}"/>
              </a:ext>
            </a:extLst>
          </p:cNvPr>
          <p:cNvGrpSpPr/>
          <p:nvPr userDrawn="1"/>
        </p:nvGrpSpPr>
        <p:grpSpPr>
          <a:xfrm>
            <a:off x="11410950" y="457200"/>
            <a:ext cx="323850" cy="324895"/>
            <a:chOff x="11693125" y="130630"/>
            <a:chExt cx="368246" cy="369434"/>
          </a:xfrm>
          <a:solidFill>
            <a:schemeClr val="bg1"/>
          </a:solidFill>
        </p:grpSpPr>
        <p:sp>
          <p:nvSpPr>
            <p:cNvPr id="11" name="Freeform 5">
              <a:extLst>
                <a:ext uri="{FF2B5EF4-FFF2-40B4-BE49-F238E27FC236}">
                  <a16:creationId xmlns:a16="http://schemas.microsoft.com/office/drawing/2014/main" id="{B0AAA458-4DF3-494F-A7F7-13BEF803B401}"/>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63D98790-00C8-42BC-867F-D7BD9623EAA0}"/>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EB02285A-2DAE-402F-8B34-6E15BDB041FF}"/>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446637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or Graphic Right (Blue)">
    <p:spTree>
      <p:nvGrpSpPr>
        <p:cNvPr id="1" name=""/>
        <p:cNvGrpSpPr/>
        <p:nvPr/>
      </p:nvGrpSpPr>
      <p:grpSpPr>
        <a:xfrm>
          <a:off x="0" y="0"/>
          <a:ext cx="0" cy="0"/>
          <a:chOff x="0" y="0"/>
          <a:chExt cx="0" cy="0"/>
        </a:xfrm>
      </p:grpSpPr>
      <p:sp>
        <p:nvSpPr>
          <p:cNvPr id="8" name="Rectangle 7"/>
          <p:cNvSpPr/>
          <p:nvPr userDrawn="1"/>
        </p:nvSpPr>
        <p:spPr>
          <a:xfrm>
            <a:off x="0" y="0"/>
            <a:ext cx="4945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4945062" y="0"/>
            <a:ext cx="7246938"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448520" y="914400"/>
            <a:ext cx="4053630" cy="5029200"/>
          </a:xfrm>
        </p:spPr>
        <p:txBody>
          <a:bodyPr anchor="ctr"/>
          <a:lstStyle>
            <a:lvl1pPr>
              <a:defRPr sz="3200">
                <a:solidFill>
                  <a:schemeClr val="bg2"/>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bg2"/>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AA84143C-D74C-46F8-B6DC-2A59F6AB4733}"/>
              </a:ext>
            </a:extLst>
          </p:cNvPr>
          <p:cNvSpPr/>
          <p:nvPr userDrawn="1"/>
        </p:nvSpPr>
        <p:spPr>
          <a:xfrm>
            <a:off x="4954687" y="596766"/>
            <a:ext cx="358458" cy="25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4DB24E3C-C2BE-4821-A8A5-25991F4481C8}"/>
              </a:ext>
            </a:extLst>
          </p:cNvPr>
          <p:cNvSpPr>
            <a:spLocks noGrp="1"/>
          </p:cNvSpPr>
          <p:nvPr>
            <p:ph type="sldNum" sz="quarter" idx="1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20020198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 Photo + Text">
    <p:spTree>
      <p:nvGrpSpPr>
        <p:cNvPr id="1" name=""/>
        <p:cNvGrpSpPr/>
        <p:nvPr/>
      </p:nvGrpSpPr>
      <p:grpSpPr>
        <a:xfrm>
          <a:off x="0" y="0"/>
          <a:ext cx="0" cy="0"/>
          <a:chOff x="0" y="0"/>
          <a:chExt cx="0" cy="0"/>
        </a:xfrm>
      </p:grpSpPr>
      <p:sp>
        <p:nvSpPr>
          <p:cNvPr id="7" name="Picture Placeholder 21"/>
          <p:cNvSpPr>
            <a:spLocks noGrp="1"/>
          </p:cNvSpPr>
          <p:nvPr>
            <p:ph type="pic" sz="quarter" idx="10" hasCustomPrompt="1"/>
          </p:nvPr>
        </p:nvSpPr>
        <p:spPr>
          <a:xfrm>
            <a:off x="-1" y="0"/>
            <a:ext cx="3850784"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8" name="Rectangle 7">
            <a:extLst>
              <a:ext uri="{FF2B5EF4-FFF2-40B4-BE49-F238E27FC236}">
                <a16:creationId xmlns:a16="http://schemas.microsoft.com/office/drawing/2014/main" id="{4F72E82D-9AAD-4530-8DBD-499DCE49B905}"/>
              </a:ext>
            </a:extLst>
          </p:cNvPr>
          <p:cNvSpPr/>
          <p:nvPr userDrawn="1"/>
        </p:nvSpPr>
        <p:spPr>
          <a:xfrm>
            <a:off x="3860442" y="656823"/>
            <a:ext cx="457198" cy="167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2">
            <a:extLst>
              <a:ext uri="{FF2B5EF4-FFF2-40B4-BE49-F238E27FC236}">
                <a16:creationId xmlns:a16="http://schemas.microsoft.com/office/drawing/2014/main" id="{BC92F8B9-3829-40B9-9C28-ECC6CF83B82B}"/>
              </a:ext>
            </a:extLst>
          </p:cNvPr>
          <p:cNvSpPr>
            <a:spLocks noGrp="1"/>
          </p:cNvSpPr>
          <p:nvPr>
            <p:ph type="title"/>
          </p:nvPr>
        </p:nvSpPr>
        <p:spPr>
          <a:xfrm>
            <a:off x="4610100" y="463550"/>
            <a:ext cx="6648323" cy="1107996"/>
          </a:xfrm>
        </p:spPr>
        <p:txBody>
          <a:bodyPr/>
          <a:lstStyle>
            <a:lvl1pPr>
              <a:defRPr>
                <a:solidFill>
                  <a:schemeClr val="accent1"/>
                </a:solidFill>
              </a:defRPr>
            </a:lvl1pPr>
          </a:lstStyle>
          <a:p>
            <a:r>
              <a:rPr lang="en-US"/>
              <a:t>Click to edit Master title style</a:t>
            </a:r>
          </a:p>
        </p:txBody>
      </p:sp>
      <p:sp>
        <p:nvSpPr>
          <p:cNvPr id="12" name="Text Placeholder 4">
            <a:extLst>
              <a:ext uri="{FF2B5EF4-FFF2-40B4-BE49-F238E27FC236}">
                <a16:creationId xmlns:a16="http://schemas.microsoft.com/office/drawing/2014/main" id="{28A2CBD2-99CA-4B30-B251-799EA3573E11}"/>
              </a:ext>
            </a:extLst>
          </p:cNvPr>
          <p:cNvSpPr>
            <a:spLocks noGrp="1"/>
          </p:cNvSpPr>
          <p:nvPr>
            <p:ph type="body" sz="quarter" idx="11"/>
          </p:nvPr>
        </p:nvSpPr>
        <p:spPr>
          <a:xfrm>
            <a:off x="4609572" y="1943100"/>
            <a:ext cx="6648978" cy="4457700"/>
          </a:xfrm>
        </p:spPr>
        <p:txBody>
          <a:bodyPr/>
          <a:lstStyle>
            <a:lvl1pPr>
              <a:defRPr>
                <a:solidFill>
                  <a:sysClr val="windowText" lastClr="000000"/>
                </a:solidFill>
              </a:defRPr>
            </a:lvl1pPr>
            <a:lvl2pPr>
              <a:defRPr>
                <a:solidFill>
                  <a:sysClr val="windowText" lastClr="000000"/>
                </a:solidFill>
              </a:defRPr>
            </a:lvl2pPr>
            <a:lvl3pPr>
              <a:defRPr>
                <a:solidFill>
                  <a:sysClr val="windowText" lastClr="000000"/>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5E8E1864-99F2-44F2-BE0B-A6F6C24C6ADF}"/>
              </a:ext>
            </a:extLst>
          </p:cNvPr>
          <p:cNvSpPr>
            <a:spLocks noGrp="1"/>
          </p:cNvSpPr>
          <p:nvPr>
            <p:ph type="sldNum" sz="quarter" idx="1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4404467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phic Righ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userDrawn="1"/>
        </p:nvSpPr>
        <p:spPr>
          <a:xfrm>
            <a:off x="-9663" y="0"/>
            <a:ext cx="583353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3A180E1-11A9-46AF-BA08-9A22E41BA9B3}"/>
              </a:ext>
            </a:extLst>
          </p:cNvPr>
          <p:cNvSpPr>
            <a:spLocks noGrp="1"/>
          </p:cNvSpPr>
          <p:nvPr>
            <p:ph type="title"/>
          </p:nvPr>
        </p:nvSpPr>
        <p:spPr>
          <a:xfrm>
            <a:off x="457200" y="458908"/>
            <a:ext cx="4865621" cy="1107996"/>
          </a:xfrm>
        </p:spPr>
        <p:txBody>
          <a:bodyPr/>
          <a:lstStyle>
            <a:lvl1pPr>
              <a:defRPr>
                <a:solidFill>
                  <a:schemeClr val="accent1"/>
                </a:solidFill>
              </a:defRPr>
            </a:lvl1pPr>
          </a:lstStyle>
          <a:p>
            <a:r>
              <a:rPr lang="en-US"/>
              <a:t>Click to edit Master title style</a:t>
            </a:r>
          </a:p>
        </p:txBody>
      </p:sp>
      <p:sp>
        <p:nvSpPr>
          <p:cNvPr id="5" name="Text Placeholder 4">
            <a:extLst>
              <a:ext uri="{FF2B5EF4-FFF2-40B4-BE49-F238E27FC236}">
                <a16:creationId xmlns:a16="http://schemas.microsoft.com/office/drawing/2014/main" id="{9FC11842-2883-4603-B8AD-D8A8351774D0}"/>
              </a:ext>
            </a:extLst>
          </p:cNvPr>
          <p:cNvSpPr>
            <a:spLocks noGrp="1"/>
          </p:cNvSpPr>
          <p:nvPr>
            <p:ph type="body" sz="quarter" idx="10"/>
          </p:nvPr>
        </p:nvSpPr>
        <p:spPr>
          <a:xfrm>
            <a:off x="456672" y="1829526"/>
            <a:ext cx="4866100" cy="4571274"/>
          </a:xfrm>
        </p:spPr>
        <p:txBody>
          <a:bodyPr/>
          <a:lstStyle>
            <a:lvl1pPr>
              <a:defRPr>
                <a:solidFill>
                  <a:schemeClr val="tx1"/>
                </a:solidFill>
              </a:defRPr>
            </a:lvl1pPr>
            <a:lvl2pPr>
              <a:defRPr>
                <a:solidFill>
                  <a:schemeClr val="tx1"/>
                </a:solidFill>
              </a:defRPr>
            </a:lvl2pPr>
            <a:lvl3pPr>
              <a:defRPr>
                <a:solidFill>
                  <a:schemeClr val="tx1"/>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7EF5F2D7-220E-4653-B42A-C695C923D517}"/>
              </a:ext>
            </a:extLst>
          </p:cNvPr>
          <p:cNvSpPr/>
          <p:nvPr userDrawn="1"/>
        </p:nvSpPr>
        <p:spPr>
          <a:xfrm>
            <a:off x="5823870" y="280462"/>
            <a:ext cx="534597" cy="1126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a:extLst>
              <a:ext uri="{FF2B5EF4-FFF2-40B4-BE49-F238E27FC236}">
                <a16:creationId xmlns:a16="http://schemas.microsoft.com/office/drawing/2014/main" id="{00152366-B2E3-4D5C-ADA6-A44D813B5DF3}"/>
              </a:ext>
            </a:extLst>
          </p:cNvPr>
          <p:cNvSpPr>
            <a:spLocks noGrp="1"/>
          </p:cNvSpPr>
          <p:nvPr>
            <p:ph sz="quarter" idx="11" hasCustomPrompt="1"/>
          </p:nvPr>
        </p:nvSpPr>
        <p:spPr>
          <a:xfrm>
            <a:off x="5823870" y="0"/>
            <a:ext cx="6368130" cy="6858000"/>
          </a:xfrm>
        </p:spPr>
        <p:txBody>
          <a:bodyPr anchor="ctr"/>
          <a:lstStyle>
            <a:lvl1pPr algn="ctr">
              <a:defRPr/>
            </a:lvl1pPr>
          </a:lstStyle>
          <a:p>
            <a:pPr lvl="0"/>
            <a:r>
              <a:rPr lang="en-US"/>
              <a:t>Insert a chart, Graphic, Icon, or Photo here</a:t>
            </a:r>
          </a:p>
        </p:txBody>
      </p:sp>
      <p:sp>
        <p:nvSpPr>
          <p:cNvPr id="11" name="Slide Number Placeholder 10">
            <a:extLst>
              <a:ext uri="{FF2B5EF4-FFF2-40B4-BE49-F238E27FC236}">
                <a16:creationId xmlns:a16="http://schemas.microsoft.com/office/drawing/2014/main" id="{302A6727-14C5-4855-8F49-51273A8601CE}"/>
              </a:ext>
            </a:extLst>
          </p:cNvPr>
          <p:cNvSpPr>
            <a:spLocks noGrp="1"/>
          </p:cNvSpPr>
          <p:nvPr>
            <p:ph type="sldNum" sz="quarter" idx="1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18060527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c Right  (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userDrawn="1"/>
        </p:nvSpPr>
        <p:spPr>
          <a:xfrm>
            <a:off x="-9663" y="0"/>
            <a:ext cx="583353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3A180E1-11A9-46AF-BA08-9A22E41BA9B3}"/>
              </a:ext>
            </a:extLst>
          </p:cNvPr>
          <p:cNvSpPr>
            <a:spLocks noGrp="1"/>
          </p:cNvSpPr>
          <p:nvPr>
            <p:ph type="title"/>
          </p:nvPr>
        </p:nvSpPr>
        <p:spPr>
          <a:xfrm>
            <a:off x="457200" y="457200"/>
            <a:ext cx="4865621" cy="1107996"/>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9FC11842-2883-4603-B8AD-D8A8351774D0}"/>
              </a:ext>
            </a:extLst>
          </p:cNvPr>
          <p:cNvSpPr>
            <a:spLocks noGrp="1"/>
          </p:cNvSpPr>
          <p:nvPr>
            <p:ph type="body" sz="quarter" idx="10"/>
          </p:nvPr>
        </p:nvSpPr>
        <p:spPr>
          <a:xfrm>
            <a:off x="456672" y="1829526"/>
            <a:ext cx="4866100" cy="4571273"/>
          </a:xfrm>
        </p:spPr>
        <p:txBody>
          <a:bodyPr/>
          <a:lstStyle>
            <a:lvl1pPr>
              <a:defRPr>
                <a:solidFill>
                  <a:schemeClr val="bg1"/>
                </a:solidFill>
              </a:defRPr>
            </a:lvl1pPr>
            <a:lvl2pPr>
              <a:defRPr>
                <a:solidFill>
                  <a:schemeClr val="bg1"/>
                </a:solidFill>
              </a:defRPr>
            </a:lvl2pPr>
            <a:lvl3pPr>
              <a:defRPr>
                <a:solidFill>
                  <a:schemeClr val="bg1"/>
                </a:solidFill>
              </a:defRPr>
            </a:lvl3pPr>
            <a:lvl4pPr marL="0" indent="0">
              <a:buFont typeface="CiscoSansTT ExtraLight" panose="020B0303020201020303" pitchFamily="34" charset="0"/>
              <a:buChar char="​"/>
              <a:defRPr sz="2400">
                <a:solidFill>
                  <a:schemeClr val="bg1"/>
                </a:solidFill>
                <a:latin typeface="+mj-lt"/>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7EF5F2D7-220E-4653-B42A-C695C923D517}"/>
              </a:ext>
            </a:extLst>
          </p:cNvPr>
          <p:cNvSpPr/>
          <p:nvPr userDrawn="1"/>
        </p:nvSpPr>
        <p:spPr>
          <a:xfrm>
            <a:off x="5823870" y="280462"/>
            <a:ext cx="534597" cy="1126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a:extLst>
              <a:ext uri="{FF2B5EF4-FFF2-40B4-BE49-F238E27FC236}">
                <a16:creationId xmlns:a16="http://schemas.microsoft.com/office/drawing/2014/main" id="{00152366-B2E3-4D5C-ADA6-A44D813B5DF3}"/>
              </a:ext>
            </a:extLst>
          </p:cNvPr>
          <p:cNvSpPr>
            <a:spLocks noGrp="1"/>
          </p:cNvSpPr>
          <p:nvPr>
            <p:ph sz="quarter" idx="11" hasCustomPrompt="1"/>
          </p:nvPr>
        </p:nvSpPr>
        <p:spPr>
          <a:xfrm>
            <a:off x="5823870" y="0"/>
            <a:ext cx="6368130" cy="6858000"/>
          </a:xfrm>
        </p:spPr>
        <p:txBody>
          <a:bodyPr anchor="ctr"/>
          <a:lstStyle>
            <a:lvl1pPr algn="ctr">
              <a:defRPr/>
            </a:lvl1pPr>
          </a:lstStyle>
          <a:p>
            <a:pPr lvl="0"/>
            <a:r>
              <a:rPr lang="en-US"/>
              <a:t>Insert a chart, Graphic, Icon, or Photo here</a:t>
            </a:r>
          </a:p>
        </p:txBody>
      </p:sp>
      <p:sp>
        <p:nvSpPr>
          <p:cNvPr id="10" name="Slide Number Placeholder 9">
            <a:extLst>
              <a:ext uri="{FF2B5EF4-FFF2-40B4-BE49-F238E27FC236}">
                <a16:creationId xmlns:a16="http://schemas.microsoft.com/office/drawing/2014/main" id="{8A3DBFE3-F1CA-4F8D-9494-09CC9D54FB96}"/>
              </a:ext>
            </a:extLst>
          </p:cNvPr>
          <p:cNvSpPr>
            <a:spLocks noGrp="1"/>
          </p:cNvSpPr>
          <p:nvPr>
            <p:ph type="sldNum" sz="quarter" idx="1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12283927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aphic Righ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userDrawn="1"/>
        </p:nvSpPr>
        <p:spPr>
          <a:xfrm>
            <a:off x="-9663" y="0"/>
            <a:ext cx="583353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EF5F2D7-220E-4653-B42A-C695C923D517}"/>
              </a:ext>
            </a:extLst>
          </p:cNvPr>
          <p:cNvSpPr/>
          <p:nvPr userDrawn="1"/>
        </p:nvSpPr>
        <p:spPr>
          <a:xfrm>
            <a:off x="5834063" y="280462"/>
            <a:ext cx="524404" cy="1126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6">
            <a:extLst>
              <a:ext uri="{FF2B5EF4-FFF2-40B4-BE49-F238E27FC236}">
                <a16:creationId xmlns:a16="http://schemas.microsoft.com/office/drawing/2014/main" id="{AD8A387C-DDB4-4A39-8CC9-FD749C49F5B4}"/>
              </a:ext>
            </a:extLst>
          </p:cNvPr>
          <p:cNvSpPr>
            <a:spLocks noGrp="1"/>
          </p:cNvSpPr>
          <p:nvPr>
            <p:ph sz="quarter" idx="11" hasCustomPrompt="1"/>
          </p:nvPr>
        </p:nvSpPr>
        <p:spPr>
          <a:xfrm>
            <a:off x="5823870" y="0"/>
            <a:ext cx="6368130" cy="6858000"/>
          </a:xfrm>
        </p:spPr>
        <p:txBody>
          <a:bodyPr anchor="ctr"/>
          <a:lstStyle>
            <a:lvl1pPr algn="ctr">
              <a:defRPr/>
            </a:lvl1pPr>
          </a:lstStyle>
          <a:p>
            <a:pPr lvl="0"/>
            <a:r>
              <a:rPr lang="en-US"/>
              <a:t>Insert a chart, Graphic, Icon, or Photo here</a:t>
            </a:r>
          </a:p>
        </p:txBody>
      </p:sp>
      <p:sp>
        <p:nvSpPr>
          <p:cNvPr id="7" name="Title 2">
            <a:extLst>
              <a:ext uri="{FF2B5EF4-FFF2-40B4-BE49-F238E27FC236}">
                <a16:creationId xmlns:a16="http://schemas.microsoft.com/office/drawing/2014/main" id="{2644DDC8-68CC-4548-B4B4-EDE12C5AC180}"/>
              </a:ext>
            </a:extLst>
          </p:cNvPr>
          <p:cNvSpPr>
            <a:spLocks noGrp="1"/>
          </p:cNvSpPr>
          <p:nvPr>
            <p:ph type="title"/>
          </p:nvPr>
        </p:nvSpPr>
        <p:spPr>
          <a:xfrm>
            <a:off x="457200" y="457200"/>
            <a:ext cx="4865621" cy="1107996"/>
          </a:xfrm>
        </p:spPr>
        <p:txBody>
          <a:bodyPr/>
          <a:lstStyle>
            <a:lvl1pPr>
              <a:defRPr>
                <a:solidFill>
                  <a:schemeClr val="accent1"/>
                </a:solidFill>
              </a:defRPr>
            </a:lvl1pPr>
          </a:lstStyle>
          <a:p>
            <a:r>
              <a:rPr lang="en-US"/>
              <a:t>Click to edit Master title style</a:t>
            </a:r>
          </a:p>
        </p:txBody>
      </p:sp>
      <p:sp>
        <p:nvSpPr>
          <p:cNvPr id="9" name="Text Placeholder 4">
            <a:extLst>
              <a:ext uri="{FF2B5EF4-FFF2-40B4-BE49-F238E27FC236}">
                <a16:creationId xmlns:a16="http://schemas.microsoft.com/office/drawing/2014/main" id="{CCDCD105-F0AD-4840-9940-1572E3E3ECB6}"/>
              </a:ext>
            </a:extLst>
          </p:cNvPr>
          <p:cNvSpPr>
            <a:spLocks noGrp="1"/>
          </p:cNvSpPr>
          <p:nvPr>
            <p:ph type="body" sz="quarter" idx="10"/>
          </p:nvPr>
        </p:nvSpPr>
        <p:spPr>
          <a:xfrm>
            <a:off x="456672" y="1829526"/>
            <a:ext cx="4866100" cy="4571273"/>
          </a:xfrm>
        </p:spPr>
        <p:txBody>
          <a:bodyPr/>
          <a:lstStyle>
            <a:lvl1pPr>
              <a:defRPr>
                <a:solidFill>
                  <a:schemeClr val="bg1"/>
                </a:solidFill>
              </a:defRPr>
            </a:lvl1pPr>
            <a:lvl2pPr>
              <a:defRPr>
                <a:solidFill>
                  <a:schemeClr val="bg1"/>
                </a:solidFill>
              </a:defRPr>
            </a:lvl2pPr>
            <a:lvl3pPr>
              <a:defRPr>
                <a:solidFill>
                  <a:schemeClr val="bg1"/>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2E48476-0577-441C-BEE0-DAC2BBE32123}"/>
              </a:ext>
            </a:extLst>
          </p:cNvPr>
          <p:cNvSpPr>
            <a:spLocks noGrp="1"/>
          </p:cNvSpPr>
          <p:nvPr>
            <p:ph type="sldNum" sz="quarter" idx="1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41280846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phic Right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userDrawn="1"/>
        </p:nvSpPr>
        <p:spPr>
          <a:xfrm>
            <a:off x="-9663" y="0"/>
            <a:ext cx="58335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3A180E1-11A9-46AF-BA08-9A22E41BA9B3}"/>
              </a:ext>
            </a:extLst>
          </p:cNvPr>
          <p:cNvSpPr>
            <a:spLocks noGrp="1"/>
          </p:cNvSpPr>
          <p:nvPr>
            <p:ph type="title"/>
          </p:nvPr>
        </p:nvSpPr>
        <p:spPr>
          <a:xfrm>
            <a:off x="457200" y="463550"/>
            <a:ext cx="4865621" cy="1107996"/>
          </a:xfrm>
        </p:spPr>
        <p:txBody>
          <a:bodyPr/>
          <a:lstStyle>
            <a:lvl1pPr>
              <a:defRPr>
                <a:solidFill>
                  <a:schemeClr val="accent1"/>
                </a:solidFill>
              </a:defRPr>
            </a:lvl1pPr>
          </a:lstStyle>
          <a:p>
            <a:r>
              <a:rPr lang="en-US"/>
              <a:t>Click to edit Master title style</a:t>
            </a:r>
          </a:p>
        </p:txBody>
      </p:sp>
      <p:sp>
        <p:nvSpPr>
          <p:cNvPr id="5" name="Text Placeholder 4">
            <a:extLst>
              <a:ext uri="{FF2B5EF4-FFF2-40B4-BE49-F238E27FC236}">
                <a16:creationId xmlns:a16="http://schemas.microsoft.com/office/drawing/2014/main" id="{9FC11842-2883-4603-B8AD-D8A8351774D0}"/>
              </a:ext>
            </a:extLst>
          </p:cNvPr>
          <p:cNvSpPr>
            <a:spLocks noGrp="1"/>
          </p:cNvSpPr>
          <p:nvPr>
            <p:ph type="body" sz="quarter" idx="10"/>
          </p:nvPr>
        </p:nvSpPr>
        <p:spPr>
          <a:xfrm>
            <a:off x="456672" y="1829526"/>
            <a:ext cx="4866100" cy="4571274"/>
          </a:xfrm>
        </p:spPr>
        <p:txBody>
          <a:bodyPr/>
          <a:lstStyle>
            <a:lvl1pPr>
              <a:defRPr>
                <a:solidFill>
                  <a:schemeClr val="bg1"/>
                </a:solidFill>
              </a:defRPr>
            </a:lvl1pPr>
            <a:lvl2pPr>
              <a:defRPr>
                <a:solidFill>
                  <a:schemeClr val="bg1"/>
                </a:solidFill>
              </a:defRPr>
            </a:lvl2pPr>
            <a:lvl3pPr>
              <a:defRPr>
                <a:solidFill>
                  <a:schemeClr val="bg1"/>
                </a:solidFill>
              </a:defRPr>
            </a:lvl3pPr>
            <a:lvl4pPr marL="0" indent="0">
              <a:buFont typeface="CiscoSansTT ExtraLight" panose="020B0303020201020303" pitchFamily="34" charset="0"/>
              <a:buChar char="​"/>
              <a:defRPr sz="2400">
                <a:solidFill>
                  <a:schemeClr val="bg1"/>
                </a:solidFill>
                <a:latin typeface="+mj-lt"/>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7EF5F2D7-220E-4653-B42A-C695C923D517}"/>
              </a:ext>
            </a:extLst>
          </p:cNvPr>
          <p:cNvSpPr/>
          <p:nvPr userDrawn="1"/>
        </p:nvSpPr>
        <p:spPr>
          <a:xfrm>
            <a:off x="5823870" y="280462"/>
            <a:ext cx="534597" cy="1126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6">
            <a:extLst>
              <a:ext uri="{FF2B5EF4-FFF2-40B4-BE49-F238E27FC236}">
                <a16:creationId xmlns:a16="http://schemas.microsoft.com/office/drawing/2014/main" id="{FC99E2B5-5378-4393-A42D-4553D9389B00}"/>
              </a:ext>
            </a:extLst>
          </p:cNvPr>
          <p:cNvSpPr>
            <a:spLocks noGrp="1"/>
          </p:cNvSpPr>
          <p:nvPr>
            <p:ph sz="quarter" idx="11" hasCustomPrompt="1"/>
          </p:nvPr>
        </p:nvSpPr>
        <p:spPr>
          <a:xfrm>
            <a:off x="5823870" y="0"/>
            <a:ext cx="6368130" cy="6858000"/>
          </a:xfrm>
        </p:spPr>
        <p:txBody>
          <a:bodyPr anchor="ctr"/>
          <a:lstStyle>
            <a:lvl1pPr algn="ctr">
              <a:defRPr/>
            </a:lvl1pPr>
          </a:lstStyle>
          <a:p>
            <a:pPr lvl="0"/>
            <a:r>
              <a:rPr lang="en-US"/>
              <a:t>Insert a chart, Graphic, Icon, or Photo here</a:t>
            </a:r>
          </a:p>
        </p:txBody>
      </p:sp>
      <p:sp>
        <p:nvSpPr>
          <p:cNvPr id="9" name="Slide Number Placeholder 8">
            <a:extLst>
              <a:ext uri="{FF2B5EF4-FFF2-40B4-BE49-F238E27FC236}">
                <a16:creationId xmlns:a16="http://schemas.microsoft.com/office/drawing/2014/main" id="{067E4CCA-E9E2-4330-A579-3DD266DE49AA}"/>
              </a:ext>
            </a:extLst>
          </p:cNvPr>
          <p:cNvSpPr>
            <a:spLocks noGrp="1"/>
          </p:cNvSpPr>
          <p:nvPr>
            <p:ph type="sldNum" sz="quarter" idx="1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29104059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x Sta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type="body" idx="1"/>
          </p:nvPr>
        </p:nvSpPr>
        <p:spPr>
          <a:xfrm>
            <a:off x="457201" y="1953040"/>
            <a:ext cx="3168649"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a:t>
            </a:r>
          </a:p>
        </p:txBody>
      </p:sp>
      <p:cxnSp>
        <p:nvCxnSpPr>
          <p:cNvPr id="14" name="Straight Connector 13"/>
          <p:cNvCxnSpPr>
            <a:cxnSpLocks/>
          </p:cNvCxnSpPr>
          <p:nvPr userDrawn="1"/>
        </p:nvCxnSpPr>
        <p:spPr>
          <a:xfrm>
            <a:off x="457200" y="2681014"/>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22" name="Text Placeholder 2"/>
          <p:cNvSpPr>
            <a:spLocks noGrp="1"/>
          </p:cNvSpPr>
          <p:nvPr>
            <p:ph type="body" idx="10"/>
          </p:nvPr>
        </p:nvSpPr>
        <p:spPr>
          <a:xfrm>
            <a:off x="457202" y="2870461"/>
            <a:ext cx="3168648"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Text Placeholder 2"/>
          <p:cNvSpPr>
            <a:spLocks noGrp="1"/>
          </p:cNvSpPr>
          <p:nvPr>
            <p:ph type="body" idx="11"/>
          </p:nvPr>
        </p:nvSpPr>
        <p:spPr>
          <a:xfrm>
            <a:off x="4517975" y="1953040"/>
            <a:ext cx="3168650"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a:t>
            </a:r>
          </a:p>
        </p:txBody>
      </p:sp>
      <p:cxnSp>
        <p:nvCxnSpPr>
          <p:cNvPr id="29" name="Straight Connector 28"/>
          <p:cNvCxnSpPr>
            <a:cxnSpLocks/>
          </p:cNvCxnSpPr>
          <p:nvPr userDrawn="1"/>
        </p:nvCxnSpPr>
        <p:spPr>
          <a:xfrm>
            <a:off x="4517974" y="2681014"/>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30" name="Text Placeholder 2"/>
          <p:cNvSpPr>
            <a:spLocks noGrp="1"/>
          </p:cNvSpPr>
          <p:nvPr>
            <p:ph type="body" idx="12"/>
          </p:nvPr>
        </p:nvSpPr>
        <p:spPr>
          <a:xfrm>
            <a:off x="4517974" y="2870461"/>
            <a:ext cx="3168650"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1" name="Text Placeholder 2"/>
          <p:cNvSpPr>
            <a:spLocks noGrp="1"/>
          </p:cNvSpPr>
          <p:nvPr>
            <p:ph type="body" idx="13"/>
          </p:nvPr>
        </p:nvSpPr>
        <p:spPr>
          <a:xfrm>
            <a:off x="8566148" y="1953040"/>
            <a:ext cx="3168650"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a:t>
            </a:r>
          </a:p>
        </p:txBody>
      </p:sp>
      <p:sp>
        <p:nvSpPr>
          <p:cNvPr id="33" name="Text Placeholder 2"/>
          <p:cNvSpPr>
            <a:spLocks noGrp="1"/>
          </p:cNvSpPr>
          <p:nvPr>
            <p:ph type="body" idx="14"/>
          </p:nvPr>
        </p:nvSpPr>
        <p:spPr>
          <a:xfrm>
            <a:off x="8566148" y="2870461"/>
            <a:ext cx="3168650"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8" name="Text Placeholder 2"/>
          <p:cNvSpPr>
            <a:spLocks noGrp="1"/>
          </p:cNvSpPr>
          <p:nvPr>
            <p:ph type="body" idx="15"/>
          </p:nvPr>
        </p:nvSpPr>
        <p:spPr>
          <a:xfrm>
            <a:off x="457201" y="3730908"/>
            <a:ext cx="3168647"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a:t>
            </a:r>
          </a:p>
        </p:txBody>
      </p:sp>
      <p:cxnSp>
        <p:nvCxnSpPr>
          <p:cNvPr id="39" name="Straight Connector 38"/>
          <p:cNvCxnSpPr>
            <a:cxnSpLocks/>
          </p:cNvCxnSpPr>
          <p:nvPr userDrawn="1"/>
        </p:nvCxnSpPr>
        <p:spPr>
          <a:xfrm>
            <a:off x="457200" y="4458882"/>
            <a:ext cx="3168648"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0" name="Text Placeholder 2"/>
          <p:cNvSpPr>
            <a:spLocks noGrp="1"/>
          </p:cNvSpPr>
          <p:nvPr>
            <p:ph type="body" idx="16"/>
          </p:nvPr>
        </p:nvSpPr>
        <p:spPr>
          <a:xfrm>
            <a:off x="457201" y="4648329"/>
            <a:ext cx="3168647"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1" name="Text Placeholder 2"/>
          <p:cNvSpPr>
            <a:spLocks noGrp="1"/>
          </p:cNvSpPr>
          <p:nvPr>
            <p:ph type="body" idx="17"/>
          </p:nvPr>
        </p:nvSpPr>
        <p:spPr>
          <a:xfrm>
            <a:off x="4441776" y="3730908"/>
            <a:ext cx="3308442"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a:t>
            </a:r>
          </a:p>
        </p:txBody>
      </p:sp>
      <p:cxnSp>
        <p:nvCxnSpPr>
          <p:cNvPr id="42" name="Straight Connector 41"/>
          <p:cNvCxnSpPr>
            <a:cxnSpLocks/>
          </p:cNvCxnSpPr>
          <p:nvPr userDrawn="1"/>
        </p:nvCxnSpPr>
        <p:spPr>
          <a:xfrm>
            <a:off x="4517974" y="4458882"/>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3" name="Text Placeholder 2"/>
          <p:cNvSpPr>
            <a:spLocks noGrp="1"/>
          </p:cNvSpPr>
          <p:nvPr>
            <p:ph type="body" idx="18"/>
          </p:nvPr>
        </p:nvSpPr>
        <p:spPr>
          <a:xfrm>
            <a:off x="4517975" y="4648329"/>
            <a:ext cx="3168650"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4" name="Text Placeholder 2"/>
          <p:cNvSpPr>
            <a:spLocks noGrp="1"/>
          </p:cNvSpPr>
          <p:nvPr>
            <p:ph type="body" idx="19"/>
          </p:nvPr>
        </p:nvSpPr>
        <p:spPr>
          <a:xfrm>
            <a:off x="8566148" y="3730908"/>
            <a:ext cx="3168650"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a:t>
            </a:r>
          </a:p>
        </p:txBody>
      </p:sp>
      <p:cxnSp>
        <p:nvCxnSpPr>
          <p:cNvPr id="32" name="Straight Connector 31"/>
          <p:cNvCxnSpPr>
            <a:cxnSpLocks/>
          </p:cNvCxnSpPr>
          <p:nvPr userDrawn="1"/>
        </p:nvCxnSpPr>
        <p:spPr>
          <a:xfrm>
            <a:off x="8566148" y="2681014"/>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45" name="Straight Connector 44"/>
          <p:cNvCxnSpPr>
            <a:cxnSpLocks/>
          </p:cNvCxnSpPr>
          <p:nvPr userDrawn="1"/>
        </p:nvCxnSpPr>
        <p:spPr>
          <a:xfrm>
            <a:off x="8566148" y="4462944"/>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6" name="Text Placeholder 2"/>
          <p:cNvSpPr>
            <a:spLocks noGrp="1"/>
          </p:cNvSpPr>
          <p:nvPr userDrawn="1">
            <p:ph type="body" idx="20"/>
          </p:nvPr>
        </p:nvSpPr>
        <p:spPr>
          <a:xfrm>
            <a:off x="8566148" y="4648329"/>
            <a:ext cx="3168650"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Text Placeholder 2">
            <a:extLst>
              <a:ext uri="{FF2B5EF4-FFF2-40B4-BE49-F238E27FC236}">
                <a16:creationId xmlns:a16="http://schemas.microsoft.com/office/drawing/2014/main" id="{4A27D6DA-95E1-4BBD-B884-D448EEEE77E1}"/>
              </a:ext>
            </a:extLst>
          </p:cNvPr>
          <p:cNvSpPr>
            <a:spLocks noGrp="1"/>
          </p:cNvSpPr>
          <p:nvPr>
            <p:ph type="body" idx="21"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7655553E-678D-4D27-8561-65DB1FC95AEE}"/>
              </a:ext>
            </a:extLst>
          </p:cNvPr>
          <p:cNvSpPr>
            <a:spLocks noGrp="1"/>
          </p:cNvSpPr>
          <p:nvPr>
            <p:ph type="sldNum" sz="quarter" idx="23"/>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3732109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Red)">
    <p:bg>
      <p:bgPr>
        <a:solidFill>
          <a:schemeClr val="accent1"/>
        </a:solidFill>
        <a:effectLst/>
      </p:bgPr>
    </p:bg>
    <p:spTree>
      <p:nvGrpSpPr>
        <p:cNvPr id="1" name=""/>
        <p:cNvGrpSpPr/>
        <p:nvPr/>
      </p:nvGrpSpPr>
      <p:grpSpPr>
        <a:xfrm>
          <a:off x="0" y="0"/>
          <a:ext cx="0" cy="0"/>
          <a:chOff x="0" y="0"/>
          <a:chExt cx="0" cy="0"/>
        </a:xfrm>
      </p:grpSpPr>
      <p:sp>
        <p:nvSpPr>
          <p:cNvPr id="18" name="Title 17"/>
          <p:cNvSpPr>
            <a:spLocks noGrp="1"/>
          </p:cNvSpPr>
          <p:nvPr>
            <p:ph type="title"/>
          </p:nvPr>
        </p:nvSpPr>
        <p:spPr>
          <a:xfrm>
            <a:off x="914400" y="2578150"/>
            <a:ext cx="10363200" cy="1701700"/>
          </a:xfrm>
        </p:spPr>
        <p:txBody>
          <a:bodyPr anchor="ctr"/>
          <a:lstStyle>
            <a:lvl1pPr algn="ctr">
              <a:defRPr sz="4400">
                <a:solidFill>
                  <a:schemeClr val="bg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6F7149D1-A68A-4D26-BAC3-30B06B5D1B96}"/>
              </a:ext>
            </a:extLst>
          </p:cNvPr>
          <p:cNvCxnSpPr/>
          <p:nvPr userDrawn="1"/>
        </p:nvCxnSpPr>
        <p:spPr>
          <a:xfrm>
            <a:off x="457200" y="719844"/>
            <a:ext cx="11277600" cy="0"/>
          </a:xfrm>
          <a:prstGeom prst="line">
            <a:avLst/>
          </a:prstGeom>
          <a:ln w="95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60D7C5A-45F9-47DB-BBBE-F7B18BFE8BFB}"/>
              </a:ext>
            </a:extLst>
          </p:cNvPr>
          <p:cNvCxnSpPr/>
          <p:nvPr userDrawn="1"/>
        </p:nvCxnSpPr>
        <p:spPr>
          <a:xfrm>
            <a:off x="457200" y="6138155"/>
            <a:ext cx="11277600" cy="0"/>
          </a:xfrm>
          <a:prstGeom prst="line">
            <a:avLst/>
          </a:prstGeom>
          <a:ln w="9525"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2846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5" name="Text Placeholder 2"/>
          <p:cNvSpPr>
            <a:spLocks noGrp="1"/>
          </p:cNvSpPr>
          <p:nvPr>
            <p:ph type="body" idx="1" hasCustomPrompt="1"/>
          </p:nvPr>
        </p:nvSpPr>
        <p:spPr>
          <a:xfrm>
            <a:off x="457201" y="2695785"/>
            <a:ext cx="3454399" cy="664797"/>
          </a:xfrm>
        </p:spPr>
        <p:txBody>
          <a:bodyPr wrap="square" anchor="b">
            <a:spAutoFit/>
          </a:bodyPr>
          <a:lstStyle>
            <a:lvl1pPr marL="0" indent="0">
              <a:buNone/>
              <a:defRPr lang="en-US" sz="4800" b="0" kern="1200" spc="-150" dirty="0">
                <a:solidFill>
                  <a:schemeClr val="accent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Stat</a:t>
            </a:r>
          </a:p>
        </p:txBody>
      </p:sp>
      <p:cxnSp>
        <p:nvCxnSpPr>
          <p:cNvPr id="16" name="Straight Connector 15"/>
          <p:cNvCxnSpPr>
            <a:cxnSpLocks/>
          </p:cNvCxnSpPr>
          <p:nvPr userDrawn="1"/>
        </p:nvCxnSpPr>
        <p:spPr>
          <a:xfrm>
            <a:off x="457200" y="3423759"/>
            <a:ext cx="345440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7" name="Text Placeholder 2"/>
          <p:cNvSpPr>
            <a:spLocks noGrp="1"/>
          </p:cNvSpPr>
          <p:nvPr>
            <p:ph type="body" idx="10"/>
          </p:nvPr>
        </p:nvSpPr>
        <p:spPr>
          <a:xfrm>
            <a:off x="457202" y="3613206"/>
            <a:ext cx="3454398" cy="221599"/>
          </a:xfrm>
        </p:spPr>
        <p:txBody>
          <a:bodyPr wrap="square" anchor="t">
            <a:spAutoFit/>
          </a:bodyPr>
          <a:lstStyle>
            <a:lvl1pPr marL="0" indent="0">
              <a:buNone/>
              <a:defRPr lang="en-US" sz="1600" b="1"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Edit Master text styles</a:t>
            </a:r>
          </a:p>
        </p:txBody>
      </p:sp>
      <p:sp>
        <p:nvSpPr>
          <p:cNvPr id="18" name="Text Placeholder 2"/>
          <p:cNvSpPr>
            <a:spLocks noGrp="1"/>
          </p:cNvSpPr>
          <p:nvPr>
            <p:ph type="body" idx="11" hasCustomPrompt="1"/>
          </p:nvPr>
        </p:nvSpPr>
        <p:spPr>
          <a:xfrm>
            <a:off x="4368801" y="2695785"/>
            <a:ext cx="3454400" cy="664797"/>
          </a:xfrm>
        </p:spPr>
        <p:txBody>
          <a:bodyPr wrap="square" anchor="b">
            <a:spAutoFit/>
          </a:bodyPr>
          <a:lstStyle>
            <a:lvl1pPr marL="0" indent="0">
              <a:buNone/>
              <a:defRPr lang="en-US" sz="4800" b="0" kern="1200" spc="-150" dirty="0">
                <a:solidFill>
                  <a:schemeClr val="accent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Stat</a:t>
            </a:r>
          </a:p>
        </p:txBody>
      </p:sp>
      <p:cxnSp>
        <p:nvCxnSpPr>
          <p:cNvPr id="19" name="Straight Connector 18"/>
          <p:cNvCxnSpPr>
            <a:cxnSpLocks/>
          </p:cNvCxnSpPr>
          <p:nvPr userDrawn="1"/>
        </p:nvCxnSpPr>
        <p:spPr>
          <a:xfrm>
            <a:off x="4368800" y="3423759"/>
            <a:ext cx="345440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20" name="Text Placeholder 2"/>
          <p:cNvSpPr>
            <a:spLocks noGrp="1"/>
          </p:cNvSpPr>
          <p:nvPr>
            <p:ph type="body" idx="12"/>
          </p:nvPr>
        </p:nvSpPr>
        <p:spPr>
          <a:xfrm>
            <a:off x="4368800" y="3613206"/>
            <a:ext cx="3454400" cy="221599"/>
          </a:xfrm>
        </p:spPr>
        <p:txBody>
          <a:bodyPr wrap="square" anchor="t">
            <a:spAutoFit/>
          </a:bodyPr>
          <a:lstStyle>
            <a:lvl1pPr marL="0" indent="0">
              <a:buNone/>
              <a:defRPr lang="en-US" sz="1600" b="1"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Edit Master text styles</a:t>
            </a:r>
          </a:p>
        </p:txBody>
      </p:sp>
      <p:sp>
        <p:nvSpPr>
          <p:cNvPr id="21" name="Text Placeholder 2"/>
          <p:cNvSpPr>
            <a:spLocks noGrp="1"/>
          </p:cNvSpPr>
          <p:nvPr>
            <p:ph type="body" idx="13" hasCustomPrompt="1"/>
          </p:nvPr>
        </p:nvSpPr>
        <p:spPr>
          <a:xfrm>
            <a:off x="8280400" y="2695785"/>
            <a:ext cx="3454400" cy="664797"/>
          </a:xfrm>
        </p:spPr>
        <p:txBody>
          <a:bodyPr wrap="square" anchor="b">
            <a:spAutoFit/>
          </a:bodyPr>
          <a:lstStyle>
            <a:lvl1pPr marL="0" indent="0">
              <a:buNone/>
              <a:defRPr lang="en-US" sz="4800" b="0" kern="1200" spc="-150" dirty="0">
                <a:solidFill>
                  <a:schemeClr val="accent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Stat</a:t>
            </a:r>
          </a:p>
        </p:txBody>
      </p:sp>
      <p:sp>
        <p:nvSpPr>
          <p:cNvPr id="23" name="Text Placeholder 2"/>
          <p:cNvSpPr>
            <a:spLocks noGrp="1"/>
          </p:cNvSpPr>
          <p:nvPr>
            <p:ph type="body" idx="14"/>
          </p:nvPr>
        </p:nvSpPr>
        <p:spPr>
          <a:xfrm>
            <a:off x="8280400" y="3613206"/>
            <a:ext cx="3454400" cy="221599"/>
          </a:xfrm>
        </p:spPr>
        <p:txBody>
          <a:bodyPr wrap="square" anchor="t">
            <a:spAutoFit/>
          </a:bodyPr>
          <a:lstStyle>
            <a:lvl1pPr marL="0" indent="0">
              <a:buNone/>
              <a:defRPr lang="en-US" sz="1600" b="1"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Edit Master text styles</a:t>
            </a:r>
          </a:p>
        </p:txBody>
      </p:sp>
      <p:cxnSp>
        <p:nvCxnSpPr>
          <p:cNvPr id="11" name="Straight Connector 10"/>
          <p:cNvCxnSpPr>
            <a:cxnSpLocks/>
          </p:cNvCxnSpPr>
          <p:nvPr userDrawn="1"/>
        </p:nvCxnSpPr>
        <p:spPr>
          <a:xfrm>
            <a:off x="8280400" y="3423759"/>
            <a:ext cx="345440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3" name="Text Placeholder 2">
            <a:extLst>
              <a:ext uri="{FF2B5EF4-FFF2-40B4-BE49-F238E27FC236}">
                <a16:creationId xmlns:a16="http://schemas.microsoft.com/office/drawing/2014/main" id="{0A32B4AB-8CDF-4DE9-99AB-969EB80A572E}"/>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832EA70D-80B6-4EA8-86E6-8B06EF3D1CC2}"/>
              </a:ext>
            </a:extLst>
          </p:cNvPr>
          <p:cNvSpPr>
            <a:spLocks noGrp="1"/>
          </p:cNvSpPr>
          <p:nvPr>
            <p:ph type="sldNum" sz="quarter" idx="18"/>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6527053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grpSp>
        <p:nvGrpSpPr>
          <p:cNvPr id="23" name="Group 22"/>
          <p:cNvGrpSpPr/>
          <p:nvPr userDrawn="1"/>
        </p:nvGrpSpPr>
        <p:grpSpPr>
          <a:xfrm>
            <a:off x="1626409" y="1197749"/>
            <a:ext cx="8939182" cy="5170298"/>
            <a:chOff x="1097280" y="932122"/>
            <a:chExt cx="9429985" cy="5454173"/>
          </a:xfrm>
          <a:solidFill>
            <a:schemeClr val="bg2"/>
          </a:solidFill>
        </p:grpSpPr>
        <p:sp>
          <p:nvSpPr>
            <p:cNvPr id="24" name="Freeform 6"/>
            <p:cNvSpPr>
              <a:spLocks/>
            </p:cNvSpPr>
            <p:nvPr/>
          </p:nvSpPr>
          <p:spPr bwMode="auto">
            <a:xfrm>
              <a:off x="8548870" y="1873309"/>
              <a:ext cx="0" cy="1812"/>
            </a:xfrm>
            <a:custGeom>
              <a:avLst/>
              <a:gdLst>
                <a:gd name="T0" fmla="*/ 1 h 1"/>
                <a:gd name="T1" fmla="*/ 0 h 1"/>
                <a:gd name="T2" fmla="*/ 1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0"/>
                  </a:cubicBezTo>
                  <a:cubicBezTo>
                    <a:pt x="0" y="1"/>
                    <a:pt x="0" y="1"/>
                    <a:pt x="0" y="1"/>
                  </a:cubicBezTo>
                  <a:cubicBezTo>
                    <a:pt x="0" y="1"/>
                    <a:pt x="0" y="1"/>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
            <p:cNvSpPr>
              <a:spLocks/>
            </p:cNvSpPr>
            <p:nvPr/>
          </p:nvSpPr>
          <p:spPr bwMode="auto">
            <a:xfrm>
              <a:off x="8617716" y="2121514"/>
              <a:ext cx="160337" cy="147655"/>
            </a:xfrm>
            <a:custGeom>
              <a:avLst/>
              <a:gdLst>
                <a:gd name="T0" fmla="*/ 24 w 75"/>
                <a:gd name="T1" fmla="*/ 4 h 69"/>
                <a:gd name="T2" fmla="*/ 24 w 75"/>
                <a:gd name="T3" fmla="*/ 4 h 69"/>
                <a:gd name="T4" fmla="*/ 24 w 75"/>
                <a:gd name="T5" fmla="*/ 4 h 69"/>
                <a:gd name="T6" fmla="*/ 21 w 75"/>
                <a:gd name="T7" fmla="*/ 13 h 69"/>
                <a:gd name="T8" fmla="*/ 10 w 75"/>
                <a:gd name="T9" fmla="*/ 40 h 69"/>
                <a:gd name="T10" fmla="*/ 5 w 75"/>
                <a:gd name="T11" fmla="*/ 45 h 69"/>
                <a:gd name="T12" fmla="*/ 2 w 75"/>
                <a:gd name="T13" fmla="*/ 48 h 69"/>
                <a:gd name="T14" fmla="*/ 3 w 75"/>
                <a:gd name="T15" fmla="*/ 54 h 69"/>
                <a:gd name="T16" fmla="*/ 6 w 75"/>
                <a:gd name="T17" fmla="*/ 55 h 69"/>
                <a:gd name="T18" fmla="*/ 10 w 75"/>
                <a:gd name="T19" fmla="*/ 60 h 69"/>
                <a:gd name="T20" fmla="*/ 9 w 75"/>
                <a:gd name="T21" fmla="*/ 63 h 69"/>
                <a:gd name="T22" fmla="*/ 16 w 75"/>
                <a:gd name="T23" fmla="*/ 68 h 69"/>
                <a:gd name="T24" fmla="*/ 22 w 75"/>
                <a:gd name="T25" fmla="*/ 66 h 69"/>
                <a:gd name="T26" fmla="*/ 40 w 75"/>
                <a:gd name="T27" fmla="*/ 50 h 69"/>
                <a:gd name="T28" fmla="*/ 43 w 75"/>
                <a:gd name="T29" fmla="*/ 49 h 69"/>
                <a:gd name="T30" fmla="*/ 49 w 75"/>
                <a:gd name="T31" fmla="*/ 57 h 69"/>
                <a:gd name="T32" fmla="*/ 52 w 75"/>
                <a:gd name="T33" fmla="*/ 61 h 69"/>
                <a:gd name="T34" fmla="*/ 64 w 75"/>
                <a:gd name="T35" fmla="*/ 65 h 69"/>
                <a:gd name="T36" fmla="*/ 67 w 75"/>
                <a:gd name="T37" fmla="*/ 65 h 69"/>
                <a:gd name="T38" fmla="*/ 73 w 75"/>
                <a:gd name="T39" fmla="*/ 60 h 69"/>
                <a:gd name="T40" fmla="*/ 71 w 75"/>
                <a:gd name="T41" fmla="*/ 53 h 69"/>
                <a:gd name="T42" fmla="*/ 70 w 75"/>
                <a:gd name="T43" fmla="*/ 52 h 69"/>
                <a:gd name="T44" fmla="*/ 64 w 75"/>
                <a:gd name="T45" fmla="*/ 46 h 69"/>
                <a:gd name="T46" fmla="*/ 59 w 75"/>
                <a:gd name="T47" fmla="*/ 34 h 69"/>
                <a:gd name="T48" fmla="*/ 54 w 75"/>
                <a:gd name="T49" fmla="*/ 28 h 69"/>
                <a:gd name="T50" fmla="*/ 42 w 75"/>
                <a:gd name="T51" fmla="*/ 14 h 69"/>
                <a:gd name="T52" fmla="*/ 39 w 75"/>
                <a:gd name="T53" fmla="*/ 13 h 69"/>
                <a:gd name="T54" fmla="*/ 37 w 75"/>
                <a:gd name="T55" fmla="*/ 10 h 69"/>
                <a:gd name="T56" fmla="*/ 43 w 75"/>
                <a:gd name="T57" fmla="*/ 4 h 69"/>
                <a:gd name="T58" fmla="*/ 43 w 75"/>
                <a:gd name="T59" fmla="*/ 1 h 69"/>
                <a:gd name="T60" fmla="*/ 40 w 75"/>
                <a:gd name="T61" fmla="*/ 0 h 69"/>
                <a:gd name="T62" fmla="*/ 34 w 75"/>
                <a:gd name="T63" fmla="*/ 1 h 69"/>
                <a:gd name="T64" fmla="*/ 27 w 75"/>
                <a:gd name="T65" fmla="*/ 1 h 69"/>
                <a:gd name="T66" fmla="*/ 24 w 75"/>
                <a:gd name="T67" fmla="*/ 4 h 69"/>
                <a:gd name="T68" fmla="*/ 24 w 75"/>
                <a:gd name="T69"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69">
                  <a:moveTo>
                    <a:pt x="24" y="4"/>
                  </a:moveTo>
                  <a:cubicBezTo>
                    <a:pt x="24" y="4"/>
                    <a:pt x="24" y="4"/>
                    <a:pt x="24" y="4"/>
                  </a:cubicBezTo>
                  <a:cubicBezTo>
                    <a:pt x="24" y="4"/>
                    <a:pt x="24" y="4"/>
                    <a:pt x="24" y="4"/>
                  </a:cubicBezTo>
                  <a:cubicBezTo>
                    <a:pt x="23" y="7"/>
                    <a:pt x="22" y="10"/>
                    <a:pt x="21" y="13"/>
                  </a:cubicBezTo>
                  <a:cubicBezTo>
                    <a:pt x="18" y="22"/>
                    <a:pt x="12" y="30"/>
                    <a:pt x="10" y="40"/>
                  </a:cubicBezTo>
                  <a:cubicBezTo>
                    <a:pt x="9" y="42"/>
                    <a:pt x="7" y="43"/>
                    <a:pt x="5" y="45"/>
                  </a:cubicBezTo>
                  <a:cubicBezTo>
                    <a:pt x="4" y="45"/>
                    <a:pt x="3" y="46"/>
                    <a:pt x="2" y="48"/>
                  </a:cubicBezTo>
                  <a:cubicBezTo>
                    <a:pt x="0" y="49"/>
                    <a:pt x="1" y="53"/>
                    <a:pt x="3" y="54"/>
                  </a:cubicBezTo>
                  <a:cubicBezTo>
                    <a:pt x="4" y="55"/>
                    <a:pt x="5" y="55"/>
                    <a:pt x="6" y="55"/>
                  </a:cubicBezTo>
                  <a:cubicBezTo>
                    <a:pt x="9" y="56"/>
                    <a:pt x="10" y="58"/>
                    <a:pt x="10" y="60"/>
                  </a:cubicBezTo>
                  <a:cubicBezTo>
                    <a:pt x="10" y="61"/>
                    <a:pt x="9" y="62"/>
                    <a:pt x="9" y="63"/>
                  </a:cubicBezTo>
                  <a:cubicBezTo>
                    <a:pt x="9" y="67"/>
                    <a:pt x="12" y="69"/>
                    <a:pt x="16" y="68"/>
                  </a:cubicBezTo>
                  <a:cubicBezTo>
                    <a:pt x="18" y="67"/>
                    <a:pt x="21" y="67"/>
                    <a:pt x="22" y="66"/>
                  </a:cubicBezTo>
                  <a:cubicBezTo>
                    <a:pt x="27" y="60"/>
                    <a:pt x="36" y="58"/>
                    <a:pt x="40" y="50"/>
                  </a:cubicBezTo>
                  <a:cubicBezTo>
                    <a:pt x="40" y="50"/>
                    <a:pt x="42" y="49"/>
                    <a:pt x="43" y="49"/>
                  </a:cubicBezTo>
                  <a:cubicBezTo>
                    <a:pt x="46" y="51"/>
                    <a:pt x="49" y="53"/>
                    <a:pt x="49" y="57"/>
                  </a:cubicBezTo>
                  <a:cubicBezTo>
                    <a:pt x="50" y="59"/>
                    <a:pt x="50" y="61"/>
                    <a:pt x="52" y="61"/>
                  </a:cubicBezTo>
                  <a:cubicBezTo>
                    <a:pt x="56" y="63"/>
                    <a:pt x="60" y="64"/>
                    <a:pt x="64" y="65"/>
                  </a:cubicBezTo>
                  <a:cubicBezTo>
                    <a:pt x="65" y="66"/>
                    <a:pt x="67" y="65"/>
                    <a:pt x="67" y="65"/>
                  </a:cubicBezTo>
                  <a:cubicBezTo>
                    <a:pt x="69" y="63"/>
                    <a:pt x="71" y="61"/>
                    <a:pt x="73" y="60"/>
                  </a:cubicBezTo>
                  <a:cubicBezTo>
                    <a:pt x="75" y="58"/>
                    <a:pt x="74" y="54"/>
                    <a:pt x="71" y="53"/>
                  </a:cubicBezTo>
                  <a:cubicBezTo>
                    <a:pt x="71" y="53"/>
                    <a:pt x="70" y="53"/>
                    <a:pt x="70" y="52"/>
                  </a:cubicBezTo>
                  <a:cubicBezTo>
                    <a:pt x="66" y="51"/>
                    <a:pt x="64" y="49"/>
                    <a:pt x="64" y="46"/>
                  </a:cubicBezTo>
                  <a:cubicBezTo>
                    <a:pt x="64" y="41"/>
                    <a:pt x="63" y="37"/>
                    <a:pt x="59" y="34"/>
                  </a:cubicBezTo>
                  <a:cubicBezTo>
                    <a:pt x="58" y="32"/>
                    <a:pt x="55" y="31"/>
                    <a:pt x="54" y="28"/>
                  </a:cubicBezTo>
                  <a:cubicBezTo>
                    <a:pt x="52" y="22"/>
                    <a:pt x="45" y="20"/>
                    <a:pt x="42" y="14"/>
                  </a:cubicBezTo>
                  <a:cubicBezTo>
                    <a:pt x="41" y="14"/>
                    <a:pt x="40" y="14"/>
                    <a:pt x="39" y="13"/>
                  </a:cubicBezTo>
                  <a:cubicBezTo>
                    <a:pt x="35" y="12"/>
                    <a:pt x="35" y="12"/>
                    <a:pt x="37" y="10"/>
                  </a:cubicBezTo>
                  <a:cubicBezTo>
                    <a:pt x="39" y="8"/>
                    <a:pt x="41" y="6"/>
                    <a:pt x="43" y="4"/>
                  </a:cubicBezTo>
                  <a:cubicBezTo>
                    <a:pt x="43" y="3"/>
                    <a:pt x="43" y="2"/>
                    <a:pt x="43" y="1"/>
                  </a:cubicBezTo>
                  <a:cubicBezTo>
                    <a:pt x="42" y="0"/>
                    <a:pt x="41" y="0"/>
                    <a:pt x="40" y="0"/>
                  </a:cubicBezTo>
                  <a:cubicBezTo>
                    <a:pt x="38" y="1"/>
                    <a:pt x="36" y="2"/>
                    <a:pt x="34" y="1"/>
                  </a:cubicBezTo>
                  <a:cubicBezTo>
                    <a:pt x="32" y="1"/>
                    <a:pt x="29" y="1"/>
                    <a:pt x="27" y="1"/>
                  </a:cubicBezTo>
                  <a:cubicBezTo>
                    <a:pt x="26" y="2"/>
                    <a:pt x="25" y="3"/>
                    <a:pt x="24" y="4"/>
                  </a:cubicBezTo>
                  <a:cubicBezTo>
                    <a:pt x="24" y="4"/>
                    <a:pt x="24" y="4"/>
                    <a:pt x="24" y="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p:cNvSpPr>
            <p:nvPr/>
          </p:nvSpPr>
          <p:spPr bwMode="auto">
            <a:xfrm>
              <a:off x="8825157" y="1906826"/>
              <a:ext cx="0" cy="2718"/>
            </a:xfrm>
            <a:custGeom>
              <a:avLst/>
              <a:gdLst>
                <a:gd name="T0" fmla="*/ 1 h 1"/>
                <a:gd name="T1" fmla="*/ 1 h 1"/>
                <a:gd name="T2" fmla="*/ 0 h 1"/>
                <a:gd name="T3" fmla="*/ 0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1"/>
                  </a:cubicBezTo>
                  <a:cubicBezTo>
                    <a:pt x="0" y="0"/>
                    <a:pt x="0" y="0"/>
                    <a:pt x="0" y="0"/>
                  </a:cubicBezTo>
                  <a:cubicBezTo>
                    <a:pt x="0" y="0"/>
                    <a:pt x="0" y="0"/>
                    <a:pt x="0" y="0"/>
                  </a:cubicBezTo>
                  <a:cubicBezTo>
                    <a:pt x="0" y="0"/>
                    <a:pt x="0" y="0"/>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p:cNvSpPr>
            <p:nvPr/>
          </p:nvSpPr>
          <p:spPr bwMode="auto">
            <a:xfrm>
              <a:off x="9052528" y="3042772"/>
              <a:ext cx="0" cy="1812"/>
            </a:xfrm>
            <a:custGeom>
              <a:avLst/>
              <a:gdLst>
                <a:gd name="T0" fmla="*/ 1 h 1"/>
                <a:gd name="T1" fmla="*/ 0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0"/>
                  </a:cubicBezTo>
                  <a:cubicBezTo>
                    <a:pt x="0" y="0"/>
                    <a:pt x="0" y="0"/>
                    <a:pt x="0" y="0"/>
                  </a:cubicBezTo>
                  <a:cubicBezTo>
                    <a:pt x="0" y="1"/>
                    <a:pt x="0" y="1"/>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4"/>
            <p:cNvSpPr>
              <a:spLocks/>
            </p:cNvSpPr>
            <p:nvPr/>
          </p:nvSpPr>
          <p:spPr bwMode="auto">
            <a:xfrm>
              <a:off x="7392995" y="2780979"/>
              <a:ext cx="1812" cy="2718"/>
            </a:xfrm>
            <a:custGeom>
              <a:avLst/>
              <a:gdLst>
                <a:gd name="T0" fmla="*/ 1 w 1"/>
                <a:gd name="T1" fmla="*/ 0 h 1"/>
                <a:gd name="T2" fmla="*/ 0 w 1"/>
                <a:gd name="T3" fmla="*/ 0 h 1"/>
                <a:gd name="T4" fmla="*/ 1 w 1"/>
                <a:gd name="T5" fmla="*/ 0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0" y="0"/>
                  </a:cubicBezTo>
                  <a:cubicBezTo>
                    <a:pt x="0" y="0"/>
                    <a:pt x="1" y="0"/>
                    <a:pt x="1" y="0"/>
                  </a:cubicBezTo>
                  <a:cubicBezTo>
                    <a:pt x="1" y="1"/>
                    <a:pt x="1" y="1"/>
                    <a:pt x="1" y="1"/>
                  </a:cubicBezTo>
                  <a:cubicBezTo>
                    <a:pt x="1"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5"/>
            <p:cNvSpPr>
              <a:spLocks/>
            </p:cNvSpPr>
            <p:nvPr/>
          </p:nvSpPr>
          <p:spPr bwMode="auto">
            <a:xfrm>
              <a:off x="9512704" y="207622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6"/>
            <p:cNvSpPr>
              <a:spLocks noEditPoints="1"/>
            </p:cNvSpPr>
            <p:nvPr/>
          </p:nvSpPr>
          <p:spPr bwMode="auto">
            <a:xfrm>
              <a:off x="9300733" y="1011838"/>
              <a:ext cx="1226532" cy="1492855"/>
            </a:xfrm>
            <a:custGeom>
              <a:avLst/>
              <a:gdLst>
                <a:gd name="T0" fmla="*/ 402 w 573"/>
                <a:gd name="T1" fmla="*/ 471 h 697"/>
                <a:gd name="T2" fmla="*/ 444 w 573"/>
                <a:gd name="T3" fmla="*/ 456 h 697"/>
                <a:gd name="T4" fmla="*/ 421 w 573"/>
                <a:gd name="T5" fmla="*/ 407 h 697"/>
                <a:gd name="T6" fmla="*/ 433 w 573"/>
                <a:gd name="T7" fmla="*/ 393 h 697"/>
                <a:gd name="T8" fmla="*/ 437 w 573"/>
                <a:gd name="T9" fmla="*/ 395 h 697"/>
                <a:gd name="T10" fmla="*/ 469 w 573"/>
                <a:gd name="T11" fmla="*/ 370 h 697"/>
                <a:gd name="T12" fmla="*/ 481 w 573"/>
                <a:gd name="T13" fmla="*/ 326 h 697"/>
                <a:gd name="T14" fmla="*/ 469 w 573"/>
                <a:gd name="T15" fmla="*/ 300 h 697"/>
                <a:gd name="T16" fmla="*/ 491 w 573"/>
                <a:gd name="T17" fmla="*/ 314 h 697"/>
                <a:gd name="T18" fmla="*/ 490 w 573"/>
                <a:gd name="T19" fmla="*/ 261 h 697"/>
                <a:gd name="T20" fmla="*/ 520 w 573"/>
                <a:gd name="T21" fmla="*/ 176 h 697"/>
                <a:gd name="T22" fmla="*/ 541 w 573"/>
                <a:gd name="T23" fmla="*/ 153 h 697"/>
                <a:gd name="T24" fmla="*/ 540 w 573"/>
                <a:gd name="T25" fmla="*/ 104 h 697"/>
                <a:gd name="T26" fmla="*/ 467 w 573"/>
                <a:gd name="T27" fmla="*/ 136 h 697"/>
                <a:gd name="T28" fmla="*/ 480 w 573"/>
                <a:gd name="T29" fmla="*/ 122 h 697"/>
                <a:gd name="T30" fmla="*/ 450 w 573"/>
                <a:gd name="T31" fmla="*/ 106 h 697"/>
                <a:gd name="T32" fmla="*/ 396 w 573"/>
                <a:gd name="T33" fmla="*/ 96 h 697"/>
                <a:gd name="T34" fmla="*/ 508 w 573"/>
                <a:gd name="T35" fmla="*/ 62 h 697"/>
                <a:gd name="T36" fmla="*/ 442 w 573"/>
                <a:gd name="T37" fmla="*/ 33 h 697"/>
                <a:gd name="T38" fmla="*/ 406 w 573"/>
                <a:gd name="T39" fmla="*/ 33 h 697"/>
                <a:gd name="T40" fmla="*/ 374 w 573"/>
                <a:gd name="T41" fmla="*/ 13 h 697"/>
                <a:gd name="T42" fmla="*/ 373 w 573"/>
                <a:gd name="T43" fmla="*/ 17 h 697"/>
                <a:gd name="T44" fmla="*/ 326 w 573"/>
                <a:gd name="T45" fmla="*/ 19 h 697"/>
                <a:gd name="T46" fmla="*/ 301 w 573"/>
                <a:gd name="T47" fmla="*/ 64 h 697"/>
                <a:gd name="T48" fmla="*/ 274 w 573"/>
                <a:gd name="T49" fmla="*/ 43 h 697"/>
                <a:gd name="T50" fmla="*/ 249 w 573"/>
                <a:gd name="T51" fmla="*/ 68 h 697"/>
                <a:gd name="T52" fmla="*/ 235 w 573"/>
                <a:gd name="T53" fmla="*/ 71 h 697"/>
                <a:gd name="T54" fmla="*/ 235 w 573"/>
                <a:gd name="T55" fmla="*/ 70 h 697"/>
                <a:gd name="T56" fmla="*/ 182 w 573"/>
                <a:gd name="T57" fmla="*/ 58 h 697"/>
                <a:gd name="T58" fmla="*/ 151 w 573"/>
                <a:gd name="T59" fmla="*/ 83 h 697"/>
                <a:gd name="T60" fmla="*/ 105 w 573"/>
                <a:gd name="T61" fmla="*/ 124 h 697"/>
                <a:gd name="T62" fmla="*/ 81 w 573"/>
                <a:gd name="T63" fmla="*/ 154 h 697"/>
                <a:gd name="T64" fmla="*/ 18 w 573"/>
                <a:gd name="T65" fmla="*/ 194 h 697"/>
                <a:gd name="T66" fmla="*/ 49 w 573"/>
                <a:gd name="T67" fmla="*/ 208 h 697"/>
                <a:gd name="T68" fmla="*/ 14 w 573"/>
                <a:gd name="T69" fmla="*/ 240 h 697"/>
                <a:gd name="T70" fmla="*/ 64 w 573"/>
                <a:gd name="T71" fmla="*/ 261 h 697"/>
                <a:gd name="T72" fmla="*/ 102 w 573"/>
                <a:gd name="T73" fmla="*/ 324 h 697"/>
                <a:gd name="T74" fmla="*/ 107 w 573"/>
                <a:gd name="T75" fmla="*/ 369 h 697"/>
                <a:gd name="T76" fmla="*/ 102 w 573"/>
                <a:gd name="T77" fmla="*/ 397 h 697"/>
                <a:gd name="T78" fmla="*/ 94 w 573"/>
                <a:gd name="T79" fmla="*/ 417 h 697"/>
                <a:gd name="T80" fmla="*/ 122 w 573"/>
                <a:gd name="T81" fmla="*/ 419 h 697"/>
                <a:gd name="T82" fmla="*/ 128 w 573"/>
                <a:gd name="T83" fmla="*/ 448 h 697"/>
                <a:gd name="T84" fmla="*/ 96 w 573"/>
                <a:gd name="T85" fmla="*/ 447 h 697"/>
                <a:gd name="T86" fmla="*/ 109 w 573"/>
                <a:gd name="T87" fmla="*/ 457 h 697"/>
                <a:gd name="T88" fmla="*/ 128 w 573"/>
                <a:gd name="T89" fmla="*/ 472 h 697"/>
                <a:gd name="T90" fmla="*/ 102 w 573"/>
                <a:gd name="T91" fmla="*/ 506 h 697"/>
                <a:gd name="T92" fmla="*/ 79 w 573"/>
                <a:gd name="T93" fmla="*/ 533 h 697"/>
                <a:gd name="T94" fmla="*/ 85 w 573"/>
                <a:gd name="T95" fmla="*/ 541 h 697"/>
                <a:gd name="T96" fmla="*/ 98 w 573"/>
                <a:gd name="T97" fmla="*/ 594 h 697"/>
                <a:gd name="T98" fmla="*/ 92 w 573"/>
                <a:gd name="T99" fmla="*/ 625 h 697"/>
                <a:gd name="T100" fmla="*/ 102 w 573"/>
                <a:gd name="T101" fmla="*/ 662 h 697"/>
                <a:gd name="T102" fmla="*/ 150 w 573"/>
                <a:gd name="T103" fmla="*/ 695 h 697"/>
                <a:gd name="T104" fmla="*/ 186 w 573"/>
                <a:gd name="T105" fmla="*/ 643 h 697"/>
                <a:gd name="T106" fmla="*/ 212 w 573"/>
                <a:gd name="T107" fmla="*/ 604 h 697"/>
                <a:gd name="T108" fmla="*/ 259 w 573"/>
                <a:gd name="T109" fmla="*/ 576 h 697"/>
                <a:gd name="T110" fmla="*/ 356 w 573"/>
                <a:gd name="T111" fmla="*/ 524 h 697"/>
                <a:gd name="T112" fmla="*/ 507 w 573"/>
                <a:gd name="T113" fmla="*/ 171 h 697"/>
                <a:gd name="T114" fmla="*/ 248 w 573"/>
                <a:gd name="T115" fmla="*/ 573 h 697"/>
                <a:gd name="T116" fmla="*/ 337 w 573"/>
                <a:gd name="T117" fmla="*/ 42 h 697"/>
                <a:gd name="T118" fmla="*/ 381 w 573"/>
                <a:gd name="T119" fmla="*/ 463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3" h="697">
                  <a:moveTo>
                    <a:pt x="432" y="486"/>
                  </a:moveTo>
                  <a:cubicBezTo>
                    <a:pt x="433" y="486"/>
                    <a:pt x="433" y="484"/>
                    <a:pt x="433" y="483"/>
                  </a:cubicBezTo>
                  <a:cubicBezTo>
                    <a:pt x="433" y="483"/>
                    <a:pt x="432" y="483"/>
                    <a:pt x="432" y="482"/>
                  </a:cubicBezTo>
                  <a:cubicBezTo>
                    <a:pt x="425" y="480"/>
                    <a:pt x="418" y="482"/>
                    <a:pt x="412" y="478"/>
                  </a:cubicBezTo>
                  <a:cubicBezTo>
                    <a:pt x="408" y="475"/>
                    <a:pt x="403" y="476"/>
                    <a:pt x="398" y="477"/>
                  </a:cubicBezTo>
                  <a:cubicBezTo>
                    <a:pt x="397" y="478"/>
                    <a:pt x="396" y="477"/>
                    <a:pt x="395" y="477"/>
                  </a:cubicBezTo>
                  <a:cubicBezTo>
                    <a:pt x="395" y="477"/>
                    <a:pt x="394" y="476"/>
                    <a:pt x="394" y="476"/>
                  </a:cubicBezTo>
                  <a:cubicBezTo>
                    <a:pt x="393" y="475"/>
                    <a:pt x="393" y="474"/>
                    <a:pt x="394" y="473"/>
                  </a:cubicBezTo>
                  <a:cubicBezTo>
                    <a:pt x="397" y="472"/>
                    <a:pt x="400" y="472"/>
                    <a:pt x="402" y="471"/>
                  </a:cubicBezTo>
                  <a:cubicBezTo>
                    <a:pt x="405" y="470"/>
                    <a:pt x="407" y="467"/>
                    <a:pt x="407" y="463"/>
                  </a:cubicBezTo>
                  <a:cubicBezTo>
                    <a:pt x="406" y="460"/>
                    <a:pt x="406" y="457"/>
                    <a:pt x="405" y="454"/>
                  </a:cubicBezTo>
                  <a:cubicBezTo>
                    <a:pt x="405" y="453"/>
                    <a:pt x="407" y="451"/>
                    <a:pt x="409" y="451"/>
                  </a:cubicBezTo>
                  <a:cubicBezTo>
                    <a:pt x="410" y="451"/>
                    <a:pt x="411" y="452"/>
                    <a:pt x="411" y="453"/>
                  </a:cubicBezTo>
                  <a:cubicBezTo>
                    <a:pt x="413" y="459"/>
                    <a:pt x="415" y="465"/>
                    <a:pt x="419" y="470"/>
                  </a:cubicBezTo>
                  <a:cubicBezTo>
                    <a:pt x="422" y="473"/>
                    <a:pt x="425" y="476"/>
                    <a:pt x="430" y="475"/>
                  </a:cubicBezTo>
                  <a:cubicBezTo>
                    <a:pt x="432" y="475"/>
                    <a:pt x="435" y="475"/>
                    <a:pt x="437" y="475"/>
                  </a:cubicBezTo>
                  <a:cubicBezTo>
                    <a:pt x="443" y="475"/>
                    <a:pt x="444" y="475"/>
                    <a:pt x="444" y="470"/>
                  </a:cubicBezTo>
                  <a:cubicBezTo>
                    <a:pt x="444" y="465"/>
                    <a:pt x="444" y="460"/>
                    <a:pt x="444" y="456"/>
                  </a:cubicBezTo>
                  <a:cubicBezTo>
                    <a:pt x="445" y="451"/>
                    <a:pt x="440" y="447"/>
                    <a:pt x="442" y="442"/>
                  </a:cubicBezTo>
                  <a:cubicBezTo>
                    <a:pt x="442" y="441"/>
                    <a:pt x="440" y="440"/>
                    <a:pt x="440" y="438"/>
                  </a:cubicBezTo>
                  <a:cubicBezTo>
                    <a:pt x="437" y="432"/>
                    <a:pt x="432" y="428"/>
                    <a:pt x="427" y="424"/>
                  </a:cubicBezTo>
                  <a:cubicBezTo>
                    <a:pt x="424" y="423"/>
                    <a:pt x="422" y="421"/>
                    <a:pt x="420" y="419"/>
                  </a:cubicBezTo>
                  <a:cubicBezTo>
                    <a:pt x="419" y="418"/>
                    <a:pt x="418" y="417"/>
                    <a:pt x="418" y="415"/>
                  </a:cubicBezTo>
                  <a:cubicBezTo>
                    <a:pt x="417" y="412"/>
                    <a:pt x="416" y="408"/>
                    <a:pt x="416" y="405"/>
                  </a:cubicBezTo>
                  <a:cubicBezTo>
                    <a:pt x="416" y="404"/>
                    <a:pt x="416" y="403"/>
                    <a:pt x="417" y="402"/>
                  </a:cubicBezTo>
                  <a:cubicBezTo>
                    <a:pt x="418" y="402"/>
                    <a:pt x="420" y="402"/>
                    <a:pt x="420" y="403"/>
                  </a:cubicBezTo>
                  <a:cubicBezTo>
                    <a:pt x="421" y="404"/>
                    <a:pt x="421" y="406"/>
                    <a:pt x="421" y="407"/>
                  </a:cubicBezTo>
                  <a:cubicBezTo>
                    <a:pt x="421" y="413"/>
                    <a:pt x="424" y="417"/>
                    <a:pt x="429" y="420"/>
                  </a:cubicBezTo>
                  <a:cubicBezTo>
                    <a:pt x="432" y="422"/>
                    <a:pt x="434" y="425"/>
                    <a:pt x="438" y="426"/>
                  </a:cubicBezTo>
                  <a:cubicBezTo>
                    <a:pt x="440" y="426"/>
                    <a:pt x="442" y="426"/>
                    <a:pt x="442" y="424"/>
                  </a:cubicBezTo>
                  <a:cubicBezTo>
                    <a:pt x="442" y="422"/>
                    <a:pt x="443" y="419"/>
                    <a:pt x="445" y="417"/>
                  </a:cubicBezTo>
                  <a:cubicBezTo>
                    <a:pt x="444" y="414"/>
                    <a:pt x="445" y="412"/>
                    <a:pt x="447" y="410"/>
                  </a:cubicBezTo>
                  <a:cubicBezTo>
                    <a:pt x="448" y="408"/>
                    <a:pt x="447" y="405"/>
                    <a:pt x="446" y="404"/>
                  </a:cubicBezTo>
                  <a:cubicBezTo>
                    <a:pt x="442" y="402"/>
                    <a:pt x="438" y="400"/>
                    <a:pt x="435" y="397"/>
                  </a:cubicBezTo>
                  <a:cubicBezTo>
                    <a:pt x="434" y="397"/>
                    <a:pt x="434" y="395"/>
                    <a:pt x="433" y="394"/>
                  </a:cubicBezTo>
                  <a:cubicBezTo>
                    <a:pt x="433" y="394"/>
                    <a:pt x="433" y="394"/>
                    <a:pt x="433" y="393"/>
                  </a:cubicBezTo>
                  <a:cubicBezTo>
                    <a:pt x="433" y="393"/>
                    <a:pt x="433" y="393"/>
                    <a:pt x="432" y="393"/>
                  </a:cubicBezTo>
                  <a:cubicBezTo>
                    <a:pt x="429" y="393"/>
                    <a:pt x="426" y="391"/>
                    <a:pt x="423" y="389"/>
                  </a:cubicBezTo>
                  <a:cubicBezTo>
                    <a:pt x="423" y="389"/>
                    <a:pt x="423" y="388"/>
                    <a:pt x="423" y="388"/>
                  </a:cubicBezTo>
                  <a:cubicBezTo>
                    <a:pt x="423" y="388"/>
                    <a:pt x="424" y="387"/>
                    <a:pt x="424" y="387"/>
                  </a:cubicBezTo>
                  <a:cubicBezTo>
                    <a:pt x="425" y="387"/>
                    <a:pt x="427" y="387"/>
                    <a:pt x="427" y="388"/>
                  </a:cubicBezTo>
                  <a:cubicBezTo>
                    <a:pt x="429" y="389"/>
                    <a:pt x="431" y="391"/>
                    <a:pt x="432" y="393"/>
                  </a:cubicBezTo>
                  <a:cubicBezTo>
                    <a:pt x="433" y="393"/>
                    <a:pt x="433" y="393"/>
                    <a:pt x="433" y="393"/>
                  </a:cubicBezTo>
                  <a:cubicBezTo>
                    <a:pt x="433" y="393"/>
                    <a:pt x="433" y="393"/>
                    <a:pt x="433" y="394"/>
                  </a:cubicBezTo>
                  <a:cubicBezTo>
                    <a:pt x="435" y="394"/>
                    <a:pt x="436" y="395"/>
                    <a:pt x="437" y="395"/>
                  </a:cubicBezTo>
                  <a:cubicBezTo>
                    <a:pt x="441" y="397"/>
                    <a:pt x="445" y="398"/>
                    <a:pt x="448" y="396"/>
                  </a:cubicBezTo>
                  <a:cubicBezTo>
                    <a:pt x="452" y="393"/>
                    <a:pt x="456" y="392"/>
                    <a:pt x="460" y="392"/>
                  </a:cubicBezTo>
                  <a:cubicBezTo>
                    <a:pt x="462" y="391"/>
                    <a:pt x="463" y="390"/>
                    <a:pt x="464" y="389"/>
                  </a:cubicBezTo>
                  <a:cubicBezTo>
                    <a:pt x="465" y="387"/>
                    <a:pt x="465" y="385"/>
                    <a:pt x="466" y="383"/>
                  </a:cubicBezTo>
                  <a:cubicBezTo>
                    <a:pt x="466" y="381"/>
                    <a:pt x="465" y="378"/>
                    <a:pt x="463" y="378"/>
                  </a:cubicBezTo>
                  <a:cubicBezTo>
                    <a:pt x="459" y="377"/>
                    <a:pt x="455" y="375"/>
                    <a:pt x="451" y="373"/>
                  </a:cubicBezTo>
                  <a:cubicBezTo>
                    <a:pt x="451" y="373"/>
                    <a:pt x="451" y="372"/>
                    <a:pt x="451" y="371"/>
                  </a:cubicBezTo>
                  <a:cubicBezTo>
                    <a:pt x="451" y="370"/>
                    <a:pt x="452" y="370"/>
                    <a:pt x="453" y="370"/>
                  </a:cubicBezTo>
                  <a:cubicBezTo>
                    <a:pt x="459" y="373"/>
                    <a:pt x="463" y="375"/>
                    <a:pt x="469" y="370"/>
                  </a:cubicBezTo>
                  <a:cubicBezTo>
                    <a:pt x="470" y="369"/>
                    <a:pt x="472" y="370"/>
                    <a:pt x="473" y="369"/>
                  </a:cubicBezTo>
                  <a:cubicBezTo>
                    <a:pt x="479" y="369"/>
                    <a:pt x="482" y="361"/>
                    <a:pt x="478" y="357"/>
                  </a:cubicBezTo>
                  <a:cubicBezTo>
                    <a:pt x="475" y="355"/>
                    <a:pt x="473" y="353"/>
                    <a:pt x="473" y="350"/>
                  </a:cubicBezTo>
                  <a:cubicBezTo>
                    <a:pt x="473" y="348"/>
                    <a:pt x="472" y="347"/>
                    <a:pt x="470" y="346"/>
                  </a:cubicBezTo>
                  <a:cubicBezTo>
                    <a:pt x="469" y="345"/>
                    <a:pt x="468" y="345"/>
                    <a:pt x="469" y="344"/>
                  </a:cubicBezTo>
                  <a:cubicBezTo>
                    <a:pt x="469" y="342"/>
                    <a:pt x="470" y="342"/>
                    <a:pt x="472" y="342"/>
                  </a:cubicBezTo>
                  <a:cubicBezTo>
                    <a:pt x="473" y="343"/>
                    <a:pt x="475" y="343"/>
                    <a:pt x="476" y="342"/>
                  </a:cubicBezTo>
                  <a:cubicBezTo>
                    <a:pt x="479" y="342"/>
                    <a:pt x="479" y="339"/>
                    <a:pt x="480" y="337"/>
                  </a:cubicBezTo>
                  <a:cubicBezTo>
                    <a:pt x="480" y="334"/>
                    <a:pt x="480" y="330"/>
                    <a:pt x="481" y="326"/>
                  </a:cubicBezTo>
                  <a:cubicBezTo>
                    <a:pt x="481" y="324"/>
                    <a:pt x="480" y="321"/>
                    <a:pt x="477" y="319"/>
                  </a:cubicBezTo>
                  <a:cubicBezTo>
                    <a:pt x="474" y="317"/>
                    <a:pt x="477" y="316"/>
                    <a:pt x="478" y="314"/>
                  </a:cubicBezTo>
                  <a:cubicBezTo>
                    <a:pt x="479" y="312"/>
                    <a:pt x="479" y="310"/>
                    <a:pt x="478" y="309"/>
                  </a:cubicBezTo>
                  <a:cubicBezTo>
                    <a:pt x="475" y="308"/>
                    <a:pt x="471" y="309"/>
                    <a:pt x="469" y="306"/>
                  </a:cubicBezTo>
                  <a:cubicBezTo>
                    <a:pt x="468" y="306"/>
                    <a:pt x="467" y="305"/>
                    <a:pt x="466" y="305"/>
                  </a:cubicBezTo>
                  <a:cubicBezTo>
                    <a:pt x="464" y="305"/>
                    <a:pt x="463" y="303"/>
                    <a:pt x="463" y="301"/>
                  </a:cubicBezTo>
                  <a:cubicBezTo>
                    <a:pt x="463" y="299"/>
                    <a:pt x="464" y="297"/>
                    <a:pt x="465" y="296"/>
                  </a:cubicBezTo>
                  <a:cubicBezTo>
                    <a:pt x="467" y="297"/>
                    <a:pt x="468" y="298"/>
                    <a:pt x="469" y="300"/>
                  </a:cubicBezTo>
                  <a:cubicBezTo>
                    <a:pt x="469" y="300"/>
                    <a:pt x="469" y="300"/>
                    <a:pt x="469" y="300"/>
                  </a:cubicBezTo>
                  <a:cubicBezTo>
                    <a:pt x="469" y="300"/>
                    <a:pt x="469" y="299"/>
                    <a:pt x="469" y="299"/>
                  </a:cubicBezTo>
                  <a:cubicBezTo>
                    <a:pt x="468" y="298"/>
                    <a:pt x="467" y="297"/>
                    <a:pt x="466" y="296"/>
                  </a:cubicBezTo>
                  <a:cubicBezTo>
                    <a:pt x="465" y="296"/>
                    <a:pt x="465" y="296"/>
                    <a:pt x="465" y="296"/>
                  </a:cubicBezTo>
                  <a:cubicBezTo>
                    <a:pt x="468" y="293"/>
                    <a:pt x="471" y="291"/>
                    <a:pt x="473" y="288"/>
                  </a:cubicBezTo>
                  <a:cubicBezTo>
                    <a:pt x="475" y="287"/>
                    <a:pt x="478" y="287"/>
                    <a:pt x="480" y="288"/>
                  </a:cubicBezTo>
                  <a:cubicBezTo>
                    <a:pt x="480" y="288"/>
                    <a:pt x="481" y="288"/>
                    <a:pt x="481" y="289"/>
                  </a:cubicBezTo>
                  <a:cubicBezTo>
                    <a:pt x="484" y="292"/>
                    <a:pt x="489" y="295"/>
                    <a:pt x="488" y="301"/>
                  </a:cubicBezTo>
                  <a:cubicBezTo>
                    <a:pt x="487" y="305"/>
                    <a:pt x="488" y="310"/>
                    <a:pt x="490" y="314"/>
                  </a:cubicBezTo>
                  <a:cubicBezTo>
                    <a:pt x="490" y="314"/>
                    <a:pt x="491" y="314"/>
                    <a:pt x="491" y="314"/>
                  </a:cubicBezTo>
                  <a:cubicBezTo>
                    <a:pt x="492" y="313"/>
                    <a:pt x="492" y="311"/>
                    <a:pt x="492" y="310"/>
                  </a:cubicBezTo>
                  <a:cubicBezTo>
                    <a:pt x="491" y="304"/>
                    <a:pt x="492" y="299"/>
                    <a:pt x="496" y="293"/>
                  </a:cubicBezTo>
                  <a:cubicBezTo>
                    <a:pt x="498" y="289"/>
                    <a:pt x="499" y="285"/>
                    <a:pt x="499" y="280"/>
                  </a:cubicBezTo>
                  <a:cubicBezTo>
                    <a:pt x="499" y="278"/>
                    <a:pt x="497" y="274"/>
                    <a:pt x="494" y="274"/>
                  </a:cubicBezTo>
                  <a:cubicBezTo>
                    <a:pt x="492" y="273"/>
                    <a:pt x="490" y="273"/>
                    <a:pt x="488" y="273"/>
                  </a:cubicBezTo>
                  <a:cubicBezTo>
                    <a:pt x="486" y="272"/>
                    <a:pt x="485" y="271"/>
                    <a:pt x="484" y="270"/>
                  </a:cubicBezTo>
                  <a:cubicBezTo>
                    <a:pt x="484" y="270"/>
                    <a:pt x="483" y="269"/>
                    <a:pt x="484" y="269"/>
                  </a:cubicBezTo>
                  <a:cubicBezTo>
                    <a:pt x="484" y="268"/>
                    <a:pt x="485" y="267"/>
                    <a:pt x="485" y="267"/>
                  </a:cubicBezTo>
                  <a:cubicBezTo>
                    <a:pt x="492" y="266"/>
                    <a:pt x="492" y="265"/>
                    <a:pt x="490" y="261"/>
                  </a:cubicBezTo>
                  <a:cubicBezTo>
                    <a:pt x="488" y="258"/>
                    <a:pt x="487" y="256"/>
                    <a:pt x="485" y="255"/>
                  </a:cubicBezTo>
                  <a:cubicBezTo>
                    <a:pt x="483" y="253"/>
                    <a:pt x="482" y="252"/>
                    <a:pt x="480" y="250"/>
                  </a:cubicBezTo>
                  <a:cubicBezTo>
                    <a:pt x="480" y="250"/>
                    <a:pt x="480" y="249"/>
                    <a:pt x="481" y="249"/>
                  </a:cubicBezTo>
                  <a:cubicBezTo>
                    <a:pt x="481" y="249"/>
                    <a:pt x="482" y="248"/>
                    <a:pt x="482" y="248"/>
                  </a:cubicBezTo>
                  <a:cubicBezTo>
                    <a:pt x="487" y="250"/>
                    <a:pt x="489" y="248"/>
                    <a:pt x="490" y="244"/>
                  </a:cubicBezTo>
                  <a:cubicBezTo>
                    <a:pt x="492" y="239"/>
                    <a:pt x="496" y="234"/>
                    <a:pt x="496" y="228"/>
                  </a:cubicBezTo>
                  <a:cubicBezTo>
                    <a:pt x="496" y="214"/>
                    <a:pt x="501" y="201"/>
                    <a:pt x="511" y="191"/>
                  </a:cubicBezTo>
                  <a:cubicBezTo>
                    <a:pt x="514" y="188"/>
                    <a:pt x="517" y="184"/>
                    <a:pt x="519" y="181"/>
                  </a:cubicBezTo>
                  <a:cubicBezTo>
                    <a:pt x="520" y="179"/>
                    <a:pt x="520" y="178"/>
                    <a:pt x="520" y="176"/>
                  </a:cubicBezTo>
                  <a:cubicBezTo>
                    <a:pt x="519" y="172"/>
                    <a:pt x="519" y="172"/>
                    <a:pt x="523" y="172"/>
                  </a:cubicBezTo>
                  <a:cubicBezTo>
                    <a:pt x="528" y="171"/>
                    <a:pt x="530" y="168"/>
                    <a:pt x="533" y="164"/>
                  </a:cubicBezTo>
                  <a:cubicBezTo>
                    <a:pt x="534" y="163"/>
                    <a:pt x="533" y="159"/>
                    <a:pt x="531" y="159"/>
                  </a:cubicBezTo>
                  <a:cubicBezTo>
                    <a:pt x="529" y="158"/>
                    <a:pt x="528" y="158"/>
                    <a:pt x="526" y="157"/>
                  </a:cubicBezTo>
                  <a:cubicBezTo>
                    <a:pt x="524" y="157"/>
                    <a:pt x="522" y="157"/>
                    <a:pt x="520" y="157"/>
                  </a:cubicBezTo>
                  <a:cubicBezTo>
                    <a:pt x="519" y="157"/>
                    <a:pt x="519" y="156"/>
                    <a:pt x="519" y="156"/>
                  </a:cubicBezTo>
                  <a:cubicBezTo>
                    <a:pt x="520" y="155"/>
                    <a:pt x="520" y="154"/>
                    <a:pt x="521" y="153"/>
                  </a:cubicBezTo>
                  <a:cubicBezTo>
                    <a:pt x="524" y="152"/>
                    <a:pt x="526" y="153"/>
                    <a:pt x="529" y="154"/>
                  </a:cubicBezTo>
                  <a:cubicBezTo>
                    <a:pt x="533" y="156"/>
                    <a:pt x="537" y="155"/>
                    <a:pt x="541" y="153"/>
                  </a:cubicBezTo>
                  <a:cubicBezTo>
                    <a:pt x="543" y="152"/>
                    <a:pt x="544" y="152"/>
                    <a:pt x="546" y="151"/>
                  </a:cubicBezTo>
                  <a:cubicBezTo>
                    <a:pt x="547" y="150"/>
                    <a:pt x="548" y="148"/>
                    <a:pt x="547" y="147"/>
                  </a:cubicBezTo>
                  <a:cubicBezTo>
                    <a:pt x="547" y="146"/>
                    <a:pt x="547" y="145"/>
                    <a:pt x="547" y="144"/>
                  </a:cubicBezTo>
                  <a:cubicBezTo>
                    <a:pt x="547" y="142"/>
                    <a:pt x="548" y="140"/>
                    <a:pt x="550" y="141"/>
                  </a:cubicBezTo>
                  <a:cubicBezTo>
                    <a:pt x="554" y="141"/>
                    <a:pt x="557" y="141"/>
                    <a:pt x="560" y="137"/>
                  </a:cubicBezTo>
                  <a:cubicBezTo>
                    <a:pt x="561" y="136"/>
                    <a:pt x="563" y="134"/>
                    <a:pt x="565" y="133"/>
                  </a:cubicBezTo>
                  <a:cubicBezTo>
                    <a:pt x="573" y="128"/>
                    <a:pt x="573" y="124"/>
                    <a:pt x="567" y="117"/>
                  </a:cubicBezTo>
                  <a:cubicBezTo>
                    <a:pt x="566" y="116"/>
                    <a:pt x="565" y="115"/>
                    <a:pt x="564" y="114"/>
                  </a:cubicBezTo>
                  <a:cubicBezTo>
                    <a:pt x="558" y="107"/>
                    <a:pt x="549" y="104"/>
                    <a:pt x="540" y="104"/>
                  </a:cubicBezTo>
                  <a:cubicBezTo>
                    <a:pt x="534" y="104"/>
                    <a:pt x="529" y="106"/>
                    <a:pt x="524" y="107"/>
                  </a:cubicBezTo>
                  <a:cubicBezTo>
                    <a:pt x="523" y="107"/>
                    <a:pt x="522" y="108"/>
                    <a:pt x="521" y="109"/>
                  </a:cubicBezTo>
                  <a:cubicBezTo>
                    <a:pt x="521" y="111"/>
                    <a:pt x="521" y="112"/>
                    <a:pt x="520" y="114"/>
                  </a:cubicBezTo>
                  <a:cubicBezTo>
                    <a:pt x="519" y="116"/>
                    <a:pt x="517" y="116"/>
                    <a:pt x="514" y="116"/>
                  </a:cubicBezTo>
                  <a:cubicBezTo>
                    <a:pt x="512" y="116"/>
                    <a:pt x="510" y="115"/>
                    <a:pt x="509" y="113"/>
                  </a:cubicBezTo>
                  <a:cubicBezTo>
                    <a:pt x="507" y="112"/>
                    <a:pt x="506" y="112"/>
                    <a:pt x="505" y="114"/>
                  </a:cubicBezTo>
                  <a:cubicBezTo>
                    <a:pt x="499" y="123"/>
                    <a:pt x="491" y="127"/>
                    <a:pt x="481" y="130"/>
                  </a:cubicBezTo>
                  <a:cubicBezTo>
                    <a:pt x="476" y="131"/>
                    <a:pt x="471" y="132"/>
                    <a:pt x="467" y="136"/>
                  </a:cubicBezTo>
                  <a:cubicBezTo>
                    <a:pt x="467" y="136"/>
                    <a:pt x="467" y="136"/>
                    <a:pt x="467" y="136"/>
                  </a:cubicBezTo>
                  <a:cubicBezTo>
                    <a:pt x="465" y="137"/>
                    <a:pt x="464" y="138"/>
                    <a:pt x="463" y="139"/>
                  </a:cubicBezTo>
                  <a:cubicBezTo>
                    <a:pt x="462" y="140"/>
                    <a:pt x="461" y="141"/>
                    <a:pt x="460" y="142"/>
                  </a:cubicBezTo>
                  <a:cubicBezTo>
                    <a:pt x="459" y="143"/>
                    <a:pt x="459" y="143"/>
                    <a:pt x="459" y="143"/>
                  </a:cubicBezTo>
                  <a:cubicBezTo>
                    <a:pt x="459" y="142"/>
                    <a:pt x="459" y="142"/>
                    <a:pt x="459" y="142"/>
                  </a:cubicBezTo>
                  <a:cubicBezTo>
                    <a:pt x="460" y="141"/>
                    <a:pt x="462" y="140"/>
                    <a:pt x="463" y="139"/>
                  </a:cubicBezTo>
                  <a:cubicBezTo>
                    <a:pt x="464" y="138"/>
                    <a:pt x="465" y="137"/>
                    <a:pt x="466" y="136"/>
                  </a:cubicBezTo>
                  <a:cubicBezTo>
                    <a:pt x="466" y="136"/>
                    <a:pt x="466" y="136"/>
                    <a:pt x="467" y="136"/>
                  </a:cubicBezTo>
                  <a:cubicBezTo>
                    <a:pt x="467" y="134"/>
                    <a:pt x="467" y="133"/>
                    <a:pt x="468" y="132"/>
                  </a:cubicBezTo>
                  <a:cubicBezTo>
                    <a:pt x="471" y="128"/>
                    <a:pt x="475" y="124"/>
                    <a:pt x="480" y="122"/>
                  </a:cubicBezTo>
                  <a:cubicBezTo>
                    <a:pt x="486" y="120"/>
                    <a:pt x="490" y="116"/>
                    <a:pt x="493" y="110"/>
                  </a:cubicBezTo>
                  <a:cubicBezTo>
                    <a:pt x="493" y="109"/>
                    <a:pt x="494" y="107"/>
                    <a:pt x="495" y="106"/>
                  </a:cubicBezTo>
                  <a:cubicBezTo>
                    <a:pt x="500" y="94"/>
                    <a:pt x="493" y="91"/>
                    <a:pt x="484" y="92"/>
                  </a:cubicBezTo>
                  <a:cubicBezTo>
                    <a:pt x="483" y="92"/>
                    <a:pt x="482" y="92"/>
                    <a:pt x="482" y="93"/>
                  </a:cubicBezTo>
                  <a:cubicBezTo>
                    <a:pt x="481" y="93"/>
                    <a:pt x="480" y="94"/>
                    <a:pt x="479" y="94"/>
                  </a:cubicBezTo>
                  <a:cubicBezTo>
                    <a:pt x="478" y="97"/>
                    <a:pt x="478" y="99"/>
                    <a:pt x="477" y="102"/>
                  </a:cubicBezTo>
                  <a:cubicBezTo>
                    <a:pt x="475" y="105"/>
                    <a:pt x="472" y="107"/>
                    <a:pt x="469" y="107"/>
                  </a:cubicBezTo>
                  <a:cubicBezTo>
                    <a:pt x="468" y="107"/>
                    <a:pt x="468" y="107"/>
                    <a:pt x="467" y="107"/>
                  </a:cubicBezTo>
                  <a:cubicBezTo>
                    <a:pt x="461" y="104"/>
                    <a:pt x="456" y="106"/>
                    <a:pt x="450" y="106"/>
                  </a:cubicBezTo>
                  <a:cubicBezTo>
                    <a:pt x="449" y="106"/>
                    <a:pt x="449" y="106"/>
                    <a:pt x="449" y="105"/>
                  </a:cubicBezTo>
                  <a:cubicBezTo>
                    <a:pt x="449" y="105"/>
                    <a:pt x="449" y="104"/>
                    <a:pt x="449" y="104"/>
                  </a:cubicBezTo>
                  <a:cubicBezTo>
                    <a:pt x="452" y="103"/>
                    <a:pt x="455" y="102"/>
                    <a:pt x="458" y="101"/>
                  </a:cubicBezTo>
                  <a:cubicBezTo>
                    <a:pt x="461" y="100"/>
                    <a:pt x="463" y="98"/>
                    <a:pt x="464" y="95"/>
                  </a:cubicBezTo>
                  <a:cubicBezTo>
                    <a:pt x="464" y="93"/>
                    <a:pt x="463" y="90"/>
                    <a:pt x="461" y="90"/>
                  </a:cubicBezTo>
                  <a:cubicBezTo>
                    <a:pt x="458" y="89"/>
                    <a:pt x="454" y="88"/>
                    <a:pt x="450" y="87"/>
                  </a:cubicBezTo>
                  <a:cubicBezTo>
                    <a:pt x="434" y="84"/>
                    <a:pt x="428" y="85"/>
                    <a:pt x="412" y="91"/>
                  </a:cubicBezTo>
                  <a:cubicBezTo>
                    <a:pt x="410" y="92"/>
                    <a:pt x="408" y="93"/>
                    <a:pt x="406" y="93"/>
                  </a:cubicBezTo>
                  <a:cubicBezTo>
                    <a:pt x="402" y="94"/>
                    <a:pt x="399" y="95"/>
                    <a:pt x="396" y="96"/>
                  </a:cubicBezTo>
                  <a:cubicBezTo>
                    <a:pt x="396" y="96"/>
                    <a:pt x="395" y="95"/>
                    <a:pt x="394" y="94"/>
                  </a:cubicBezTo>
                  <a:cubicBezTo>
                    <a:pt x="394" y="94"/>
                    <a:pt x="394" y="93"/>
                    <a:pt x="395" y="93"/>
                  </a:cubicBezTo>
                  <a:cubicBezTo>
                    <a:pt x="396" y="92"/>
                    <a:pt x="398" y="91"/>
                    <a:pt x="400" y="90"/>
                  </a:cubicBezTo>
                  <a:cubicBezTo>
                    <a:pt x="406" y="88"/>
                    <a:pt x="412" y="86"/>
                    <a:pt x="417" y="84"/>
                  </a:cubicBezTo>
                  <a:cubicBezTo>
                    <a:pt x="427" y="79"/>
                    <a:pt x="437" y="79"/>
                    <a:pt x="448" y="82"/>
                  </a:cubicBezTo>
                  <a:cubicBezTo>
                    <a:pt x="455" y="84"/>
                    <a:pt x="462" y="84"/>
                    <a:pt x="469" y="83"/>
                  </a:cubicBezTo>
                  <a:cubicBezTo>
                    <a:pt x="476" y="83"/>
                    <a:pt x="482" y="81"/>
                    <a:pt x="489" y="81"/>
                  </a:cubicBezTo>
                  <a:cubicBezTo>
                    <a:pt x="496" y="80"/>
                    <a:pt x="502" y="76"/>
                    <a:pt x="507" y="72"/>
                  </a:cubicBezTo>
                  <a:cubicBezTo>
                    <a:pt x="510" y="70"/>
                    <a:pt x="511" y="64"/>
                    <a:pt x="508" y="62"/>
                  </a:cubicBezTo>
                  <a:cubicBezTo>
                    <a:pt x="504" y="59"/>
                    <a:pt x="500" y="56"/>
                    <a:pt x="496" y="54"/>
                  </a:cubicBezTo>
                  <a:cubicBezTo>
                    <a:pt x="489" y="49"/>
                    <a:pt x="482" y="47"/>
                    <a:pt x="475" y="51"/>
                  </a:cubicBezTo>
                  <a:cubicBezTo>
                    <a:pt x="474" y="51"/>
                    <a:pt x="472" y="51"/>
                    <a:pt x="471" y="51"/>
                  </a:cubicBezTo>
                  <a:cubicBezTo>
                    <a:pt x="471" y="51"/>
                    <a:pt x="470" y="51"/>
                    <a:pt x="470" y="50"/>
                  </a:cubicBezTo>
                  <a:cubicBezTo>
                    <a:pt x="470" y="50"/>
                    <a:pt x="470" y="49"/>
                    <a:pt x="471" y="49"/>
                  </a:cubicBezTo>
                  <a:cubicBezTo>
                    <a:pt x="472" y="48"/>
                    <a:pt x="474" y="48"/>
                    <a:pt x="475" y="47"/>
                  </a:cubicBezTo>
                  <a:cubicBezTo>
                    <a:pt x="479" y="45"/>
                    <a:pt x="480" y="41"/>
                    <a:pt x="478" y="36"/>
                  </a:cubicBezTo>
                  <a:cubicBezTo>
                    <a:pt x="477" y="35"/>
                    <a:pt x="474" y="33"/>
                    <a:pt x="472" y="34"/>
                  </a:cubicBezTo>
                  <a:cubicBezTo>
                    <a:pt x="462" y="37"/>
                    <a:pt x="452" y="37"/>
                    <a:pt x="442" y="33"/>
                  </a:cubicBezTo>
                  <a:cubicBezTo>
                    <a:pt x="439" y="32"/>
                    <a:pt x="435" y="32"/>
                    <a:pt x="432" y="32"/>
                  </a:cubicBezTo>
                  <a:cubicBezTo>
                    <a:pt x="428" y="32"/>
                    <a:pt x="424" y="33"/>
                    <a:pt x="421" y="34"/>
                  </a:cubicBezTo>
                  <a:cubicBezTo>
                    <a:pt x="415" y="35"/>
                    <a:pt x="410" y="36"/>
                    <a:pt x="404" y="35"/>
                  </a:cubicBezTo>
                  <a:cubicBezTo>
                    <a:pt x="401" y="34"/>
                    <a:pt x="397" y="35"/>
                    <a:pt x="393" y="37"/>
                  </a:cubicBezTo>
                  <a:cubicBezTo>
                    <a:pt x="392" y="38"/>
                    <a:pt x="390" y="38"/>
                    <a:pt x="389" y="38"/>
                  </a:cubicBezTo>
                  <a:cubicBezTo>
                    <a:pt x="388" y="38"/>
                    <a:pt x="388" y="38"/>
                    <a:pt x="387" y="37"/>
                  </a:cubicBezTo>
                  <a:cubicBezTo>
                    <a:pt x="387" y="37"/>
                    <a:pt x="387" y="36"/>
                    <a:pt x="388" y="36"/>
                  </a:cubicBezTo>
                  <a:cubicBezTo>
                    <a:pt x="389" y="35"/>
                    <a:pt x="391" y="34"/>
                    <a:pt x="393" y="34"/>
                  </a:cubicBezTo>
                  <a:cubicBezTo>
                    <a:pt x="398" y="33"/>
                    <a:pt x="402" y="34"/>
                    <a:pt x="406" y="33"/>
                  </a:cubicBezTo>
                  <a:cubicBezTo>
                    <a:pt x="414" y="30"/>
                    <a:pt x="423" y="30"/>
                    <a:pt x="431" y="30"/>
                  </a:cubicBezTo>
                  <a:cubicBezTo>
                    <a:pt x="437" y="29"/>
                    <a:pt x="444" y="29"/>
                    <a:pt x="450" y="31"/>
                  </a:cubicBezTo>
                  <a:cubicBezTo>
                    <a:pt x="457" y="33"/>
                    <a:pt x="462" y="31"/>
                    <a:pt x="468" y="28"/>
                  </a:cubicBezTo>
                  <a:cubicBezTo>
                    <a:pt x="468" y="27"/>
                    <a:pt x="469" y="26"/>
                    <a:pt x="468" y="25"/>
                  </a:cubicBezTo>
                  <a:cubicBezTo>
                    <a:pt x="465" y="19"/>
                    <a:pt x="459" y="16"/>
                    <a:pt x="453" y="14"/>
                  </a:cubicBezTo>
                  <a:cubicBezTo>
                    <a:pt x="441" y="12"/>
                    <a:pt x="430" y="7"/>
                    <a:pt x="418" y="4"/>
                  </a:cubicBezTo>
                  <a:cubicBezTo>
                    <a:pt x="413" y="2"/>
                    <a:pt x="407" y="2"/>
                    <a:pt x="402" y="1"/>
                  </a:cubicBezTo>
                  <a:cubicBezTo>
                    <a:pt x="396" y="0"/>
                    <a:pt x="390" y="3"/>
                    <a:pt x="384" y="3"/>
                  </a:cubicBezTo>
                  <a:cubicBezTo>
                    <a:pt x="379" y="5"/>
                    <a:pt x="377" y="9"/>
                    <a:pt x="374" y="13"/>
                  </a:cubicBezTo>
                  <a:cubicBezTo>
                    <a:pt x="374" y="13"/>
                    <a:pt x="374" y="13"/>
                    <a:pt x="373" y="14"/>
                  </a:cubicBezTo>
                  <a:cubicBezTo>
                    <a:pt x="373" y="14"/>
                    <a:pt x="373" y="14"/>
                    <a:pt x="373" y="14"/>
                  </a:cubicBezTo>
                  <a:cubicBezTo>
                    <a:pt x="373" y="14"/>
                    <a:pt x="373" y="14"/>
                    <a:pt x="373" y="14"/>
                  </a:cubicBezTo>
                  <a:cubicBezTo>
                    <a:pt x="373" y="14"/>
                    <a:pt x="373" y="14"/>
                    <a:pt x="373" y="14"/>
                  </a:cubicBezTo>
                  <a:cubicBezTo>
                    <a:pt x="373" y="15"/>
                    <a:pt x="373" y="16"/>
                    <a:pt x="373" y="17"/>
                  </a:cubicBezTo>
                  <a:cubicBezTo>
                    <a:pt x="373" y="17"/>
                    <a:pt x="373" y="17"/>
                    <a:pt x="373" y="17"/>
                  </a:cubicBezTo>
                  <a:cubicBezTo>
                    <a:pt x="374" y="18"/>
                    <a:pt x="374" y="18"/>
                    <a:pt x="374" y="18"/>
                  </a:cubicBezTo>
                  <a:cubicBezTo>
                    <a:pt x="373" y="17"/>
                    <a:pt x="373" y="17"/>
                    <a:pt x="373" y="17"/>
                  </a:cubicBezTo>
                  <a:cubicBezTo>
                    <a:pt x="373" y="17"/>
                    <a:pt x="373" y="17"/>
                    <a:pt x="373" y="17"/>
                  </a:cubicBezTo>
                  <a:cubicBezTo>
                    <a:pt x="369" y="17"/>
                    <a:pt x="366" y="15"/>
                    <a:pt x="363" y="13"/>
                  </a:cubicBezTo>
                  <a:cubicBezTo>
                    <a:pt x="362" y="12"/>
                    <a:pt x="361" y="12"/>
                    <a:pt x="360" y="13"/>
                  </a:cubicBezTo>
                  <a:cubicBezTo>
                    <a:pt x="360" y="14"/>
                    <a:pt x="360" y="14"/>
                    <a:pt x="360" y="15"/>
                  </a:cubicBezTo>
                  <a:cubicBezTo>
                    <a:pt x="360" y="16"/>
                    <a:pt x="361" y="18"/>
                    <a:pt x="361" y="19"/>
                  </a:cubicBezTo>
                  <a:cubicBezTo>
                    <a:pt x="362" y="20"/>
                    <a:pt x="361" y="21"/>
                    <a:pt x="360" y="22"/>
                  </a:cubicBezTo>
                  <a:cubicBezTo>
                    <a:pt x="359" y="22"/>
                    <a:pt x="358" y="23"/>
                    <a:pt x="357" y="22"/>
                  </a:cubicBezTo>
                  <a:cubicBezTo>
                    <a:pt x="353" y="21"/>
                    <a:pt x="348" y="19"/>
                    <a:pt x="344" y="16"/>
                  </a:cubicBezTo>
                  <a:cubicBezTo>
                    <a:pt x="341" y="14"/>
                    <a:pt x="338" y="14"/>
                    <a:pt x="335" y="16"/>
                  </a:cubicBezTo>
                  <a:cubicBezTo>
                    <a:pt x="333" y="18"/>
                    <a:pt x="330" y="19"/>
                    <a:pt x="326" y="19"/>
                  </a:cubicBezTo>
                  <a:cubicBezTo>
                    <a:pt x="324" y="19"/>
                    <a:pt x="323" y="21"/>
                    <a:pt x="323" y="22"/>
                  </a:cubicBezTo>
                  <a:cubicBezTo>
                    <a:pt x="323" y="26"/>
                    <a:pt x="323" y="29"/>
                    <a:pt x="322" y="33"/>
                  </a:cubicBezTo>
                  <a:cubicBezTo>
                    <a:pt x="322" y="35"/>
                    <a:pt x="321" y="37"/>
                    <a:pt x="319" y="38"/>
                  </a:cubicBezTo>
                  <a:cubicBezTo>
                    <a:pt x="318" y="39"/>
                    <a:pt x="316" y="41"/>
                    <a:pt x="315" y="42"/>
                  </a:cubicBezTo>
                  <a:cubicBezTo>
                    <a:pt x="314" y="43"/>
                    <a:pt x="313" y="43"/>
                    <a:pt x="312" y="43"/>
                  </a:cubicBezTo>
                  <a:cubicBezTo>
                    <a:pt x="308" y="41"/>
                    <a:pt x="305" y="39"/>
                    <a:pt x="301" y="39"/>
                  </a:cubicBezTo>
                  <a:cubicBezTo>
                    <a:pt x="300" y="39"/>
                    <a:pt x="298" y="41"/>
                    <a:pt x="298" y="42"/>
                  </a:cubicBezTo>
                  <a:cubicBezTo>
                    <a:pt x="297" y="44"/>
                    <a:pt x="297" y="45"/>
                    <a:pt x="297" y="47"/>
                  </a:cubicBezTo>
                  <a:cubicBezTo>
                    <a:pt x="298" y="52"/>
                    <a:pt x="299" y="58"/>
                    <a:pt x="301" y="64"/>
                  </a:cubicBezTo>
                  <a:cubicBezTo>
                    <a:pt x="303" y="71"/>
                    <a:pt x="303" y="78"/>
                    <a:pt x="306" y="85"/>
                  </a:cubicBezTo>
                  <a:cubicBezTo>
                    <a:pt x="307" y="86"/>
                    <a:pt x="305" y="88"/>
                    <a:pt x="304" y="87"/>
                  </a:cubicBezTo>
                  <a:cubicBezTo>
                    <a:pt x="301" y="87"/>
                    <a:pt x="298" y="88"/>
                    <a:pt x="297" y="84"/>
                  </a:cubicBezTo>
                  <a:cubicBezTo>
                    <a:pt x="296" y="82"/>
                    <a:pt x="295" y="80"/>
                    <a:pt x="292" y="79"/>
                  </a:cubicBezTo>
                  <a:cubicBezTo>
                    <a:pt x="291" y="79"/>
                    <a:pt x="291" y="78"/>
                    <a:pt x="292" y="77"/>
                  </a:cubicBezTo>
                  <a:cubicBezTo>
                    <a:pt x="295" y="75"/>
                    <a:pt x="296" y="73"/>
                    <a:pt x="293" y="71"/>
                  </a:cubicBezTo>
                  <a:cubicBezTo>
                    <a:pt x="290" y="69"/>
                    <a:pt x="288" y="68"/>
                    <a:pt x="287" y="64"/>
                  </a:cubicBezTo>
                  <a:cubicBezTo>
                    <a:pt x="285" y="59"/>
                    <a:pt x="283" y="55"/>
                    <a:pt x="281" y="50"/>
                  </a:cubicBezTo>
                  <a:cubicBezTo>
                    <a:pt x="279" y="47"/>
                    <a:pt x="277" y="45"/>
                    <a:pt x="274" y="43"/>
                  </a:cubicBezTo>
                  <a:cubicBezTo>
                    <a:pt x="271" y="42"/>
                    <a:pt x="268" y="43"/>
                    <a:pt x="267" y="45"/>
                  </a:cubicBezTo>
                  <a:cubicBezTo>
                    <a:pt x="266" y="46"/>
                    <a:pt x="266" y="47"/>
                    <a:pt x="266" y="48"/>
                  </a:cubicBezTo>
                  <a:cubicBezTo>
                    <a:pt x="263" y="54"/>
                    <a:pt x="264" y="61"/>
                    <a:pt x="264" y="67"/>
                  </a:cubicBezTo>
                  <a:cubicBezTo>
                    <a:pt x="264" y="69"/>
                    <a:pt x="264" y="72"/>
                    <a:pt x="262" y="74"/>
                  </a:cubicBezTo>
                  <a:cubicBezTo>
                    <a:pt x="261" y="77"/>
                    <a:pt x="257" y="75"/>
                    <a:pt x="255" y="75"/>
                  </a:cubicBezTo>
                  <a:cubicBezTo>
                    <a:pt x="254" y="75"/>
                    <a:pt x="254" y="75"/>
                    <a:pt x="253" y="75"/>
                  </a:cubicBezTo>
                  <a:cubicBezTo>
                    <a:pt x="252" y="76"/>
                    <a:pt x="251" y="76"/>
                    <a:pt x="250" y="77"/>
                  </a:cubicBezTo>
                  <a:cubicBezTo>
                    <a:pt x="249" y="78"/>
                    <a:pt x="248" y="76"/>
                    <a:pt x="247" y="75"/>
                  </a:cubicBezTo>
                  <a:cubicBezTo>
                    <a:pt x="246" y="72"/>
                    <a:pt x="250" y="70"/>
                    <a:pt x="249" y="68"/>
                  </a:cubicBezTo>
                  <a:cubicBezTo>
                    <a:pt x="247" y="63"/>
                    <a:pt x="248" y="57"/>
                    <a:pt x="248" y="52"/>
                  </a:cubicBezTo>
                  <a:cubicBezTo>
                    <a:pt x="248" y="51"/>
                    <a:pt x="247" y="49"/>
                    <a:pt x="247" y="48"/>
                  </a:cubicBezTo>
                  <a:cubicBezTo>
                    <a:pt x="246" y="47"/>
                    <a:pt x="246" y="47"/>
                    <a:pt x="246" y="47"/>
                  </a:cubicBezTo>
                  <a:cubicBezTo>
                    <a:pt x="245" y="47"/>
                    <a:pt x="243" y="47"/>
                    <a:pt x="243" y="48"/>
                  </a:cubicBezTo>
                  <a:cubicBezTo>
                    <a:pt x="241" y="50"/>
                    <a:pt x="241" y="53"/>
                    <a:pt x="241" y="55"/>
                  </a:cubicBezTo>
                  <a:cubicBezTo>
                    <a:pt x="241" y="58"/>
                    <a:pt x="241" y="61"/>
                    <a:pt x="241" y="63"/>
                  </a:cubicBezTo>
                  <a:cubicBezTo>
                    <a:pt x="240" y="65"/>
                    <a:pt x="237" y="67"/>
                    <a:pt x="236" y="69"/>
                  </a:cubicBezTo>
                  <a:cubicBezTo>
                    <a:pt x="235" y="69"/>
                    <a:pt x="235" y="70"/>
                    <a:pt x="235" y="70"/>
                  </a:cubicBezTo>
                  <a:cubicBezTo>
                    <a:pt x="235" y="70"/>
                    <a:pt x="235" y="70"/>
                    <a:pt x="235" y="71"/>
                  </a:cubicBezTo>
                  <a:cubicBezTo>
                    <a:pt x="234" y="71"/>
                    <a:pt x="233" y="72"/>
                    <a:pt x="231" y="73"/>
                  </a:cubicBezTo>
                  <a:cubicBezTo>
                    <a:pt x="230" y="74"/>
                    <a:pt x="229" y="75"/>
                    <a:pt x="227" y="77"/>
                  </a:cubicBezTo>
                  <a:cubicBezTo>
                    <a:pt x="227" y="77"/>
                    <a:pt x="227" y="77"/>
                    <a:pt x="227" y="77"/>
                  </a:cubicBezTo>
                  <a:cubicBezTo>
                    <a:pt x="227" y="78"/>
                    <a:pt x="227" y="78"/>
                    <a:pt x="227" y="79"/>
                  </a:cubicBezTo>
                  <a:cubicBezTo>
                    <a:pt x="226" y="78"/>
                    <a:pt x="226" y="78"/>
                    <a:pt x="227" y="77"/>
                  </a:cubicBezTo>
                  <a:cubicBezTo>
                    <a:pt x="227" y="77"/>
                    <a:pt x="227" y="77"/>
                    <a:pt x="227" y="76"/>
                  </a:cubicBezTo>
                  <a:cubicBezTo>
                    <a:pt x="228" y="75"/>
                    <a:pt x="230" y="74"/>
                    <a:pt x="231" y="73"/>
                  </a:cubicBezTo>
                  <a:cubicBezTo>
                    <a:pt x="232" y="72"/>
                    <a:pt x="233" y="71"/>
                    <a:pt x="235" y="70"/>
                  </a:cubicBezTo>
                  <a:cubicBezTo>
                    <a:pt x="235" y="70"/>
                    <a:pt x="235" y="70"/>
                    <a:pt x="235" y="70"/>
                  </a:cubicBezTo>
                  <a:cubicBezTo>
                    <a:pt x="234" y="68"/>
                    <a:pt x="233" y="67"/>
                    <a:pt x="234" y="65"/>
                  </a:cubicBezTo>
                  <a:cubicBezTo>
                    <a:pt x="235" y="61"/>
                    <a:pt x="237" y="58"/>
                    <a:pt x="237" y="54"/>
                  </a:cubicBezTo>
                  <a:cubicBezTo>
                    <a:pt x="238" y="51"/>
                    <a:pt x="239" y="47"/>
                    <a:pt x="238" y="44"/>
                  </a:cubicBezTo>
                  <a:cubicBezTo>
                    <a:pt x="238" y="42"/>
                    <a:pt x="235" y="40"/>
                    <a:pt x="233" y="40"/>
                  </a:cubicBezTo>
                  <a:cubicBezTo>
                    <a:pt x="231" y="41"/>
                    <a:pt x="228" y="41"/>
                    <a:pt x="225" y="42"/>
                  </a:cubicBezTo>
                  <a:cubicBezTo>
                    <a:pt x="220" y="44"/>
                    <a:pt x="215" y="45"/>
                    <a:pt x="209" y="46"/>
                  </a:cubicBezTo>
                  <a:cubicBezTo>
                    <a:pt x="202" y="47"/>
                    <a:pt x="194" y="47"/>
                    <a:pt x="187" y="48"/>
                  </a:cubicBezTo>
                  <a:cubicBezTo>
                    <a:pt x="184" y="48"/>
                    <a:pt x="182" y="50"/>
                    <a:pt x="182" y="53"/>
                  </a:cubicBezTo>
                  <a:cubicBezTo>
                    <a:pt x="182" y="54"/>
                    <a:pt x="182" y="56"/>
                    <a:pt x="182" y="58"/>
                  </a:cubicBezTo>
                  <a:cubicBezTo>
                    <a:pt x="182" y="58"/>
                    <a:pt x="181" y="59"/>
                    <a:pt x="181" y="59"/>
                  </a:cubicBezTo>
                  <a:cubicBezTo>
                    <a:pt x="180" y="59"/>
                    <a:pt x="180" y="58"/>
                    <a:pt x="180" y="58"/>
                  </a:cubicBezTo>
                  <a:cubicBezTo>
                    <a:pt x="178" y="57"/>
                    <a:pt x="177" y="54"/>
                    <a:pt x="175" y="53"/>
                  </a:cubicBezTo>
                  <a:cubicBezTo>
                    <a:pt x="173" y="52"/>
                    <a:pt x="170" y="54"/>
                    <a:pt x="168" y="55"/>
                  </a:cubicBezTo>
                  <a:cubicBezTo>
                    <a:pt x="165" y="56"/>
                    <a:pt x="163" y="58"/>
                    <a:pt x="162" y="60"/>
                  </a:cubicBezTo>
                  <a:cubicBezTo>
                    <a:pt x="162" y="62"/>
                    <a:pt x="162" y="63"/>
                    <a:pt x="161" y="65"/>
                  </a:cubicBezTo>
                  <a:cubicBezTo>
                    <a:pt x="161" y="68"/>
                    <a:pt x="161" y="71"/>
                    <a:pt x="160" y="74"/>
                  </a:cubicBezTo>
                  <a:cubicBezTo>
                    <a:pt x="158" y="77"/>
                    <a:pt x="156" y="78"/>
                    <a:pt x="153" y="81"/>
                  </a:cubicBezTo>
                  <a:cubicBezTo>
                    <a:pt x="153" y="82"/>
                    <a:pt x="152" y="82"/>
                    <a:pt x="151" y="83"/>
                  </a:cubicBezTo>
                  <a:cubicBezTo>
                    <a:pt x="150" y="85"/>
                    <a:pt x="147" y="86"/>
                    <a:pt x="146" y="84"/>
                  </a:cubicBezTo>
                  <a:cubicBezTo>
                    <a:pt x="142" y="81"/>
                    <a:pt x="139" y="80"/>
                    <a:pt x="134" y="81"/>
                  </a:cubicBezTo>
                  <a:cubicBezTo>
                    <a:pt x="128" y="82"/>
                    <a:pt x="123" y="84"/>
                    <a:pt x="120" y="88"/>
                  </a:cubicBezTo>
                  <a:cubicBezTo>
                    <a:pt x="116" y="93"/>
                    <a:pt x="111" y="95"/>
                    <a:pt x="105" y="95"/>
                  </a:cubicBezTo>
                  <a:cubicBezTo>
                    <a:pt x="104" y="96"/>
                    <a:pt x="104" y="97"/>
                    <a:pt x="102" y="98"/>
                  </a:cubicBezTo>
                  <a:cubicBezTo>
                    <a:pt x="97" y="102"/>
                    <a:pt x="94" y="107"/>
                    <a:pt x="90" y="112"/>
                  </a:cubicBezTo>
                  <a:cubicBezTo>
                    <a:pt x="88" y="116"/>
                    <a:pt x="89" y="119"/>
                    <a:pt x="93" y="121"/>
                  </a:cubicBezTo>
                  <a:cubicBezTo>
                    <a:pt x="97" y="122"/>
                    <a:pt x="101" y="123"/>
                    <a:pt x="105" y="124"/>
                  </a:cubicBezTo>
                  <a:cubicBezTo>
                    <a:pt x="105" y="124"/>
                    <a:pt x="105" y="124"/>
                    <a:pt x="105" y="124"/>
                  </a:cubicBezTo>
                  <a:cubicBezTo>
                    <a:pt x="106" y="123"/>
                    <a:pt x="106" y="123"/>
                    <a:pt x="106" y="123"/>
                  </a:cubicBezTo>
                  <a:cubicBezTo>
                    <a:pt x="105" y="124"/>
                    <a:pt x="105" y="124"/>
                    <a:pt x="105" y="124"/>
                  </a:cubicBezTo>
                  <a:cubicBezTo>
                    <a:pt x="105" y="124"/>
                    <a:pt x="105" y="124"/>
                    <a:pt x="105" y="124"/>
                  </a:cubicBezTo>
                  <a:cubicBezTo>
                    <a:pt x="106" y="125"/>
                    <a:pt x="106" y="126"/>
                    <a:pt x="106" y="127"/>
                  </a:cubicBezTo>
                  <a:cubicBezTo>
                    <a:pt x="107" y="128"/>
                    <a:pt x="107" y="130"/>
                    <a:pt x="105" y="131"/>
                  </a:cubicBezTo>
                  <a:cubicBezTo>
                    <a:pt x="103" y="132"/>
                    <a:pt x="101" y="134"/>
                    <a:pt x="100" y="137"/>
                  </a:cubicBezTo>
                  <a:cubicBezTo>
                    <a:pt x="100" y="139"/>
                    <a:pt x="99" y="141"/>
                    <a:pt x="97" y="142"/>
                  </a:cubicBezTo>
                  <a:cubicBezTo>
                    <a:pt x="94" y="146"/>
                    <a:pt x="91" y="149"/>
                    <a:pt x="87" y="152"/>
                  </a:cubicBezTo>
                  <a:cubicBezTo>
                    <a:pt x="86" y="154"/>
                    <a:pt x="83" y="155"/>
                    <a:pt x="81" y="154"/>
                  </a:cubicBezTo>
                  <a:cubicBezTo>
                    <a:pt x="75" y="151"/>
                    <a:pt x="67" y="152"/>
                    <a:pt x="60" y="152"/>
                  </a:cubicBezTo>
                  <a:cubicBezTo>
                    <a:pt x="58" y="152"/>
                    <a:pt x="55" y="152"/>
                    <a:pt x="53" y="154"/>
                  </a:cubicBezTo>
                  <a:cubicBezTo>
                    <a:pt x="50" y="156"/>
                    <a:pt x="46" y="157"/>
                    <a:pt x="42" y="158"/>
                  </a:cubicBezTo>
                  <a:cubicBezTo>
                    <a:pt x="35" y="159"/>
                    <a:pt x="27" y="161"/>
                    <a:pt x="19" y="162"/>
                  </a:cubicBezTo>
                  <a:cubicBezTo>
                    <a:pt x="13" y="162"/>
                    <a:pt x="9" y="167"/>
                    <a:pt x="6" y="172"/>
                  </a:cubicBezTo>
                  <a:cubicBezTo>
                    <a:pt x="4" y="175"/>
                    <a:pt x="3" y="178"/>
                    <a:pt x="6" y="182"/>
                  </a:cubicBezTo>
                  <a:cubicBezTo>
                    <a:pt x="10" y="186"/>
                    <a:pt x="11" y="192"/>
                    <a:pt x="16" y="195"/>
                  </a:cubicBezTo>
                  <a:cubicBezTo>
                    <a:pt x="16" y="195"/>
                    <a:pt x="16" y="195"/>
                    <a:pt x="17" y="195"/>
                  </a:cubicBezTo>
                  <a:cubicBezTo>
                    <a:pt x="17" y="195"/>
                    <a:pt x="18" y="195"/>
                    <a:pt x="18" y="194"/>
                  </a:cubicBezTo>
                  <a:cubicBezTo>
                    <a:pt x="18" y="195"/>
                    <a:pt x="17" y="195"/>
                    <a:pt x="17" y="195"/>
                  </a:cubicBezTo>
                  <a:cubicBezTo>
                    <a:pt x="16" y="195"/>
                    <a:pt x="16" y="196"/>
                    <a:pt x="16" y="196"/>
                  </a:cubicBezTo>
                  <a:cubicBezTo>
                    <a:pt x="16" y="196"/>
                    <a:pt x="16" y="196"/>
                    <a:pt x="16" y="195"/>
                  </a:cubicBezTo>
                  <a:cubicBezTo>
                    <a:pt x="16" y="195"/>
                    <a:pt x="16" y="195"/>
                    <a:pt x="16" y="195"/>
                  </a:cubicBezTo>
                  <a:cubicBezTo>
                    <a:pt x="17" y="198"/>
                    <a:pt x="18" y="201"/>
                    <a:pt x="20" y="204"/>
                  </a:cubicBezTo>
                  <a:cubicBezTo>
                    <a:pt x="22" y="207"/>
                    <a:pt x="24" y="208"/>
                    <a:pt x="28" y="208"/>
                  </a:cubicBezTo>
                  <a:cubicBezTo>
                    <a:pt x="31" y="208"/>
                    <a:pt x="33" y="206"/>
                    <a:pt x="36" y="207"/>
                  </a:cubicBezTo>
                  <a:cubicBezTo>
                    <a:pt x="39" y="208"/>
                    <a:pt x="42" y="208"/>
                    <a:pt x="46" y="207"/>
                  </a:cubicBezTo>
                  <a:cubicBezTo>
                    <a:pt x="47" y="207"/>
                    <a:pt x="48" y="208"/>
                    <a:pt x="49" y="208"/>
                  </a:cubicBezTo>
                  <a:cubicBezTo>
                    <a:pt x="49" y="209"/>
                    <a:pt x="50" y="210"/>
                    <a:pt x="50" y="211"/>
                  </a:cubicBezTo>
                  <a:cubicBezTo>
                    <a:pt x="50" y="212"/>
                    <a:pt x="49" y="213"/>
                    <a:pt x="48" y="213"/>
                  </a:cubicBezTo>
                  <a:cubicBezTo>
                    <a:pt x="47" y="213"/>
                    <a:pt x="45" y="214"/>
                    <a:pt x="44" y="213"/>
                  </a:cubicBezTo>
                  <a:cubicBezTo>
                    <a:pt x="37" y="211"/>
                    <a:pt x="31" y="210"/>
                    <a:pt x="24" y="213"/>
                  </a:cubicBezTo>
                  <a:cubicBezTo>
                    <a:pt x="22" y="215"/>
                    <a:pt x="19" y="214"/>
                    <a:pt x="16" y="214"/>
                  </a:cubicBezTo>
                  <a:cubicBezTo>
                    <a:pt x="13" y="213"/>
                    <a:pt x="10" y="214"/>
                    <a:pt x="7" y="216"/>
                  </a:cubicBezTo>
                  <a:cubicBezTo>
                    <a:pt x="2" y="218"/>
                    <a:pt x="0" y="224"/>
                    <a:pt x="4" y="227"/>
                  </a:cubicBezTo>
                  <a:cubicBezTo>
                    <a:pt x="7" y="231"/>
                    <a:pt x="9" y="235"/>
                    <a:pt x="14" y="237"/>
                  </a:cubicBezTo>
                  <a:cubicBezTo>
                    <a:pt x="16" y="238"/>
                    <a:pt x="16" y="238"/>
                    <a:pt x="14" y="240"/>
                  </a:cubicBezTo>
                  <a:cubicBezTo>
                    <a:pt x="12" y="241"/>
                    <a:pt x="10" y="242"/>
                    <a:pt x="8" y="243"/>
                  </a:cubicBezTo>
                  <a:cubicBezTo>
                    <a:pt x="7" y="244"/>
                    <a:pt x="6" y="246"/>
                    <a:pt x="7" y="247"/>
                  </a:cubicBezTo>
                  <a:cubicBezTo>
                    <a:pt x="9" y="254"/>
                    <a:pt x="14" y="259"/>
                    <a:pt x="20" y="263"/>
                  </a:cubicBezTo>
                  <a:cubicBezTo>
                    <a:pt x="24" y="265"/>
                    <a:pt x="26" y="265"/>
                    <a:pt x="29" y="261"/>
                  </a:cubicBezTo>
                  <a:cubicBezTo>
                    <a:pt x="31" y="258"/>
                    <a:pt x="31" y="258"/>
                    <a:pt x="34" y="259"/>
                  </a:cubicBezTo>
                  <a:cubicBezTo>
                    <a:pt x="36" y="260"/>
                    <a:pt x="38" y="260"/>
                    <a:pt x="39" y="262"/>
                  </a:cubicBezTo>
                  <a:cubicBezTo>
                    <a:pt x="40" y="263"/>
                    <a:pt x="41" y="264"/>
                    <a:pt x="42" y="263"/>
                  </a:cubicBezTo>
                  <a:cubicBezTo>
                    <a:pt x="49" y="261"/>
                    <a:pt x="56" y="266"/>
                    <a:pt x="63" y="261"/>
                  </a:cubicBezTo>
                  <a:cubicBezTo>
                    <a:pt x="63" y="261"/>
                    <a:pt x="64" y="261"/>
                    <a:pt x="64" y="261"/>
                  </a:cubicBezTo>
                  <a:cubicBezTo>
                    <a:pt x="71" y="264"/>
                    <a:pt x="77" y="266"/>
                    <a:pt x="83" y="270"/>
                  </a:cubicBezTo>
                  <a:cubicBezTo>
                    <a:pt x="88" y="274"/>
                    <a:pt x="93" y="277"/>
                    <a:pt x="98" y="281"/>
                  </a:cubicBezTo>
                  <a:cubicBezTo>
                    <a:pt x="99" y="282"/>
                    <a:pt x="101" y="284"/>
                    <a:pt x="102" y="286"/>
                  </a:cubicBezTo>
                  <a:cubicBezTo>
                    <a:pt x="103" y="287"/>
                    <a:pt x="103" y="289"/>
                    <a:pt x="103" y="290"/>
                  </a:cubicBezTo>
                  <a:cubicBezTo>
                    <a:pt x="103" y="292"/>
                    <a:pt x="102" y="295"/>
                    <a:pt x="101" y="297"/>
                  </a:cubicBezTo>
                  <a:cubicBezTo>
                    <a:pt x="98" y="302"/>
                    <a:pt x="99" y="305"/>
                    <a:pt x="102" y="309"/>
                  </a:cubicBezTo>
                  <a:cubicBezTo>
                    <a:pt x="103" y="310"/>
                    <a:pt x="104" y="312"/>
                    <a:pt x="105" y="314"/>
                  </a:cubicBezTo>
                  <a:cubicBezTo>
                    <a:pt x="105" y="317"/>
                    <a:pt x="105" y="320"/>
                    <a:pt x="102" y="321"/>
                  </a:cubicBezTo>
                  <a:cubicBezTo>
                    <a:pt x="101" y="322"/>
                    <a:pt x="101" y="323"/>
                    <a:pt x="102" y="324"/>
                  </a:cubicBezTo>
                  <a:cubicBezTo>
                    <a:pt x="104" y="324"/>
                    <a:pt x="105" y="325"/>
                    <a:pt x="107" y="325"/>
                  </a:cubicBezTo>
                  <a:cubicBezTo>
                    <a:pt x="109" y="326"/>
                    <a:pt x="109" y="328"/>
                    <a:pt x="108" y="329"/>
                  </a:cubicBezTo>
                  <a:cubicBezTo>
                    <a:pt x="108" y="330"/>
                    <a:pt x="107" y="331"/>
                    <a:pt x="107" y="331"/>
                  </a:cubicBezTo>
                  <a:cubicBezTo>
                    <a:pt x="104" y="334"/>
                    <a:pt x="104" y="336"/>
                    <a:pt x="107" y="338"/>
                  </a:cubicBezTo>
                  <a:cubicBezTo>
                    <a:pt x="107" y="339"/>
                    <a:pt x="108" y="340"/>
                    <a:pt x="107" y="341"/>
                  </a:cubicBezTo>
                  <a:cubicBezTo>
                    <a:pt x="107" y="342"/>
                    <a:pt x="105" y="344"/>
                    <a:pt x="105" y="345"/>
                  </a:cubicBezTo>
                  <a:cubicBezTo>
                    <a:pt x="106" y="347"/>
                    <a:pt x="107" y="349"/>
                    <a:pt x="108" y="351"/>
                  </a:cubicBezTo>
                  <a:cubicBezTo>
                    <a:pt x="108" y="354"/>
                    <a:pt x="108" y="357"/>
                    <a:pt x="109" y="360"/>
                  </a:cubicBezTo>
                  <a:cubicBezTo>
                    <a:pt x="110" y="363"/>
                    <a:pt x="109" y="366"/>
                    <a:pt x="107" y="369"/>
                  </a:cubicBezTo>
                  <a:cubicBezTo>
                    <a:pt x="107" y="369"/>
                    <a:pt x="107" y="371"/>
                    <a:pt x="108" y="372"/>
                  </a:cubicBezTo>
                  <a:cubicBezTo>
                    <a:pt x="108" y="372"/>
                    <a:pt x="109" y="373"/>
                    <a:pt x="110" y="374"/>
                  </a:cubicBezTo>
                  <a:cubicBezTo>
                    <a:pt x="112" y="376"/>
                    <a:pt x="111" y="378"/>
                    <a:pt x="108" y="379"/>
                  </a:cubicBezTo>
                  <a:cubicBezTo>
                    <a:pt x="106" y="379"/>
                    <a:pt x="104" y="380"/>
                    <a:pt x="102" y="381"/>
                  </a:cubicBezTo>
                  <a:cubicBezTo>
                    <a:pt x="101" y="382"/>
                    <a:pt x="101" y="383"/>
                    <a:pt x="102" y="384"/>
                  </a:cubicBezTo>
                  <a:cubicBezTo>
                    <a:pt x="103" y="385"/>
                    <a:pt x="108" y="385"/>
                    <a:pt x="103" y="387"/>
                  </a:cubicBezTo>
                  <a:cubicBezTo>
                    <a:pt x="99" y="389"/>
                    <a:pt x="99" y="393"/>
                    <a:pt x="99" y="396"/>
                  </a:cubicBezTo>
                  <a:cubicBezTo>
                    <a:pt x="100" y="397"/>
                    <a:pt x="101" y="397"/>
                    <a:pt x="102" y="397"/>
                  </a:cubicBezTo>
                  <a:cubicBezTo>
                    <a:pt x="102" y="397"/>
                    <a:pt x="102" y="397"/>
                    <a:pt x="102" y="397"/>
                  </a:cubicBezTo>
                  <a:cubicBezTo>
                    <a:pt x="103" y="396"/>
                    <a:pt x="103" y="396"/>
                    <a:pt x="103" y="396"/>
                  </a:cubicBezTo>
                  <a:cubicBezTo>
                    <a:pt x="103" y="397"/>
                    <a:pt x="103" y="397"/>
                    <a:pt x="103" y="397"/>
                  </a:cubicBezTo>
                  <a:cubicBezTo>
                    <a:pt x="103" y="397"/>
                    <a:pt x="102" y="397"/>
                    <a:pt x="102" y="397"/>
                  </a:cubicBezTo>
                  <a:cubicBezTo>
                    <a:pt x="101" y="398"/>
                    <a:pt x="100" y="399"/>
                    <a:pt x="99" y="400"/>
                  </a:cubicBezTo>
                  <a:cubicBezTo>
                    <a:pt x="99" y="400"/>
                    <a:pt x="99" y="399"/>
                    <a:pt x="99" y="399"/>
                  </a:cubicBezTo>
                  <a:cubicBezTo>
                    <a:pt x="99" y="400"/>
                    <a:pt x="99" y="400"/>
                    <a:pt x="99" y="400"/>
                  </a:cubicBezTo>
                  <a:cubicBezTo>
                    <a:pt x="99" y="400"/>
                    <a:pt x="99" y="400"/>
                    <a:pt x="99" y="400"/>
                  </a:cubicBezTo>
                  <a:cubicBezTo>
                    <a:pt x="98" y="404"/>
                    <a:pt x="96" y="407"/>
                    <a:pt x="93" y="410"/>
                  </a:cubicBezTo>
                  <a:cubicBezTo>
                    <a:pt x="92" y="412"/>
                    <a:pt x="93" y="416"/>
                    <a:pt x="94" y="417"/>
                  </a:cubicBezTo>
                  <a:cubicBezTo>
                    <a:pt x="100" y="423"/>
                    <a:pt x="105" y="424"/>
                    <a:pt x="110" y="418"/>
                  </a:cubicBezTo>
                  <a:cubicBezTo>
                    <a:pt x="112" y="417"/>
                    <a:pt x="112" y="416"/>
                    <a:pt x="113" y="415"/>
                  </a:cubicBezTo>
                  <a:cubicBezTo>
                    <a:pt x="115" y="413"/>
                    <a:pt x="117" y="413"/>
                    <a:pt x="119" y="414"/>
                  </a:cubicBezTo>
                  <a:cubicBezTo>
                    <a:pt x="120" y="414"/>
                    <a:pt x="121" y="415"/>
                    <a:pt x="122" y="415"/>
                  </a:cubicBezTo>
                  <a:cubicBezTo>
                    <a:pt x="122" y="415"/>
                    <a:pt x="122" y="415"/>
                    <a:pt x="122" y="415"/>
                  </a:cubicBezTo>
                  <a:cubicBezTo>
                    <a:pt x="122" y="415"/>
                    <a:pt x="122" y="415"/>
                    <a:pt x="122" y="415"/>
                  </a:cubicBezTo>
                  <a:cubicBezTo>
                    <a:pt x="122" y="415"/>
                    <a:pt x="122" y="415"/>
                    <a:pt x="122" y="415"/>
                  </a:cubicBezTo>
                  <a:cubicBezTo>
                    <a:pt x="123" y="415"/>
                    <a:pt x="124" y="416"/>
                    <a:pt x="124" y="416"/>
                  </a:cubicBezTo>
                  <a:cubicBezTo>
                    <a:pt x="125" y="418"/>
                    <a:pt x="123" y="418"/>
                    <a:pt x="122" y="419"/>
                  </a:cubicBezTo>
                  <a:cubicBezTo>
                    <a:pt x="120" y="421"/>
                    <a:pt x="118" y="423"/>
                    <a:pt x="117" y="426"/>
                  </a:cubicBezTo>
                  <a:cubicBezTo>
                    <a:pt x="116" y="427"/>
                    <a:pt x="116" y="429"/>
                    <a:pt x="118" y="430"/>
                  </a:cubicBezTo>
                  <a:cubicBezTo>
                    <a:pt x="119" y="430"/>
                    <a:pt x="120" y="431"/>
                    <a:pt x="122" y="432"/>
                  </a:cubicBezTo>
                  <a:cubicBezTo>
                    <a:pt x="124" y="433"/>
                    <a:pt x="124" y="434"/>
                    <a:pt x="124" y="437"/>
                  </a:cubicBezTo>
                  <a:cubicBezTo>
                    <a:pt x="123" y="438"/>
                    <a:pt x="122" y="439"/>
                    <a:pt x="122" y="440"/>
                  </a:cubicBezTo>
                  <a:cubicBezTo>
                    <a:pt x="122" y="440"/>
                    <a:pt x="122" y="440"/>
                    <a:pt x="122" y="440"/>
                  </a:cubicBezTo>
                  <a:cubicBezTo>
                    <a:pt x="122" y="440"/>
                    <a:pt x="122" y="441"/>
                    <a:pt x="122" y="441"/>
                  </a:cubicBezTo>
                  <a:cubicBezTo>
                    <a:pt x="126" y="441"/>
                    <a:pt x="128" y="443"/>
                    <a:pt x="129" y="447"/>
                  </a:cubicBezTo>
                  <a:cubicBezTo>
                    <a:pt x="129" y="447"/>
                    <a:pt x="128" y="448"/>
                    <a:pt x="128" y="448"/>
                  </a:cubicBezTo>
                  <a:cubicBezTo>
                    <a:pt x="128" y="448"/>
                    <a:pt x="127" y="448"/>
                    <a:pt x="127" y="448"/>
                  </a:cubicBezTo>
                  <a:cubicBezTo>
                    <a:pt x="125" y="446"/>
                    <a:pt x="124" y="443"/>
                    <a:pt x="122" y="441"/>
                  </a:cubicBezTo>
                  <a:cubicBezTo>
                    <a:pt x="122" y="441"/>
                    <a:pt x="122" y="441"/>
                    <a:pt x="121" y="441"/>
                  </a:cubicBezTo>
                  <a:cubicBezTo>
                    <a:pt x="121" y="441"/>
                    <a:pt x="122" y="440"/>
                    <a:pt x="122" y="440"/>
                  </a:cubicBezTo>
                  <a:cubicBezTo>
                    <a:pt x="117" y="440"/>
                    <a:pt x="113" y="439"/>
                    <a:pt x="109" y="438"/>
                  </a:cubicBezTo>
                  <a:cubicBezTo>
                    <a:pt x="107" y="437"/>
                    <a:pt x="104" y="436"/>
                    <a:pt x="101" y="436"/>
                  </a:cubicBezTo>
                  <a:cubicBezTo>
                    <a:pt x="98" y="435"/>
                    <a:pt x="95" y="438"/>
                    <a:pt x="95" y="441"/>
                  </a:cubicBezTo>
                  <a:cubicBezTo>
                    <a:pt x="95" y="442"/>
                    <a:pt x="96" y="442"/>
                    <a:pt x="96" y="443"/>
                  </a:cubicBezTo>
                  <a:cubicBezTo>
                    <a:pt x="96" y="444"/>
                    <a:pt x="97" y="446"/>
                    <a:pt x="96" y="447"/>
                  </a:cubicBezTo>
                  <a:cubicBezTo>
                    <a:pt x="96" y="448"/>
                    <a:pt x="94" y="449"/>
                    <a:pt x="92" y="450"/>
                  </a:cubicBezTo>
                  <a:cubicBezTo>
                    <a:pt x="90" y="450"/>
                    <a:pt x="89" y="452"/>
                    <a:pt x="88" y="454"/>
                  </a:cubicBezTo>
                  <a:cubicBezTo>
                    <a:pt x="87" y="457"/>
                    <a:pt x="86" y="460"/>
                    <a:pt x="87" y="463"/>
                  </a:cubicBezTo>
                  <a:cubicBezTo>
                    <a:pt x="87" y="469"/>
                    <a:pt x="90" y="474"/>
                    <a:pt x="95" y="478"/>
                  </a:cubicBezTo>
                  <a:cubicBezTo>
                    <a:pt x="95" y="478"/>
                    <a:pt x="96" y="478"/>
                    <a:pt x="96" y="478"/>
                  </a:cubicBezTo>
                  <a:cubicBezTo>
                    <a:pt x="102" y="479"/>
                    <a:pt x="108" y="478"/>
                    <a:pt x="113" y="476"/>
                  </a:cubicBezTo>
                  <a:cubicBezTo>
                    <a:pt x="116" y="475"/>
                    <a:pt x="118" y="470"/>
                    <a:pt x="116" y="468"/>
                  </a:cubicBezTo>
                  <a:cubicBezTo>
                    <a:pt x="115" y="466"/>
                    <a:pt x="114" y="465"/>
                    <a:pt x="113" y="464"/>
                  </a:cubicBezTo>
                  <a:cubicBezTo>
                    <a:pt x="110" y="462"/>
                    <a:pt x="109" y="460"/>
                    <a:pt x="109" y="457"/>
                  </a:cubicBezTo>
                  <a:cubicBezTo>
                    <a:pt x="109" y="457"/>
                    <a:pt x="109" y="457"/>
                    <a:pt x="108" y="457"/>
                  </a:cubicBezTo>
                  <a:cubicBezTo>
                    <a:pt x="108" y="455"/>
                    <a:pt x="108" y="455"/>
                    <a:pt x="108" y="455"/>
                  </a:cubicBezTo>
                  <a:cubicBezTo>
                    <a:pt x="109" y="456"/>
                    <a:pt x="109" y="456"/>
                    <a:pt x="109" y="456"/>
                  </a:cubicBezTo>
                  <a:cubicBezTo>
                    <a:pt x="109" y="456"/>
                    <a:pt x="109" y="457"/>
                    <a:pt x="109" y="457"/>
                  </a:cubicBezTo>
                  <a:cubicBezTo>
                    <a:pt x="116" y="460"/>
                    <a:pt x="123" y="464"/>
                    <a:pt x="131" y="464"/>
                  </a:cubicBezTo>
                  <a:cubicBezTo>
                    <a:pt x="133" y="464"/>
                    <a:pt x="134" y="466"/>
                    <a:pt x="133" y="468"/>
                  </a:cubicBezTo>
                  <a:cubicBezTo>
                    <a:pt x="131" y="469"/>
                    <a:pt x="130" y="470"/>
                    <a:pt x="129" y="472"/>
                  </a:cubicBezTo>
                  <a:cubicBezTo>
                    <a:pt x="128" y="472"/>
                    <a:pt x="128" y="472"/>
                    <a:pt x="128" y="472"/>
                  </a:cubicBezTo>
                  <a:cubicBezTo>
                    <a:pt x="128" y="472"/>
                    <a:pt x="128" y="472"/>
                    <a:pt x="128" y="472"/>
                  </a:cubicBezTo>
                  <a:cubicBezTo>
                    <a:pt x="129" y="472"/>
                    <a:pt x="129" y="472"/>
                    <a:pt x="129" y="472"/>
                  </a:cubicBezTo>
                  <a:cubicBezTo>
                    <a:pt x="128" y="474"/>
                    <a:pt x="127" y="476"/>
                    <a:pt x="126" y="477"/>
                  </a:cubicBezTo>
                  <a:cubicBezTo>
                    <a:pt x="125" y="479"/>
                    <a:pt x="125" y="480"/>
                    <a:pt x="126" y="482"/>
                  </a:cubicBezTo>
                  <a:cubicBezTo>
                    <a:pt x="127" y="485"/>
                    <a:pt x="126" y="485"/>
                    <a:pt x="123" y="485"/>
                  </a:cubicBezTo>
                  <a:cubicBezTo>
                    <a:pt x="122" y="486"/>
                    <a:pt x="120" y="486"/>
                    <a:pt x="119" y="487"/>
                  </a:cubicBezTo>
                  <a:cubicBezTo>
                    <a:pt x="118" y="494"/>
                    <a:pt x="114" y="497"/>
                    <a:pt x="107" y="496"/>
                  </a:cubicBezTo>
                  <a:cubicBezTo>
                    <a:pt x="104" y="496"/>
                    <a:pt x="102" y="497"/>
                    <a:pt x="99" y="497"/>
                  </a:cubicBezTo>
                  <a:cubicBezTo>
                    <a:pt x="99" y="500"/>
                    <a:pt x="100" y="503"/>
                    <a:pt x="101" y="506"/>
                  </a:cubicBezTo>
                  <a:cubicBezTo>
                    <a:pt x="102" y="506"/>
                    <a:pt x="102" y="506"/>
                    <a:pt x="102" y="506"/>
                  </a:cubicBezTo>
                  <a:cubicBezTo>
                    <a:pt x="102" y="507"/>
                    <a:pt x="102" y="507"/>
                    <a:pt x="102" y="507"/>
                  </a:cubicBezTo>
                  <a:cubicBezTo>
                    <a:pt x="102" y="506"/>
                    <a:pt x="102" y="506"/>
                    <a:pt x="102" y="506"/>
                  </a:cubicBezTo>
                  <a:cubicBezTo>
                    <a:pt x="102" y="506"/>
                    <a:pt x="101" y="506"/>
                    <a:pt x="101" y="506"/>
                  </a:cubicBezTo>
                  <a:cubicBezTo>
                    <a:pt x="100" y="506"/>
                    <a:pt x="99" y="505"/>
                    <a:pt x="97" y="505"/>
                  </a:cubicBezTo>
                  <a:cubicBezTo>
                    <a:pt x="94" y="505"/>
                    <a:pt x="94" y="505"/>
                    <a:pt x="92" y="508"/>
                  </a:cubicBezTo>
                  <a:cubicBezTo>
                    <a:pt x="92" y="509"/>
                    <a:pt x="91" y="510"/>
                    <a:pt x="90" y="512"/>
                  </a:cubicBezTo>
                  <a:cubicBezTo>
                    <a:pt x="88" y="514"/>
                    <a:pt x="85" y="516"/>
                    <a:pt x="84" y="518"/>
                  </a:cubicBezTo>
                  <a:cubicBezTo>
                    <a:pt x="83" y="521"/>
                    <a:pt x="83" y="524"/>
                    <a:pt x="81" y="527"/>
                  </a:cubicBezTo>
                  <a:cubicBezTo>
                    <a:pt x="80" y="528"/>
                    <a:pt x="80" y="531"/>
                    <a:pt x="79" y="533"/>
                  </a:cubicBezTo>
                  <a:cubicBezTo>
                    <a:pt x="79" y="535"/>
                    <a:pt x="80" y="537"/>
                    <a:pt x="82" y="538"/>
                  </a:cubicBezTo>
                  <a:cubicBezTo>
                    <a:pt x="83" y="539"/>
                    <a:pt x="84" y="540"/>
                    <a:pt x="85" y="541"/>
                  </a:cubicBezTo>
                  <a:cubicBezTo>
                    <a:pt x="85" y="541"/>
                    <a:pt x="85" y="541"/>
                    <a:pt x="85" y="541"/>
                  </a:cubicBezTo>
                  <a:cubicBezTo>
                    <a:pt x="85" y="540"/>
                    <a:pt x="86" y="540"/>
                    <a:pt x="86" y="540"/>
                  </a:cubicBezTo>
                  <a:cubicBezTo>
                    <a:pt x="87" y="540"/>
                    <a:pt x="87" y="539"/>
                    <a:pt x="87" y="539"/>
                  </a:cubicBezTo>
                  <a:cubicBezTo>
                    <a:pt x="87" y="539"/>
                    <a:pt x="88" y="539"/>
                    <a:pt x="88" y="539"/>
                  </a:cubicBezTo>
                  <a:cubicBezTo>
                    <a:pt x="88" y="540"/>
                    <a:pt x="87" y="540"/>
                    <a:pt x="86" y="540"/>
                  </a:cubicBezTo>
                  <a:cubicBezTo>
                    <a:pt x="86" y="540"/>
                    <a:pt x="86" y="541"/>
                    <a:pt x="85" y="541"/>
                  </a:cubicBezTo>
                  <a:cubicBezTo>
                    <a:pt x="85" y="541"/>
                    <a:pt x="85" y="541"/>
                    <a:pt x="85" y="541"/>
                  </a:cubicBezTo>
                  <a:cubicBezTo>
                    <a:pt x="83" y="543"/>
                    <a:pt x="80" y="545"/>
                    <a:pt x="78" y="547"/>
                  </a:cubicBezTo>
                  <a:cubicBezTo>
                    <a:pt x="76" y="550"/>
                    <a:pt x="75" y="554"/>
                    <a:pt x="77" y="557"/>
                  </a:cubicBezTo>
                  <a:cubicBezTo>
                    <a:pt x="79" y="559"/>
                    <a:pt x="80" y="561"/>
                    <a:pt x="80" y="564"/>
                  </a:cubicBezTo>
                  <a:cubicBezTo>
                    <a:pt x="80" y="566"/>
                    <a:pt x="80" y="568"/>
                    <a:pt x="81" y="570"/>
                  </a:cubicBezTo>
                  <a:cubicBezTo>
                    <a:pt x="84" y="577"/>
                    <a:pt x="85" y="584"/>
                    <a:pt x="84" y="592"/>
                  </a:cubicBezTo>
                  <a:cubicBezTo>
                    <a:pt x="84" y="593"/>
                    <a:pt x="84" y="594"/>
                    <a:pt x="84" y="595"/>
                  </a:cubicBezTo>
                  <a:cubicBezTo>
                    <a:pt x="84" y="596"/>
                    <a:pt x="86" y="598"/>
                    <a:pt x="88" y="597"/>
                  </a:cubicBezTo>
                  <a:cubicBezTo>
                    <a:pt x="91" y="596"/>
                    <a:pt x="94" y="595"/>
                    <a:pt x="98" y="594"/>
                  </a:cubicBezTo>
                  <a:cubicBezTo>
                    <a:pt x="98" y="594"/>
                    <a:pt x="98" y="594"/>
                    <a:pt x="98" y="594"/>
                  </a:cubicBezTo>
                  <a:cubicBezTo>
                    <a:pt x="98" y="594"/>
                    <a:pt x="99" y="594"/>
                    <a:pt x="99" y="594"/>
                  </a:cubicBezTo>
                  <a:cubicBezTo>
                    <a:pt x="100" y="593"/>
                    <a:pt x="100" y="593"/>
                    <a:pt x="101" y="593"/>
                  </a:cubicBezTo>
                  <a:cubicBezTo>
                    <a:pt x="101" y="594"/>
                    <a:pt x="100" y="594"/>
                    <a:pt x="99" y="594"/>
                  </a:cubicBezTo>
                  <a:cubicBezTo>
                    <a:pt x="99" y="594"/>
                    <a:pt x="99" y="594"/>
                    <a:pt x="99" y="594"/>
                  </a:cubicBezTo>
                  <a:cubicBezTo>
                    <a:pt x="98" y="594"/>
                    <a:pt x="98" y="594"/>
                    <a:pt x="98" y="594"/>
                  </a:cubicBezTo>
                  <a:cubicBezTo>
                    <a:pt x="96" y="598"/>
                    <a:pt x="94" y="600"/>
                    <a:pt x="91" y="601"/>
                  </a:cubicBezTo>
                  <a:cubicBezTo>
                    <a:pt x="87" y="604"/>
                    <a:pt x="86" y="607"/>
                    <a:pt x="87" y="611"/>
                  </a:cubicBezTo>
                  <a:cubicBezTo>
                    <a:pt x="88" y="616"/>
                    <a:pt x="89" y="621"/>
                    <a:pt x="92" y="626"/>
                  </a:cubicBezTo>
                  <a:cubicBezTo>
                    <a:pt x="92" y="625"/>
                    <a:pt x="92" y="625"/>
                    <a:pt x="92" y="625"/>
                  </a:cubicBezTo>
                  <a:cubicBezTo>
                    <a:pt x="92" y="626"/>
                    <a:pt x="92" y="626"/>
                    <a:pt x="92" y="626"/>
                  </a:cubicBezTo>
                  <a:cubicBezTo>
                    <a:pt x="92" y="626"/>
                    <a:pt x="92" y="626"/>
                    <a:pt x="92" y="626"/>
                  </a:cubicBezTo>
                  <a:cubicBezTo>
                    <a:pt x="92" y="626"/>
                    <a:pt x="92" y="626"/>
                    <a:pt x="92" y="626"/>
                  </a:cubicBezTo>
                  <a:cubicBezTo>
                    <a:pt x="93" y="627"/>
                    <a:pt x="94" y="628"/>
                    <a:pt x="95" y="629"/>
                  </a:cubicBezTo>
                  <a:cubicBezTo>
                    <a:pt x="98" y="631"/>
                    <a:pt x="98" y="633"/>
                    <a:pt x="97" y="636"/>
                  </a:cubicBezTo>
                  <a:cubicBezTo>
                    <a:pt x="96" y="637"/>
                    <a:pt x="96" y="639"/>
                    <a:pt x="97" y="640"/>
                  </a:cubicBezTo>
                  <a:cubicBezTo>
                    <a:pt x="100" y="644"/>
                    <a:pt x="100" y="648"/>
                    <a:pt x="102" y="652"/>
                  </a:cubicBezTo>
                  <a:cubicBezTo>
                    <a:pt x="103" y="654"/>
                    <a:pt x="103" y="657"/>
                    <a:pt x="102" y="659"/>
                  </a:cubicBezTo>
                  <a:cubicBezTo>
                    <a:pt x="101" y="660"/>
                    <a:pt x="101" y="662"/>
                    <a:pt x="102" y="662"/>
                  </a:cubicBezTo>
                  <a:cubicBezTo>
                    <a:pt x="103" y="665"/>
                    <a:pt x="106" y="667"/>
                    <a:pt x="108" y="669"/>
                  </a:cubicBezTo>
                  <a:cubicBezTo>
                    <a:pt x="113" y="670"/>
                    <a:pt x="115" y="673"/>
                    <a:pt x="115" y="677"/>
                  </a:cubicBezTo>
                  <a:cubicBezTo>
                    <a:pt x="115" y="678"/>
                    <a:pt x="117" y="679"/>
                    <a:pt x="118" y="679"/>
                  </a:cubicBezTo>
                  <a:cubicBezTo>
                    <a:pt x="121" y="678"/>
                    <a:pt x="124" y="677"/>
                    <a:pt x="127" y="677"/>
                  </a:cubicBezTo>
                  <a:cubicBezTo>
                    <a:pt x="129" y="676"/>
                    <a:pt x="130" y="676"/>
                    <a:pt x="132" y="675"/>
                  </a:cubicBezTo>
                  <a:cubicBezTo>
                    <a:pt x="135" y="674"/>
                    <a:pt x="138" y="676"/>
                    <a:pt x="138" y="678"/>
                  </a:cubicBezTo>
                  <a:cubicBezTo>
                    <a:pt x="138" y="683"/>
                    <a:pt x="140" y="686"/>
                    <a:pt x="143" y="689"/>
                  </a:cubicBezTo>
                  <a:cubicBezTo>
                    <a:pt x="145" y="690"/>
                    <a:pt x="145" y="692"/>
                    <a:pt x="146" y="693"/>
                  </a:cubicBezTo>
                  <a:cubicBezTo>
                    <a:pt x="147" y="694"/>
                    <a:pt x="149" y="696"/>
                    <a:pt x="150" y="695"/>
                  </a:cubicBezTo>
                  <a:cubicBezTo>
                    <a:pt x="154" y="695"/>
                    <a:pt x="157" y="697"/>
                    <a:pt x="161" y="697"/>
                  </a:cubicBezTo>
                  <a:cubicBezTo>
                    <a:pt x="163" y="697"/>
                    <a:pt x="166" y="696"/>
                    <a:pt x="168" y="694"/>
                  </a:cubicBezTo>
                  <a:cubicBezTo>
                    <a:pt x="171" y="688"/>
                    <a:pt x="171" y="681"/>
                    <a:pt x="175" y="675"/>
                  </a:cubicBezTo>
                  <a:cubicBezTo>
                    <a:pt x="175" y="671"/>
                    <a:pt x="178" y="666"/>
                    <a:pt x="181" y="663"/>
                  </a:cubicBezTo>
                  <a:cubicBezTo>
                    <a:pt x="184" y="660"/>
                    <a:pt x="185" y="657"/>
                    <a:pt x="186" y="653"/>
                  </a:cubicBezTo>
                  <a:cubicBezTo>
                    <a:pt x="186" y="650"/>
                    <a:pt x="187" y="647"/>
                    <a:pt x="188" y="644"/>
                  </a:cubicBezTo>
                  <a:cubicBezTo>
                    <a:pt x="188" y="644"/>
                    <a:pt x="188" y="644"/>
                    <a:pt x="188" y="645"/>
                  </a:cubicBezTo>
                  <a:cubicBezTo>
                    <a:pt x="188" y="644"/>
                    <a:pt x="188" y="644"/>
                    <a:pt x="188" y="644"/>
                  </a:cubicBezTo>
                  <a:cubicBezTo>
                    <a:pt x="187" y="644"/>
                    <a:pt x="186" y="643"/>
                    <a:pt x="186" y="643"/>
                  </a:cubicBezTo>
                  <a:cubicBezTo>
                    <a:pt x="185" y="643"/>
                    <a:pt x="185" y="642"/>
                    <a:pt x="185" y="642"/>
                  </a:cubicBezTo>
                  <a:cubicBezTo>
                    <a:pt x="185" y="641"/>
                    <a:pt x="186" y="641"/>
                    <a:pt x="187" y="642"/>
                  </a:cubicBezTo>
                  <a:cubicBezTo>
                    <a:pt x="187" y="643"/>
                    <a:pt x="187" y="643"/>
                    <a:pt x="188" y="644"/>
                  </a:cubicBezTo>
                  <a:cubicBezTo>
                    <a:pt x="188" y="644"/>
                    <a:pt x="188" y="644"/>
                    <a:pt x="188" y="644"/>
                  </a:cubicBezTo>
                  <a:cubicBezTo>
                    <a:pt x="188" y="644"/>
                    <a:pt x="188" y="644"/>
                    <a:pt x="188" y="644"/>
                  </a:cubicBezTo>
                  <a:cubicBezTo>
                    <a:pt x="191" y="643"/>
                    <a:pt x="194" y="641"/>
                    <a:pt x="195" y="638"/>
                  </a:cubicBezTo>
                  <a:cubicBezTo>
                    <a:pt x="197" y="633"/>
                    <a:pt x="201" y="629"/>
                    <a:pt x="206" y="625"/>
                  </a:cubicBezTo>
                  <a:cubicBezTo>
                    <a:pt x="211" y="621"/>
                    <a:pt x="213" y="615"/>
                    <a:pt x="210" y="609"/>
                  </a:cubicBezTo>
                  <a:cubicBezTo>
                    <a:pt x="209" y="607"/>
                    <a:pt x="210" y="606"/>
                    <a:pt x="212" y="604"/>
                  </a:cubicBezTo>
                  <a:cubicBezTo>
                    <a:pt x="213" y="604"/>
                    <a:pt x="214" y="603"/>
                    <a:pt x="215" y="603"/>
                  </a:cubicBezTo>
                  <a:cubicBezTo>
                    <a:pt x="216" y="602"/>
                    <a:pt x="217" y="600"/>
                    <a:pt x="216" y="599"/>
                  </a:cubicBezTo>
                  <a:cubicBezTo>
                    <a:pt x="216" y="598"/>
                    <a:pt x="215" y="597"/>
                    <a:pt x="215" y="596"/>
                  </a:cubicBezTo>
                  <a:cubicBezTo>
                    <a:pt x="213" y="592"/>
                    <a:pt x="213" y="592"/>
                    <a:pt x="218" y="591"/>
                  </a:cubicBezTo>
                  <a:cubicBezTo>
                    <a:pt x="221" y="591"/>
                    <a:pt x="223" y="590"/>
                    <a:pt x="224" y="588"/>
                  </a:cubicBezTo>
                  <a:cubicBezTo>
                    <a:pt x="226" y="584"/>
                    <a:pt x="228" y="581"/>
                    <a:pt x="233" y="582"/>
                  </a:cubicBezTo>
                  <a:cubicBezTo>
                    <a:pt x="239" y="583"/>
                    <a:pt x="245" y="579"/>
                    <a:pt x="251" y="581"/>
                  </a:cubicBezTo>
                  <a:cubicBezTo>
                    <a:pt x="253" y="581"/>
                    <a:pt x="254" y="580"/>
                    <a:pt x="255" y="579"/>
                  </a:cubicBezTo>
                  <a:cubicBezTo>
                    <a:pt x="256" y="578"/>
                    <a:pt x="258" y="577"/>
                    <a:pt x="259" y="576"/>
                  </a:cubicBezTo>
                  <a:cubicBezTo>
                    <a:pt x="267" y="576"/>
                    <a:pt x="275" y="573"/>
                    <a:pt x="281" y="567"/>
                  </a:cubicBezTo>
                  <a:cubicBezTo>
                    <a:pt x="282" y="567"/>
                    <a:pt x="283" y="567"/>
                    <a:pt x="284" y="567"/>
                  </a:cubicBezTo>
                  <a:cubicBezTo>
                    <a:pt x="289" y="565"/>
                    <a:pt x="294" y="562"/>
                    <a:pt x="296" y="558"/>
                  </a:cubicBezTo>
                  <a:cubicBezTo>
                    <a:pt x="299" y="552"/>
                    <a:pt x="305" y="548"/>
                    <a:pt x="308" y="542"/>
                  </a:cubicBezTo>
                  <a:cubicBezTo>
                    <a:pt x="312" y="536"/>
                    <a:pt x="320" y="534"/>
                    <a:pt x="325" y="529"/>
                  </a:cubicBezTo>
                  <a:cubicBezTo>
                    <a:pt x="328" y="527"/>
                    <a:pt x="332" y="529"/>
                    <a:pt x="336" y="528"/>
                  </a:cubicBezTo>
                  <a:cubicBezTo>
                    <a:pt x="338" y="528"/>
                    <a:pt x="340" y="527"/>
                    <a:pt x="342" y="526"/>
                  </a:cubicBezTo>
                  <a:cubicBezTo>
                    <a:pt x="344" y="526"/>
                    <a:pt x="345" y="525"/>
                    <a:pt x="347" y="525"/>
                  </a:cubicBezTo>
                  <a:cubicBezTo>
                    <a:pt x="350" y="526"/>
                    <a:pt x="353" y="526"/>
                    <a:pt x="356" y="524"/>
                  </a:cubicBezTo>
                  <a:cubicBezTo>
                    <a:pt x="362" y="521"/>
                    <a:pt x="367" y="520"/>
                    <a:pt x="373" y="519"/>
                  </a:cubicBezTo>
                  <a:cubicBezTo>
                    <a:pt x="383" y="517"/>
                    <a:pt x="393" y="514"/>
                    <a:pt x="401" y="508"/>
                  </a:cubicBezTo>
                  <a:cubicBezTo>
                    <a:pt x="411" y="501"/>
                    <a:pt x="422" y="494"/>
                    <a:pt x="432" y="486"/>
                  </a:cubicBezTo>
                  <a:close/>
                  <a:moveTo>
                    <a:pt x="507" y="171"/>
                  </a:moveTo>
                  <a:cubicBezTo>
                    <a:pt x="507" y="170"/>
                    <a:pt x="508" y="170"/>
                    <a:pt x="508" y="170"/>
                  </a:cubicBezTo>
                  <a:cubicBezTo>
                    <a:pt x="509" y="171"/>
                    <a:pt x="509" y="171"/>
                    <a:pt x="510" y="171"/>
                  </a:cubicBezTo>
                  <a:cubicBezTo>
                    <a:pt x="510" y="172"/>
                    <a:pt x="510" y="173"/>
                    <a:pt x="508" y="173"/>
                  </a:cubicBezTo>
                  <a:cubicBezTo>
                    <a:pt x="508" y="173"/>
                    <a:pt x="507" y="172"/>
                    <a:pt x="507" y="172"/>
                  </a:cubicBezTo>
                  <a:cubicBezTo>
                    <a:pt x="507" y="172"/>
                    <a:pt x="507" y="171"/>
                    <a:pt x="507" y="171"/>
                  </a:cubicBezTo>
                  <a:close/>
                  <a:moveTo>
                    <a:pt x="495" y="175"/>
                  </a:moveTo>
                  <a:cubicBezTo>
                    <a:pt x="496" y="174"/>
                    <a:pt x="497" y="174"/>
                    <a:pt x="498" y="174"/>
                  </a:cubicBezTo>
                  <a:cubicBezTo>
                    <a:pt x="498" y="173"/>
                    <a:pt x="499" y="174"/>
                    <a:pt x="499" y="174"/>
                  </a:cubicBezTo>
                  <a:cubicBezTo>
                    <a:pt x="500" y="175"/>
                    <a:pt x="500" y="176"/>
                    <a:pt x="499" y="177"/>
                  </a:cubicBezTo>
                  <a:cubicBezTo>
                    <a:pt x="499" y="178"/>
                    <a:pt x="498" y="178"/>
                    <a:pt x="497" y="179"/>
                  </a:cubicBezTo>
                  <a:cubicBezTo>
                    <a:pt x="495" y="179"/>
                    <a:pt x="494" y="177"/>
                    <a:pt x="495" y="175"/>
                  </a:cubicBezTo>
                  <a:close/>
                  <a:moveTo>
                    <a:pt x="248" y="574"/>
                  </a:moveTo>
                  <a:cubicBezTo>
                    <a:pt x="247" y="574"/>
                    <a:pt x="247" y="574"/>
                    <a:pt x="247" y="574"/>
                  </a:cubicBezTo>
                  <a:cubicBezTo>
                    <a:pt x="247" y="573"/>
                    <a:pt x="248" y="573"/>
                    <a:pt x="248" y="573"/>
                  </a:cubicBezTo>
                  <a:cubicBezTo>
                    <a:pt x="248" y="573"/>
                    <a:pt x="249" y="574"/>
                    <a:pt x="249" y="574"/>
                  </a:cubicBezTo>
                  <a:cubicBezTo>
                    <a:pt x="249" y="574"/>
                    <a:pt x="248" y="574"/>
                    <a:pt x="248" y="574"/>
                  </a:cubicBezTo>
                  <a:close/>
                  <a:moveTo>
                    <a:pt x="333" y="39"/>
                  </a:moveTo>
                  <a:cubicBezTo>
                    <a:pt x="333" y="39"/>
                    <a:pt x="332" y="38"/>
                    <a:pt x="333" y="39"/>
                  </a:cubicBezTo>
                  <a:cubicBezTo>
                    <a:pt x="334" y="39"/>
                    <a:pt x="334" y="40"/>
                    <a:pt x="335" y="40"/>
                  </a:cubicBezTo>
                  <a:cubicBezTo>
                    <a:pt x="334" y="40"/>
                    <a:pt x="334" y="39"/>
                    <a:pt x="333" y="39"/>
                  </a:cubicBezTo>
                  <a:close/>
                  <a:moveTo>
                    <a:pt x="338" y="45"/>
                  </a:moveTo>
                  <a:cubicBezTo>
                    <a:pt x="337" y="45"/>
                    <a:pt x="337" y="44"/>
                    <a:pt x="337" y="43"/>
                  </a:cubicBezTo>
                  <a:cubicBezTo>
                    <a:pt x="337" y="43"/>
                    <a:pt x="337" y="42"/>
                    <a:pt x="337" y="42"/>
                  </a:cubicBezTo>
                  <a:cubicBezTo>
                    <a:pt x="336" y="42"/>
                    <a:pt x="336" y="41"/>
                    <a:pt x="336" y="41"/>
                  </a:cubicBezTo>
                  <a:cubicBezTo>
                    <a:pt x="336" y="41"/>
                    <a:pt x="337" y="42"/>
                    <a:pt x="337" y="42"/>
                  </a:cubicBezTo>
                  <a:cubicBezTo>
                    <a:pt x="337" y="42"/>
                    <a:pt x="337" y="42"/>
                    <a:pt x="337" y="43"/>
                  </a:cubicBezTo>
                  <a:cubicBezTo>
                    <a:pt x="338" y="43"/>
                    <a:pt x="338" y="43"/>
                    <a:pt x="339" y="44"/>
                  </a:cubicBezTo>
                  <a:cubicBezTo>
                    <a:pt x="339" y="44"/>
                    <a:pt x="338" y="45"/>
                    <a:pt x="338" y="45"/>
                  </a:cubicBezTo>
                  <a:close/>
                  <a:moveTo>
                    <a:pt x="381" y="463"/>
                  </a:moveTo>
                  <a:cubicBezTo>
                    <a:pt x="381" y="462"/>
                    <a:pt x="381" y="462"/>
                    <a:pt x="381" y="462"/>
                  </a:cubicBezTo>
                  <a:cubicBezTo>
                    <a:pt x="382" y="462"/>
                    <a:pt x="382" y="462"/>
                    <a:pt x="382" y="462"/>
                  </a:cubicBezTo>
                  <a:lnTo>
                    <a:pt x="381" y="463"/>
                  </a:lnTo>
                  <a:close/>
                  <a:moveTo>
                    <a:pt x="386" y="437"/>
                  </a:moveTo>
                  <a:cubicBezTo>
                    <a:pt x="386" y="436"/>
                    <a:pt x="386" y="436"/>
                    <a:pt x="386" y="436"/>
                  </a:cubicBezTo>
                  <a:cubicBezTo>
                    <a:pt x="387" y="437"/>
                    <a:pt x="387" y="437"/>
                    <a:pt x="387" y="437"/>
                  </a:cubicBezTo>
                  <a:cubicBezTo>
                    <a:pt x="387" y="438"/>
                    <a:pt x="387" y="438"/>
                    <a:pt x="387" y="438"/>
                  </a:cubicBezTo>
                  <a:lnTo>
                    <a:pt x="386" y="437"/>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7"/>
            <p:cNvSpPr>
              <a:spLocks/>
            </p:cNvSpPr>
            <p:nvPr/>
          </p:nvSpPr>
          <p:spPr bwMode="auto">
            <a:xfrm>
              <a:off x="9512704" y="1859721"/>
              <a:ext cx="0" cy="2718"/>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1"/>
                    <a:pt x="0" y="1"/>
                  </a:cubicBezTo>
                  <a:cubicBezTo>
                    <a:pt x="0" y="1"/>
                    <a:pt x="0" y="1"/>
                    <a:pt x="0" y="1"/>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8"/>
            <p:cNvSpPr>
              <a:spLocks/>
            </p:cNvSpPr>
            <p:nvPr/>
          </p:nvSpPr>
          <p:spPr bwMode="auto">
            <a:xfrm>
              <a:off x="9093291" y="1275442"/>
              <a:ext cx="1812" cy="1812"/>
            </a:xfrm>
            <a:custGeom>
              <a:avLst/>
              <a:gdLst>
                <a:gd name="T0" fmla="*/ 0 w 1"/>
                <a:gd name="T1" fmla="*/ 1 h 1"/>
                <a:gd name="T2" fmla="*/ 1 w 1"/>
                <a:gd name="T3" fmla="*/ 0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1"/>
                    <a:pt x="1" y="0"/>
                  </a:cubicBezTo>
                  <a:cubicBezTo>
                    <a:pt x="1" y="0"/>
                    <a:pt x="1" y="0"/>
                    <a:pt x="0" y="0"/>
                  </a:cubicBezTo>
                  <a:cubicBezTo>
                    <a:pt x="0" y="0"/>
                    <a:pt x="0" y="1"/>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19"/>
            <p:cNvSpPr>
              <a:spLocks/>
            </p:cNvSpPr>
            <p:nvPr/>
          </p:nvSpPr>
          <p:spPr bwMode="auto">
            <a:xfrm>
              <a:off x="9129526" y="1174892"/>
              <a:ext cx="0" cy="1812"/>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0"/>
                  </a:cubicBezTo>
                  <a:cubicBezTo>
                    <a:pt x="0" y="1"/>
                    <a:pt x="0" y="1"/>
                    <a:pt x="0" y="1"/>
                  </a:cubicBezTo>
                  <a:cubicBezTo>
                    <a:pt x="0" y="1"/>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0"/>
            <p:cNvSpPr>
              <a:spLocks noEditPoints="1"/>
            </p:cNvSpPr>
            <p:nvPr/>
          </p:nvSpPr>
          <p:spPr bwMode="auto">
            <a:xfrm>
              <a:off x="8900343" y="932122"/>
              <a:ext cx="798967" cy="580655"/>
            </a:xfrm>
            <a:custGeom>
              <a:avLst/>
              <a:gdLst>
                <a:gd name="T0" fmla="*/ 104 w 373"/>
                <a:gd name="T1" fmla="*/ 153 h 271"/>
                <a:gd name="T2" fmla="*/ 110 w 373"/>
                <a:gd name="T3" fmla="*/ 166 h 271"/>
                <a:gd name="T4" fmla="*/ 113 w 373"/>
                <a:gd name="T5" fmla="*/ 170 h 271"/>
                <a:gd name="T6" fmla="*/ 105 w 373"/>
                <a:gd name="T7" fmla="*/ 165 h 271"/>
                <a:gd name="T8" fmla="*/ 85 w 373"/>
                <a:gd name="T9" fmla="*/ 163 h 271"/>
                <a:gd name="T10" fmla="*/ 65 w 373"/>
                <a:gd name="T11" fmla="*/ 191 h 271"/>
                <a:gd name="T12" fmla="*/ 66 w 373"/>
                <a:gd name="T13" fmla="*/ 211 h 271"/>
                <a:gd name="T14" fmla="*/ 45 w 373"/>
                <a:gd name="T15" fmla="*/ 202 h 271"/>
                <a:gd name="T16" fmla="*/ 43 w 373"/>
                <a:gd name="T17" fmla="*/ 220 h 271"/>
                <a:gd name="T18" fmla="*/ 2 w 373"/>
                <a:gd name="T19" fmla="*/ 228 h 271"/>
                <a:gd name="T20" fmla="*/ 50 w 373"/>
                <a:gd name="T21" fmla="*/ 257 h 271"/>
                <a:gd name="T22" fmla="*/ 51 w 373"/>
                <a:gd name="T23" fmla="*/ 255 h 271"/>
                <a:gd name="T24" fmla="*/ 84 w 373"/>
                <a:gd name="T25" fmla="*/ 267 h 271"/>
                <a:gd name="T26" fmla="*/ 122 w 373"/>
                <a:gd name="T27" fmla="*/ 257 h 271"/>
                <a:gd name="T28" fmla="*/ 131 w 373"/>
                <a:gd name="T29" fmla="*/ 231 h 271"/>
                <a:gd name="T30" fmla="*/ 162 w 373"/>
                <a:gd name="T31" fmla="*/ 216 h 271"/>
                <a:gd name="T32" fmla="*/ 161 w 373"/>
                <a:gd name="T33" fmla="*/ 207 h 271"/>
                <a:gd name="T34" fmla="*/ 181 w 373"/>
                <a:gd name="T35" fmla="*/ 197 h 271"/>
                <a:gd name="T36" fmla="*/ 182 w 373"/>
                <a:gd name="T37" fmla="*/ 176 h 271"/>
                <a:gd name="T38" fmla="*/ 194 w 373"/>
                <a:gd name="T39" fmla="*/ 169 h 271"/>
                <a:gd name="T40" fmla="*/ 208 w 373"/>
                <a:gd name="T41" fmla="*/ 163 h 271"/>
                <a:gd name="T42" fmla="*/ 237 w 373"/>
                <a:gd name="T43" fmla="*/ 155 h 271"/>
                <a:gd name="T44" fmla="*/ 320 w 373"/>
                <a:gd name="T45" fmla="*/ 107 h 271"/>
                <a:gd name="T46" fmla="*/ 311 w 373"/>
                <a:gd name="T47" fmla="*/ 98 h 271"/>
                <a:gd name="T48" fmla="*/ 364 w 373"/>
                <a:gd name="T49" fmla="*/ 81 h 271"/>
                <a:gd name="T50" fmla="*/ 365 w 373"/>
                <a:gd name="T51" fmla="*/ 52 h 271"/>
                <a:gd name="T52" fmla="*/ 340 w 373"/>
                <a:gd name="T53" fmla="*/ 38 h 271"/>
                <a:gd name="T54" fmla="*/ 338 w 373"/>
                <a:gd name="T55" fmla="*/ 39 h 271"/>
                <a:gd name="T56" fmla="*/ 342 w 373"/>
                <a:gd name="T57" fmla="*/ 26 h 271"/>
                <a:gd name="T58" fmla="*/ 305 w 373"/>
                <a:gd name="T59" fmla="*/ 10 h 271"/>
                <a:gd name="T60" fmla="*/ 263 w 373"/>
                <a:gd name="T61" fmla="*/ 1 h 271"/>
                <a:gd name="T62" fmla="*/ 254 w 373"/>
                <a:gd name="T63" fmla="*/ 11 h 271"/>
                <a:gd name="T64" fmla="*/ 230 w 373"/>
                <a:gd name="T65" fmla="*/ 7 h 271"/>
                <a:gd name="T66" fmla="*/ 216 w 373"/>
                <a:gd name="T67" fmla="*/ 7 h 271"/>
                <a:gd name="T68" fmla="*/ 198 w 373"/>
                <a:gd name="T69" fmla="*/ 26 h 271"/>
                <a:gd name="T70" fmla="*/ 170 w 373"/>
                <a:gd name="T71" fmla="*/ 20 h 271"/>
                <a:gd name="T72" fmla="*/ 170 w 373"/>
                <a:gd name="T73" fmla="*/ 36 h 271"/>
                <a:gd name="T74" fmla="*/ 153 w 373"/>
                <a:gd name="T75" fmla="*/ 29 h 271"/>
                <a:gd name="T76" fmla="*/ 130 w 373"/>
                <a:gd name="T77" fmla="*/ 26 h 271"/>
                <a:gd name="T78" fmla="*/ 113 w 373"/>
                <a:gd name="T79" fmla="*/ 44 h 271"/>
                <a:gd name="T80" fmla="*/ 114 w 373"/>
                <a:gd name="T81" fmla="*/ 44 h 271"/>
                <a:gd name="T82" fmla="*/ 111 w 373"/>
                <a:gd name="T83" fmla="*/ 58 h 271"/>
                <a:gd name="T84" fmla="*/ 108 w 373"/>
                <a:gd name="T85" fmla="*/ 75 h 271"/>
                <a:gd name="T86" fmla="*/ 124 w 373"/>
                <a:gd name="T87" fmla="*/ 89 h 271"/>
                <a:gd name="T88" fmla="*/ 153 w 373"/>
                <a:gd name="T89" fmla="*/ 98 h 271"/>
                <a:gd name="T90" fmla="*/ 194 w 373"/>
                <a:gd name="T91" fmla="*/ 98 h 271"/>
                <a:gd name="T92" fmla="*/ 198 w 373"/>
                <a:gd name="T93" fmla="*/ 97 h 271"/>
                <a:gd name="T94" fmla="*/ 210 w 373"/>
                <a:gd name="T95" fmla="*/ 107 h 271"/>
                <a:gd name="T96" fmla="*/ 152 w 373"/>
                <a:gd name="T97" fmla="*/ 110 h 271"/>
                <a:gd name="T98" fmla="*/ 126 w 373"/>
                <a:gd name="T99" fmla="*/ 104 h 271"/>
                <a:gd name="T100" fmla="*/ 74 w 373"/>
                <a:gd name="T101" fmla="*/ 217 h 271"/>
                <a:gd name="T102" fmla="*/ 80 w 373"/>
                <a:gd name="T103" fmla="*/ 192 h 271"/>
                <a:gd name="T104" fmla="*/ 98 w 373"/>
                <a:gd name="T105" fmla="*/ 228 h 271"/>
                <a:gd name="T106" fmla="*/ 98 w 373"/>
                <a:gd name="T107" fmla="*/ 228 h 271"/>
                <a:gd name="T108" fmla="*/ 303 w 373"/>
                <a:gd name="T109" fmla="*/ 103 h 271"/>
                <a:gd name="T110" fmla="*/ 127 w 373"/>
                <a:gd name="T111" fmla="*/ 85 h 271"/>
                <a:gd name="T112" fmla="*/ 176 w 373"/>
                <a:gd name="T113" fmla="*/ 16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3" h="271">
                  <a:moveTo>
                    <a:pt x="108" y="119"/>
                  </a:moveTo>
                  <a:cubicBezTo>
                    <a:pt x="106" y="122"/>
                    <a:pt x="106" y="125"/>
                    <a:pt x="107" y="128"/>
                  </a:cubicBezTo>
                  <a:cubicBezTo>
                    <a:pt x="109" y="132"/>
                    <a:pt x="109" y="136"/>
                    <a:pt x="108" y="140"/>
                  </a:cubicBezTo>
                  <a:cubicBezTo>
                    <a:pt x="107" y="143"/>
                    <a:pt x="107" y="147"/>
                    <a:pt x="106" y="150"/>
                  </a:cubicBezTo>
                  <a:cubicBezTo>
                    <a:pt x="105" y="151"/>
                    <a:pt x="104" y="152"/>
                    <a:pt x="104" y="153"/>
                  </a:cubicBezTo>
                  <a:cubicBezTo>
                    <a:pt x="100" y="154"/>
                    <a:pt x="100" y="157"/>
                    <a:pt x="100" y="160"/>
                  </a:cubicBezTo>
                  <a:cubicBezTo>
                    <a:pt x="100" y="160"/>
                    <a:pt x="100" y="160"/>
                    <a:pt x="101" y="160"/>
                  </a:cubicBezTo>
                  <a:cubicBezTo>
                    <a:pt x="102" y="161"/>
                    <a:pt x="103" y="162"/>
                    <a:pt x="104" y="164"/>
                  </a:cubicBezTo>
                  <a:cubicBezTo>
                    <a:pt x="105" y="164"/>
                    <a:pt x="105" y="164"/>
                    <a:pt x="105" y="165"/>
                  </a:cubicBezTo>
                  <a:cubicBezTo>
                    <a:pt x="107" y="165"/>
                    <a:pt x="108" y="166"/>
                    <a:pt x="110" y="166"/>
                  </a:cubicBezTo>
                  <a:cubicBezTo>
                    <a:pt x="110" y="166"/>
                    <a:pt x="111" y="166"/>
                    <a:pt x="111" y="166"/>
                  </a:cubicBezTo>
                  <a:cubicBezTo>
                    <a:pt x="111" y="166"/>
                    <a:pt x="111" y="167"/>
                    <a:pt x="111" y="167"/>
                  </a:cubicBezTo>
                  <a:cubicBezTo>
                    <a:pt x="112" y="167"/>
                    <a:pt x="113" y="167"/>
                    <a:pt x="114" y="168"/>
                  </a:cubicBezTo>
                  <a:cubicBezTo>
                    <a:pt x="114" y="168"/>
                    <a:pt x="114" y="169"/>
                    <a:pt x="114" y="169"/>
                  </a:cubicBezTo>
                  <a:cubicBezTo>
                    <a:pt x="114" y="169"/>
                    <a:pt x="114" y="170"/>
                    <a:pt x="113" y="170"/>
                  </a:cubicBezTo>
                  <a:cubicBezTo>
                    <a:pt x="112" y="171"/>
                    <a:pt x="111" y="170"/>
                    <a:pt x="111" y="169"/>
                  </a:cubicBezTo>
                  <a:cubicBezTo>
                    <a:pt x="111" y="168"/>
                    <a:pt x="111" y="168"/>
                    <a:pt x="111" y="167"/>
                  </a:cubicBezTo>
                  <a:cubicBezTo>
                    <a:pt x="111" y="167"/>
                    <a:pt x="111" y="167"/>
                    <a:pt x="111" y="167"/>
                  </a:cubicBezTo>
                  <a:cubicBezTo>
                    <a:pt x="110" y="167"/>
                    <a:pt x="110" y="166"/>
                    <a:pt x="110" y="166"/>
                  </a:cubicBezTo>
                  <a:cubicBezTo>
                    <a:pt x="108" y="166"/>
                    <a:pt x="107" y="166"/>
                    <a:pt x="105" y="165"/>
                  </a:cubicBezTo>
                  <a:cubicBezTo>
                    <a:pt x="105" y="164"/>
                    <a:pt x="104" y="164"/>
                    <a:pt x="104" y="164"/>
                  </a:cubicBezTo>
                  <a:cubicBezTo>
                    <a:pt x="103" y="163"/>
                    <a:pt x="101" y="162"/>
                    <a:pt x="100" y="160"/>
                  </a:cubicBezTo>
                  <a:cubicBezTo>
                    <a:pt x="100" y="160"/>
                    <a:pt x="100" y="160"/>
                    <a:pt x="100" y="160"/>
                  </a:cubicBezTo>
                  <a:cubicBezTo>
                    <a:pt x="97" y="160"/>
                    <a:pt x="94" y="161"/>
                    <a:pt x="90" y="161"/>
                  </a:cubicBezTo>
                  <a:cubicBezTo>
                    <a:pt x="89" y="162"/>
                    <a:pt x="87" y="162"/>
                    <a:pt x="85" y="163"/>
                  </a:cubicBezTo>
                  <a:cubicBezTo>
                    <a:pt x="81" y="163"/>
                    <a:pt x="78" y="163"/>
                    <a:pt x="74" y="164"/>
                  </a:cubicBezTo>
                  <a:cubicBezTo>
                    <a:pt x="72" y="169"/>
                    <a:pt x="69" y="174"/>
                    <a:pt x="64" y="177"/>
                  </a:cubicBezTo>
                  <a:cubicBezTo>
                    <a:pt x="61" y="179"/>
                    <a:pt x="59" y="182"/>
                    <a:pt x="59" y="186"/>
                  </a:cubicBezTo>
                  <a:cubicBezTo>
                    <a:pt x="58" y="188"/>
                    <a:pt x="60" y="190"/>
                    <a:pt x="62" y="191"/>
                  </a:cubicBezTo>
                  <a:cubicBezTo>
                    <a:pt x="63" y="191"/>
                    <a:pt x="64" y="191"/>
                    <a:pt x="65" y="191"/>
                  </a:cubicBezTo>
                  <a:cubicBezTo>
                    <a:pt x="70" y="192"/>
                    <a:pt x="72" y="193"/>
                    <a:pt x="72" y="198"/>
                  </a:cubicBezTo>
                  <a:cubicBezTo>
                    <a:pt x="72" y="200"/>
                    <a:pt x="72" y="202"/>
                    <a:pt x="72" y="204"/>
                  </a:cubicBezTo>
                  <a:cubicBezTo>
                    <a:pt x="72" y="206"/>
                    <a:pt x="71" y="209"/>
                    <a:pt x="69" y="211"/>
                  </a:cubicBezTo>
                  <a:cubicBezTo>
                    <a:pt x="68" y="211"/>
                    <a:pt x="68" y="211"/>
                    <a:pt x="67" y="211"/>
                  </a:cubicBezTo>
                  <a:cubicBezTo>
                    <a:pt x="67" y="211"/>
                    <a:pt x="66" y="211"/>
                    <a:pt x="66" y="211"/>
                  </a:cubicBezTo>
                  <a:cubicBezTo>
                    <a:pt x="65" y="207"/>
                    <a:pt x="65" y="203"/>
                    <a:pt x="64" y="200"/>
                  </a:cubicBezTo>
                  <a:cubicBezTo>
                    <a:pt x="63" y="198"/>
                    <a:pt x="61" y="197"/>
                    <a:pt x="59" y="196"/>
                  </a:cubicBezTo>
                  <a:cubicBezTo>
                    <a:pt x="56" y="194"/>
                    <a:pt x="52" y="194"/>
                    <a:pt x="48" y="196"/>
                  </a:cubicBezTo>
                  <a:cubicBezTo>
                    <a:pt x="48" y="196"/>
                    <a:pt x="47" y="197"/>
                    <a:pt x="46" y="198"/>
                  </a:cubicBezTo>
                  <a:cubicBezTo>
                    <a:pt x="46" y="199"/>
                    <a:pt x="45" y="201"/>
                    <a:pt x="45" y="202"/>
                  </a:cubicBezTo>
                  <a:cubicBezTo>
                    <a:pt x="45" y="208"/>
                    <a:pt x="46" y="214"/>
                    <a:pt x="47" y="220"/>
                  </a:cubicBezTo>
                  <a:cubicBezTo>
                    <a:pt x="47" y="220"/>
                    <a:pt x="47" y="220"/>
                    <a:pt x="48" y="220"/>
                  </a:cubicBezTo>
                  <a:cubicBezTo>
                    <a:pt x="47" y="220"/>
                    <a:pt x="47" y="220"/>
                    <a:pt x="47" y="220"/>
                  </a:cubicBezTo>
                  <a:cubicBezTo>
                    <a:pt x="47" y="220"/>
                    <a:pt x="47" y="220"/>
                    <a:pt x="47" y="220"/>
                  </a:cubicBezTo>
                  <a:cubicBezTo>
                    <a:pt x="46" y="220"/>
                    <a:pt x="44" y="220"/>
                    <a:pt x="43" y="220"/>
                  </a:cubicBezTo>
                  <a:cubicBezTo>
                    <a:pt x="33" y="218"/>
                    <a:pt x="24" y="221"/>
                    <a:pt x="16" y="226"/>
                  </a:cubicBezTo>
                  <a:cubicBezTo>
                    <a:pt x="16" y="226"/>
                    <a:pt x="15" y="226"/>
                    <a:pt x="15" y="227"/>
                  </a:cubicBezTo>
                  <a:cubicBezTo>
                    <a:pt x="13" y="227"/>
                    <a:pt x="12" y="228"/>
                    <a:pt x="11" y="229"/>
                  </a:cubicBezTo>
                  <a:cubicBezTo>
                    <a:pt x="9" y="231"/>
                    <a:pt x="8" y="229"/>
                    <a:pt x="7" y="228"/>
                  </a:cubicBezTo>
                  <a:cubicBezTo>
                    <a:pt x="5" y="226"/>
                    <a:pt x="2" y="226"/>
                    <a:pt x="2" y="228"/>
                  </a:cubicBezTo>
                  <a:cubicBezTo>
                    <a:pt x="0" y="231"/>
                    <a:pt x="0" y="236"/>
                    <a:pt x="2" y="238"/>
                  </a:cubicBezTo>
                  <a:cubicBezTo>
                    <a:pt x="8" y="242"/>
                    <a:pt x="13" y="246"/>
                    <a:pt x="19" y="248"/>
                  </a:cubicBezTo>
                  <a:cubicBezTo>
                    <a:pt x="26" y="250"/>
                    <a:pt x="32" y="254"/>
                    <a:pt x="38" y="257"/>
                  </a:cubicBezTo>
                  <a:cubicBezTo>
                    <a:pt x="39" y="258"/>
                    <a:pt x="41" y="259"/>
                    <a:pt x="42" y="259"/>
                  </a:cubicBezTo>
                  <a:cubicBezTo>
                    <a:pt x="45" y="260"/>
                    <a:pt x="48" y="260"/>
                    <a:pt x="50" y="257"/>
                  </a:cubicBezTo>
                  <a:cubicBezTo>
                    <a:pt x="50" y="256"/>
                    <a:pt x="51" y="255"/>
                    <a:pt x="51" y="255"/>
                  </a:cubicBezTo>
                  <a:cubicBezTo>
                    <a:pt x="51" y="255"/>
                    <a:pt x="51" y="255"/>
                    <a:pt x="51" y="255"/>
                  </a:cubicBezTo>
                  <a:cubicBezTo>
                    <a:pt x="51" y="254"/>
                    <a:pt x="51" y="254"/>
                    <a:pt x="51" y="254"/>
                  </a:cubicBezTo>
                  <a:cubicBezTo>
                    <a:pt x="51" y="254"/>
                    <a:pt x="51" y="254"/>
                    <a:pt x="51" y="254"/>
                  </a:cubicBezTo>
                  <a:cubicBezTo>
                    <a:pt x="51" y="255"/>
                    <a:pt x="51" y="255"/>
                    <a:pt x="51" y="255"/>
                  </a:cubicBezTo>
                  <a:cubicBezTo>
                    <a:pt x="54" y="254"/>
                    <a:pt x="56" y="253"/>
                    <a:pt x="59" y="255"/>
                  </a:cubicBezTo>
                  <a:cubicBezTo>
                    <a:pt x="64" y="259"/>
                    <a:pt x="70" y="261"/>
                    <a:pt x="77" y="260"/>
                  </a:cubicBezTo>
                  <a:cubicBezTo>
                    <a:pt x="78" y="260"/>
                    <a:pt x="79" y="260"/>
                    <a:pt x="80" y="260"/>
                  </a:cubicBezTo>
                  <a:cubicBezTo>
                    <a:pt x="83" y="261"/>
                    <a:pt x="84" y="262"/>
                    <a:pt x="85" y="266"/>
                  </a:cubicBezTo>
                  <a:cubicBezTo>
                    <a:pt x="85" y="266"/>
                    <a:pt x="84" y="267"/>
                    <a:pt x="84" y="267"/>
                  </a:cubicBezTo>
                  <a:cubicBezTo>
                    <a:pt x="85" y="270"/>
                    <a:pt x="87" y="271"/>
                    <a:pt x="89" y="271"/>
                  </a:cubicBezTo>
                  <a:cubicBezTo>
                    <a:pt x="92" y="270"/>
                    <a:pt x="96" y="269"/>
                    <a:pt x="100" y="268"/>
                  </a:cubicBezTo>
                  <a:cubicBezTo>
                    <a:pt x="102" y="268"/>
                    <a:pt x="105" y="266"/>
                    <a:pt x="107" y="266"/>
                  </a:cubicBezTo>
                  <a:cubicBezTo>
                    <a:pt x="114" y="267"/>
                    <a:pt x="117" y="262"/>
                    <a:pt x="121" y="259"/>
                  </a:cubicBezTo>
                  <a:cubicBezTo>
                    <a:pt x="121" y="258"/>
                    <a:pt x="122" y="258"/>
                    <a:pt x="122" y="257"/>
                  </a:cubicBezTo>
                  <a:cubicBezTo>
                    <a:pt x="124" y="253"/>
                    <a:pt x="123" y="250"/>
                    <a:pt x="118" y="247"/>
                  </a:cubicBezTo>
                  <a:cubicBezTo>
                    <a:pt x="117" y="247"/>
                    <a:pt x="115" y="246"/>
                    <a:pt x="115" y="245"/>
                  </a:cubicBezTo>
                  <a:cubicBezTo>
                    <a:pt x="114" y="242"/>
                    <a:pt x="115" y="241"/>
                    <a:pt x="117" y="239"/>
                  </a:cubicBezTo>
                  <a:cubicBezTo>
                    <a:pt x="118" y="238"/>
                    <a:pt x="119" y="237"/>
                    <a:pt x="121" y="236"/>
                  </a:cubicBezTo>
                  <a:cubicBezTo>
                    <a:pt x="124" y="235"/>
                    <a:pt x="127" y="233"/>
                    <a:pt x="131" y="231"/>
                  </a:cubicBezTo>
                  <a:cubicBezTo>
                    <a:pt x="135" y="229"/>
                    <a:pt x="138" y="226"/>
                    <a:pt x="139" y="222"/>
                  </a:cubicBezTo>
                  <a:cubicBezTo>
                    <a:pt x="140" y="221"/>
                    <a:pt x="140" y="220"/>
                    <a:pt x="140" y="219"/>
                  </a:cubicBezTo>
                  <a:cubicBezTo>
                    <a:pt x="140" y="219"/>
                    <a:pt x="141" y="218"/>
                    <a:pt x="141" y="218"/>
                  </a:cubicBezTo>
                  <a:cubicBezTo>
                    <a:pt x="142" y="216"/>
                    <a:pt x="144" y="214"/>
                    <a:pt x="146" y="215"/>
                  </a:cubicBezTo>
                  <a:cubicBezTo>
                    <a:pt x="152" y="217"/>
                    <a:pt x="157" y="216"/>
                    <a:pt x="162" y="216"/>
                  </a:cubicBezTo>
                  <a:cubicBezTo>
                    <a:pt x="165" y="216"/>
                    <a:pt x="166" y="213"/>
                    <a:pt x="165" y="210"/>
                  </a:cubicBezTo>
                  <a:cubicBezTo>
                    <a:pt x="165" y="209"/>
                    <a:pt x="164" y="208"/>
                    <a:pt x="164" y="208"/>
                  </a:cubicBezTo>
                  <a:cubicBezTo>
                    <a:pt x="164" y="208"/>
                    <a:pt x="164" y="208"/>
                    <a:pt x="164" y="208"/>
                  </a:cubicBezTo>
                  <a:cubicBezTo>
                    <a:pt x="163" y="208"/>
                    <a:pt x="163" y="207"/>
                    <a:pt x="163" y="207"/>
                  </a:cubicBezTo>
                  <a:cubicBezTo>
                    <a:pt x="162" y="207"/>
                    <a:pt x="162" y="207"/>
                    <a:pt x="161" y="207"/>
                  </a:cubicBezTo>
                  <a:cubicBezTo>
                    <a:pt x="162" y="206"/>
                    <a:pt x="162" y="207"/>
                    <a:pt x="163" y="207"/>
                  </a:cubicBezTo>
                  <a:cubicBezTo>
                    <a:pt x="163" y="207"/>
                    <a:pt x="164" y="207"/>
                    <a:pt x="164" y="207"/>
                  </a:cubicBezTo>
                  <a:cubicBezTo>
                    <a:pt x="164" y="207"/>
                    <a:pt x="164" y="208"/>
                    <a:pt x="164" y="208"/>
                  </a:cubicBezTo>
                  <a:cubicBezTo>
                    <a:pt x="169" y="208"/>
                    <a:pt x="173" y="207"/>
                    <a:pt x="176" y="203"/>
                  </a:cubicBezTo>
                  <a:cubicBezTo>
                    <a:pt x="177" y="201"/>
                    <a:pt x="179" y="199"/>
                    <a:pt x="181" y="197"/>
                  </a:cubicBezTo>
                  <a:cubicBezTo>
                    <a:pt x="183" y="195"/>
                    <a:pt x="185" y="193"/>
                    <a:pt x="186" y="191"/>
                  </a:cubicBezTo>
                  <a:cubicBezTo>
                    <a:pt x="188" y="189"/>
                    <a:pt x="188" y="186"/>
                    <a:pt x="186" y="183"/>
                  </a:cubicBezTo>
                  <a:cubicBezTo>
                    <a:pt x="185" y="181"/>
                    <a:pt x="183" y="179"/>
                    <a:pt x="184" y="177"/>
                  </a:cubicBezTo>
                  <a:cubicBezTo>
                    <a:pt x="183" y="176"/>
                    <a:pt x="183" y="176"/>
                    <a:pt x="183" y="176"/>
                  </a:cubicBezTo>
                  <a:cubicBezTo>
                    <a:pt x="183" y="176"/>
                    <a:pt x="183" y="176"/>
                    <a:pt x="182" y="176"/>
                  </a:cubicBezTo>
                  <a:cubicBezTo>
                    <a:pt x="183" y="176"/>
                    <a:pt x="183" y="176"/>
                    <a:pt x="184" y="176"/>
                  </a:cubicBezTo>
                  <a:cubicBezTo>
                    <a:pt x="184" y="176"/>
                    <a:pt x="184" y="176"/>
                    <a:pt x="184" y="177"/>
                  </a:cubicBezTo>
                  <a:cubicBezTo>
                    <a:pt x="186" y="177"/>
                    <a:pt x="188" y="178"/>
                    <a:pt x="191" y="179"/>
                  </a:cubicBezTo>
                  <a:cubicBezTo>
                    <a:pt x="194" y="180"/>
                    <a:pt x="196" y="178"/>
                    <a:pt x="197" y="175"/>
                  </a:cubicBezTo>
                  <a:cubicBezTo>
                    <a:pt x="197" y="173"/>
                    <a:pt x="196" y="170"/>
                    <a:pt x="194" y="169"/>
                  </a:cubicBezTo>
                  <a:cubicBezTo>
                    <a:pt x="192" y="168"/>
                    <a:pt x="190" y="167"/>
                    <a:pt x="188" y="167"/>
                  </a:cubicBezTo>
                  <a:cubicBezTo>
                    <a:pt x="187" y="166"/>
                    <a:pt x="187" y="166"/>
                    <a:pt x="186" y="166"/>
                  </a:cubicBezTo>
                  <a:cubicBezTo>
                    <a:pt x="187" y="165"/>
                    <a:pt x="188" y="164"/>
                    <a:pt x="188" y="164"/>
                  </a:cubicBezTo>
                  <a:cubicBezTo>
                    <a:pt x="190" y="163"/>
                    <a:pt x="192" y="162"/>
                    <a:pt x="193" y="162"/>
                  </a:cubicBezTo>
                  <a:cubicBezTo>
                    <a:pt x="198" y="163"/>
                    <a:pt x="203" y="163"/>
                    <a:pt x="208" y="163"/>
                  </a:cubicBezTo>
                  <a:cubicBezTo>
                    <a:pt x="211" y="163"/>
                    <a:pt x="213" y="161"/>
                    <a:pt x="213" y="158"/>
                  </a:cubicBezTo>
                  <a:cubicBezTo>
                    <a:pt x="214" y="157"/>
                    <a:pt x="214" y="156"/>
                    <a:pt x="214" y="155"/>
                  </a:cubicBezTo>
                  <a:cubicBezTo>
                    <a:pt x="215" y="156"/>
                    <a:pt x="216" y="156"/>
                    <a:pt x="217" y="157"/>
                  </a:cubicBezTo>
                  <a:cubicBezTo>
                    <a:pt x="218" y="157"/>
                    <a:pt x="219" y="158"/>
                    <a:pt x="219" y="159"/>
                  </a:cubicBezTo>
                  <a:cubicBezTo>
                    <a:pt x="227" y="162"/>
                    <a:pt x="231" y="161"/>
                    <a:pt x="237" y="155"/>
                  </a:cubicBezTo>
                  <a:cubicBezTo>
                    <a:pt x="242" y="149"/>
                    <a:pt x="248" y="143"/>
                    <a:pt x="256" y="139"/>
                  </a:cubicBezTo>
                  <a:cubicBezTo>
                    <a:pt x="260" y="137"/>
                    <a:pt x="264" y="136"/>
                    <a:pt x="266" y="132"/>
                  </a:cubicBezTo>
                  <a:cubicBezTo>
                    <a:pt x="268" y="130"/>
                    <a:pt x="271" y="129"/>
                    <a:pt x="273" y="128"/>
                  </a:cubicBezTo>
                  <a:cubicBezTo>
                    <a:pt x="282" y="126"/>
                    <a:pt x="289" y="121"/>
                    <a:pt x="298" y="120"/>
                  </a:cubicBezTo>
                  <a:cubicBezTo>
                    <a:pt x="305" y="115"/>
                    <a:pt x="313" y="111"/>
                    <a:pt x="320" y="107"/>
                  </a:cubicBezTo>
                  <a:cubicBezTo>
                    <a:pt x="321" y="106"/>
                    <a:pt x="322" y="104"/>
                    <a:pt x="322" y="103"/>
                  </a:cubicBezTo>
                  <a:cubicBezTo>
                    <a:pt x="323" y="101"/>
                    <a:pt x="322" y="100"/>
                    <a:pt x="318" y="99"/>
                  </a:cubicBezTo>
                  <a:cubicBezTo>
                    <a:pt x="316" y="99"/>
                    <a:pt x="314" y="98"/>
                    <a:pt x="312" y="97"/>
                  </a:cubicBezTo>
                  <a:cubicBezTo>
                    <a:pt x="312" y="97"/>
                    <a:pt x="312" y="97"/>
                    <a:pt x="312" y="97"/>
                  </a:cubicBezTo>
                  <a:cubicBezTo>
                    <a:pt x="311" y="98"/>
                    <a:pt x="311" y="98"/>
                    <a:pt x="311" y="98"/>
                  </a:cubicBezTo>
                  <a:cubicBezTo>
                    <a:pt x="312" y="97"/>
                    <a:pt x="312" y="97"/>
                    <a:pt x="312" y="97"/>
                  </a:cubicBezTo>
                  <a:cubicBezTo>
                    <a:pt x="312" y="97"/>
                    <a:pt x="312" y="97"/>
                    <a:pt x="312" y="97"/>
                  </a:cubicBezTo>
                  <a:cubicBezTo>
                    <a:pt x="313" y="95"/>
                    <a:pt x="313" y="94"/>
                    <a:pt x="316" y="94"/>
                  </a:cubicBezTo>
                  <a:cubicBezTo>
                    <a:pt x="324" y="93"/>
                    <a:pt x="333" y="92"/>
                    <a:pt x="341" y="92"/>
                  </a:cubicBezTo>
                  <a:cubicBezTo>
                    <a:pt x="348" y="88"/>
                    <a:pt x="356" y="84"/>
                    <a:pt x="364" y="81"/>
                  </a:cubicBezTo>
                  <a:cubicBezTo>
                    <a:pt x="365" y="80"/>
                    <a:pt x="366" y="80"/>
                    <a:pt x="367" y="79"/>
                  </a:cubicBezTo>
                  <a:cubicBezTo>
                    <a:pt x="369" y="77"/>
                    <a:pt x="371" y="75"/>
                    <a:pt x="372" y="73"/>
                  </a:cubicBezTo>
                  <a:cubicBezTo>
                    <a:pt x="373" y="70"/>
                    <a:pt x="373" y="67"/>
                    <a:pt x="373" y="64"/>
                  </a:cubicBezTo>
                  <a:cubicBezTo>
                    <a:pt x="373" y="61"/>
                    <a:pt x="371" y="58"/>
                    <a:pt x="368" y="57"/>
                  </a:cubicBezTo>
                  <a:cubicBezTo>
                    <a:pt x="366" y="56"/>
                    <a:pt x="365" y="55"/>
                    <a:pt x="365" y="52"/>
                  </a:cubicBezTo>
                  <a:cubicBezTo>
                    <a:pt x="365" y="49"/>
                    <a:pt x="365" y="45"/>
                    <a:pt x="365" y="41"/>
                  </a:cubicBezTo>
                  <a:cubicBezTo>
                    <a:pt x="365" y="40"/>
                    <a:pt x="364" y="39"/>
                    <a:pt x="363" y="39"/>
                  </a:cubicBezTo>
                  <a:cubicBezTo>
                    <a:pt x="360" y="38"/>
                    <a:pt x="356" y="36"/>
                    <a:pt x="353" y="36"/>
                  </a:cubicBezTo>
                  <a:cubicBezTo>
                    <a:pt x="349" y="35"/>
                    <a:pt x="346" y="35"/>
                    <a:pt x="343" y="37"/>
                  </a:cubicBezTo>
                  <a:cubicBezTo>
                    <a:pt x="342" y="37"/>
                    <a:pt x="341" y="37"/>
                    <a:pt x="340" y="38"/>
                  </a:cubicBezTo>
                  <a:cubicBezTo>
                    <a:pt x="340" y="38"/>
                    <a:pt x="339" y="38"/>
                    <a:pt x="339" y="38"/>
                  </a:cubicBezTo>
                  <a:cubicBezTo>
                    <a:pt x="339" y="39"/>
                    <a:pt x="339" y="39"/>
                    <a:pt x="338" y="39"/>
                  </a:cubicBezTo>
                  <a:cubicBezTo>
                    <a:pt x="338" y="39"/>
                    <a:pt x="337" y="40"/>
                    <a:pt x="337" y="40"/>
                  </a:cubicBezTo>
                  <a:cubicBezTo>
                    <a:pt x="337" y="40"/>
                    <a:pt x="336" y="40"/>
                    <a:pt x="336" y="40"/>
                  </a:cubicBezTo>
                  <a:cubicBezTo>
                    <a:pt x="336" y="39"/>
                    <a:pt x="337" y="39"/>
                    <a:pt x="338" y="39"/>
                  </a:cubicBezTo>
                  <a:cubicBezTo>
                    <a:pt x="338" y="38"/>
                    <a:pt x="339" y="38"/>
                    <a:pt x="339" y="38"/>
                  </a:cubicBezTo>
                  <a:cubicBezTo>
                    <a:pt x="339" y="38"/>
                    <a:pt x="339" y="38"/>
                    <a:pt x="340" y="38"/>
                  </a:cubicBezTo>
                  <a:cubicBezTo>
                    <a:pt x="341" y="36"/>
                    <a:pt x="343" y="34"/>
                    <a:pt x="345" y="33"/>
                  </a:cubicBezTo>
                  <a:cubicBezTo>
                    <a:pt x="347" y="31"/>
                    <a:pt x="348" y="30"/>
                    <a:pt x="345" y="28"/>
                  </a:cubicBezTo>
                  <a:cubicBezTo>
                    <a:pt x="344" y="27"/>
                    <a:pt x="343" y="27"/>
                    <a:pt x="342" y="26"/>
                  </a:cubicBezTo>
                  <a:cubicBezTo>
                    <a:pt x="341" y="26"/>
                    <a:pt x="341" y="25"/>
                    <a:pt x="341" y="25"/>
                  </a:cubicBezTo>
                  <a:cubicBezTo>
                    <a:pt x="336" y="25"/>
                    <a:pt x="333" y="22"/>
                    <a:pt x="329" y="21"/>
                  </a:cubicBezTo>
                  <a:cubicBezTo>
                    <a:pt x="325" y="21"/>
                    <a:pt x="324" y="19"/>
                    <a:pt x="323" y="16"/>
                  </a:cubicBezTo>
                  <a:cubicBezTo>
                    <a:pt x="322" y="14"/>
                    <a:pt x="320" y="13"/>
                    <a:pt x="318" y="12"/>
                  </a:cubicBezTo>
                  <a:cubicBezTo>
                    <a:pt x="314" y="12"/>
                    <a:pt x="309" y="11"/>
                    <a:pt x="305" y="10"/>
                  </a:cubicBezTo>
                  <a:cubicBezTo>
                    <a:pt x="301" y="8"/>
                    <a:pt x="297" y="9"/>
                    <a:pt x="293" y="11"/>
                  </a:cubicBezTo>
                  <a:cubicBezTo>
                    <a:pt x="290" y="13"/>
                    <a:pt x="288" y="11"/>
                    <a:pt x="288" y="8"/>
                  </a:cubicBezTo>
                  <a:cubicBezTo>
                    <a:pt x="288" y="6"/>
                    <a:pt x="289" y="5"/>
                    <a:pt x="288" y="5"/>
                  </a:cubicBezTo>
                  <a:cubicBezTo>
                    <a:pt x="282" y="3"/>
                    <a:pt x="276" y="2"/>
                    <a:pt x="270" y="1"/>
                  </a:cubicBezTo>
                  <a:cubicBezTo>
                    <a:pt x="268" y="0"/>
                    <a:pt x="266" y="1"/>
                    <a:pt x="263" y="1"/>
                  </a:cubicBezTo>
                  <a:cubicBezTo>
                    <a:pt x="261" y="1"/>
                    <a:pt x="259" y="3"/>
                    <a:pt x="259" y="5"/>
                  </a:cubicBezTo>
                  <a:cubicBezTo>
                    <a:pt x="259" y="9"/>
                    <a:pt x="258" y="12"/>
                    <a:pt x="258" y="16"/>
                  </a:cubicBezTo>
                  <a:cubicBezTo>
                    <a:pt x="258" y="16"/>
                    <a:pt x="257" y="17"/>
                    <a:pt x="257" y="17"/>
                  </a:cubicBezTo>
                  <a:cubicBezTo>
                    <a:pt x="256" y="17"/>
                    <a:pt x="255" y="17"/>
                    <a:pt x="254" y="15"/>
                  </a:cubicBezTo>
                  <a:cubicBezTo>
                    <a:pt x="254" y="14"/>
                    <a:pt x="254" y="12"/>
                    <a:pt x="254" y="11"/>
                  </a:cubicBezTo>
                  <a:cubicBezTo>
                    <a:pt x="254" y="10"/>
                    <a:pt x="254" y="10"/>
                    <a:pt x="254" y="9"/>
                  </a:cubicBezTo>
                  <a:cubicBezTo>
                    <a:pt x="253" y="9"/>
                    <a:pt x="252" y="7"/>
                    <a:pt x="251" y="8"/>
                  </a:cubicBezTo>
                  <a:cubicBezTo>
                    <a:pt x="247" y="8"/>
                    <a:pt x="244" y="5"/>
                    <a:pt x="242" y="2"/>
                  </a:cubicBezTo>
                  <a:cubicBezTo>
                    <a:pt x="240" y="0"/>
                    <a:pt x="237" y="0"/>
                    <a:pt x="234" y="1"/>
                  </a:cubicBezTo>
                  <a:cubicBezTo>
                    <a:pt x="232" y="2"/>
                    <a:pt x="230" y="4"/>
                    <a:pt x="230" y="7"/>
                  </a:cubicBezTo>
                  <a:cubicBezTo>
                    <a:pt x="230" y="9"/>
                    <a:pt x="231" y="11"/>
                    <a:pt x="231" y="13"/>
                  </a:cubicBezTo>
                  <a:cubicBezTo>
                    <a:pt x="231" y="14"/>
                    <a:pt x="230" y="14"/>
                    <a:pt x="230" y="14"/>
                  </a:cubicBezTo>
                  <a:cubicBezTo>
                    <a:pt x="230" y="15"/>
                    <a:pt x="229" y="15"/>
                    <a:pt x="228" y="14"/>
                  </a:cubicBezTo>
                  <a:cubicBezTo>
                    <a:pt x="227" y="12"/>
                    <a:pt x="226" y="9"/>
                    <a:pt x="224" y="6"/>
                  </a:cubicBezTo>
                  <a:cubicBezTo>
                    <a:pt x="222" y="3"/>
                    <a:pt x="218" y="4"/>
                    <a:pt x="216" y="7"/>
                  </a:cubicBezTo>
                  <a:cubicBezTo>
                    <a:pt x="214" y="10"/>
                    <a:pt x="214" y="10"/>
                    <a:pt x="212" y="9"/>
                  </a:cubicBezTo>
                  <a:cubicBezTo>
                    <a:pt x="211" y="9"/>
                    <a:pt x="211" y="9"/>
                    <a:pt x="210" y="9"/>
                  </a:cubicBezTo>
                  <a:cubicBezTo>
                    <a:pt x="207" y="8"/>
                    <a:pt x="204" y="10"/>
                    <a:pt x="205" y="12"/>
                  </a:cubicBezTo>
                  <a:cubicBezTo>
                    <a:pt x="206" y="16"/>
                    <a:pt x="205" y="19"/>
                    <a:pt x="201" y="21"/>
                  </a:cubicBezTo>
                  <a:cubicBezTo>
                    <a:pt x="200" y="22"/>
                    <a:pt x="200" y="25"/>
                    <a:pt x="198" y="26"/>
                  </a:cubicBezTo>
                  <a:cubicBezTo>
                    <a:pt x="197" y="28"/>
                    <a:pt x="192" y="28"/>
                    <a:pt x="191" y="26"/>
                  </a:cubicBezTo>
                  <a:cubicBezTo>
                    <a:pt x="189" y="22"/>
                    <a:pt x="187" y="17"/>
                    <a:pt x="185" y="13"/>
                  </a:cubicBezTo>
                  <a:cubicBezTo>
                    <a:pt x="184" y="12"/>
                    <a:pt x="181" y="12"/>
                    <a:pt x="179" y="11"/>
                  </a:cubicBezTo>
                  <a:cubicBezTo>
                    <a:pt x="177" y="11"/>
                    <a:pt x="175" y="12"/>
                    <a:pt x="175" y="15"/>
                  </a:cubicBezTo>
                  <a:cubicBezTo>
                    <a:pt x="174" y="18"/>
                    <a:pt x="173" y="20"/>
                    <a:pt x="170" y="20"/>
                  </a:cubicBezTo>
                  <a:cubicBezTo>
                    <a:pt x="168" y="20"/>
                    <a:pt x="167" y="20"/>
                    <a:pt x="166" y="21"/>
                  </a:cubicBezTo>
                  <a:cubicBezTo>
                    <a:pt x="166" y="21"/>
                    <a:pt x="165" y="23"/>
                    <a:pt x="165" y="23"/>
                  </a:cubicBezTo>
                  <a:cubicBezTo>
                    <a:pt x="166" y="27"/>
                    <a:pt x="168" y="31"/>
                    <a:pt x="170" y="35"/>
                  </a:cubicBezTo>
                  <a:cubicBezTo>
                    <a:pt x="170" y="35"/>
                    <a:pt x="170" y="35"/>
                    <a:pt x="170" y="35"/>
                  </a:cubicBezTo>
                  <a:cubicBezTo>
                    <a:pt x="170" y="36"/>
                    <a:pt x="170" y="36"/>
                    <a:pt x="170" y="36"/>
                  </a:cubicBezTo>
                  <a:cubicBezTo>
                    <a:pt x="170" y="35"/>
                    <a:pt x="170" y="35"/>
                    <a:pt x="170" y="35"/>
                  </a:cubicBezTo>
                  <a:cubicBezTo>
                    <a:pt x="170" y="35"/>
                    <a:pt x="170" y="35"/>
                    <a:pt x="170" y="35"/>
                  </a:cubicBezTo>
                  <a:cubicBezTo>
                    <a:pt x="167" y="35"/>
                    <a:pt x="165" y="34"/>
                    <a:pt x="163" y="32"/>
                  </a:cubicBezTo>
                  <a:cubicBezTo>
                    <a:pt x="162" y="30"/>
                    <a:pt x="160" y="29"/>
                    <a:pt x="157" y="30"/>
                  </a:cubicBezTo>
                  <a:cubicBezTo>
                    <a:pt x="155" y="30"/>
                    <a:pt x="154" y="30"/>
                    <a:pt x="153" y="29"/>
                  </a:cubicBezTo>
                  <a:cubicBezTo>
                    <a:pt x="152" y="28"/>
                    <a:pt x="151" y="26"/>
                    <a:pt x="150" y="25"/>
                  </a:cubicBezTo>
                  <a:cubicBezTo>
                    <a:pt x="148" y="23"/>
                    <a:pt x="146" y="23"/>
                    <a:pt x="144" y="24"/>
                  </a:cubicBezTo>
                  <a:cubicBezTo>
                    <a:pt x="143" y="26"/>
                    <a:pt x="141" y="27"/>
                    <a:pt x="140" y="29"/>
                  </a:cubicBezTo>
                  <a:cubicBezTo>
                    <a:pt x="139" y="30"/>
                    <a:pt x="138" y="29"/>
                    <a:pt x="137" y="28"/>
                  </a:cubicBezTo>
                  <a:cubicBezTo>
                    <a:pt x="135" y="26"/>
                    <a:pt x="132" y="26"/>
                    <a:pt x="130" y="26"/>
                  </a:cubicBezTo>
                  <a:cubicBezTo>
                    <a:pt x="124" y="28"/>
                    <a:pt x="118" y="29"/>
                    <a:pt x="113" y="32"/>
                  </a:cubicBezTo>
                  <a:cubicBezTo>
                    <a:pt x="111" y="33"/>
                    <a:pt x="110" y="34"/>
                    <a:pt x="109" y="36"/>
                  </a:cubicBezTo>
                  <a:cubicBezTo>
                    <a:pt x="107" y="38"/>
                    <a:pt x="108" y="42"/>
                    <a:pt x="110" y="44"/>
                  </a:cubicBezTo>
                  <a:cubicBezTo>
                    <a:pt x="111" y="44"/>
                    <a:pt x="112" y="44"/>
                    <a:pt x="113" y="44"/>
                  </a:cubicBezTo>
                  <a:cubicBezTo>
                    <a:pt x="113" y="44"/>
                    <a:pt x="113" y="44"/>
                    <a:pt x="113" y="44"/>
                  </a:cubicBezTo>
                  <a:cubicBezTo>
                    <a:pt x="113" y="44"/>
                    <a:pt x="114" y="44"/>
                    <a:pt x="114" y="44"/>
                  </a:cubicBezTo>
                  <a:cubicBezTo>
                    <a:pt x="115" y="43"/>
                    <a:pt x="116" y="42"/>
                    <a:pt x="116" y="41"/>
                  </a:cubicBezTo>
                  <a:cubicBezTo>
                    <a:pt x="117" y="41"/>
                    <a:pt x="117" y="41"/>
                    <a:pt x="118" y="41"/>
                  </a:cubicBezTo>
                  <a:cubicBezTo>
                    <a:pt x="119" y="42"/>
                    <a:pt x="119" y="43"/>
                    <a:pt x="118" y="43"/>
                  </a:cubicBezTo>
                  <a:cubicBezTo>
                    <a:pt x="116" y="44"/>
                    <a:pt x="115" y="44"/>
                    <a:pt x="114" y="44"/>
                  </a:cubicBezTo>
                  <a:cubicBezTo>
                    <a:pt x="114" y="44"/>
                    <a:pt x="114" y="44"/>
                    <a:pt x="114" y="45"/>
                  </a:cubicBezTo>
                  <a:cubicBezTo>
                    <a:pt x="113" y="45"/>
                    <a:pt x="113" y="44"/>
                    <a:pt x="113" y="44"/>
                  </a:cubicBezTo>
                  <a:cubicBezTo>
                    <a:pt x="114" y="46"/>
                    <a:pt x="114" y="48"/>
                    <a:pt x="114" y="50"/>
                  </a:cubicBezTo>
                  <a:cubicBezTo>
                    <a:pt x="116" y="54"/>
                    <a:pt x="116" y="54"/>
                    <a:pt x="115" y="55"/>
                  </a:cubicBezTo>
                  <a:cubicBezTo>
                    <a:pt x="113" y="56"/>
                    <a:pt x="112" y="57"/>
                    <a:pt x="111" y="58"/>
                  </a:cubicBezTo>
                  <a:cubicBezTo>
                    <a:pt x="109" y="61"/>
                    <a:pt x="110" y="65"/>
                    <a:pt x="114" y="67"/>
                  </a:cubicBezTo>
                  <a:cubicBezTo>
                    <a:pt x="115" y="67"/>
                    <a:pt x="115" y="68"/>
                    <a:pt x="116" y="68"/>
                  </a:cubicBezTo>
                  <a:cubicBezTo>
                    <a:pt x="116" y="68"/>
                    <a:pt x="115" y="69"/>
                    <a:pt x="115" y="69"/>
                  </a:cubicBezTo>
                  <a:cubicBezTo>
                    <a:pt x="114" y="69"/>
                    <a:pt x="112" y="69"/>
                    <a:pt x="111" y="69"/>
                  </a:cubicBezTo>
                  <a:cubicBezTo>
                    <a:pt x="108" y="70"/>
                    <a:pt x="107" y="72"/>
                    <a:pt x="108" y="75"/>
                  </a:cubicBezTo>
                  <a:cubicBezTo>
                    <a:pt x="108" y="79"/>
                    <a:pt x="110" y="82"/>
                    <a:pt x="113" y="86"/>
                  </a:cubicBezTo>
                  <a:cubicBezTo>
                    <a:pt x="116" y="88"/>
                    <a:pt x="120" y="89"/>
                    <a:pt x="123" y="89"/>
                  </a:cubicBezTo>
                  <a:cubicBezTo>
                    <a:pt x="123" y="89"/>
                    <a:pt x="123" y="88"/>
                    <a:pt x="123" y="88"/>
                  </a:cubicBezTo>
                  <a:cubicBezTo>
                    <a:pt x="124" y="88"/>
                    <a:pt x="124" y="88"/>
                    <a:pt x="124" y="88"/>
                  </a:cubicBezTo>
                  <a:cubicBezTo>
                    <a:pt x="124" y="88"/>
                    <a:pt x="124" y="88"/>
                    <a:pt x="124" y="89"/>
                  </a:cubicBezTo>
                  <a:cubicBezTo>
                    <a:pt x="124" y="89"/>
                    <a:pt x="123" y="89"/>
                    <a:pt x="123" y="89"/>
                  </a:cubicBezTo>
                  <a:cubicBezTo>
                    <a:pt x="124" y="90"/>
                    <a:pt x="125" y="92"/>
                    <a:pt x="126" y="94"/>
                  </a:cubicBezTo>
                  <a:cubicBezTo>
                    <a:pt x="130" y="98"/>
                    <a:pt x="135" y="100"/>
                    <a:pt x="141" y="101"/>
                  </a:cubicBezTo>
                  <a:cubicBezTo>
                    <a:pt x="146" y="102"/>
                    <a:pt x="149" y="100"/>
                    <a:pt x="153" y="98"/>
                  </a:cubicBezTo>
                  <a:cubicBezTo>
                    <a:pt x="153" y="98"/>
                    <a:pt x="153" y="98"/>
                    <a:pt x="153" y="98"/>
                  </a:cubicBezTo>
                  <a:cubicBezTo>
                    <a:pt x="153" y="97"/>
                    <a:pt x="154" y="97"/>
                    <a:pt x="153" y="98"/>
                  </a:cubicBezTo>
                  <a:cubicBezTo>
                    <a:pt x="153" y="98"/>
                    <a:pt x="153" y="98"/>
                    <a:pt x="153" y="98"/>
                  </a:cubicBezTo>
                  <a:cubicBezTo>
                    <a:pt x="154" y="100"/>
                    <a:pt x="153" y="102"/>
                    <a:pt x="155" y="103"/>
                  </a:cubicBezTo>
                  <a:cubicBezTo>
                    <a:pt x="161" y="107"/>
                    <a:pt x="168" y="109"/>
                    <a:pt x="175" y="107"/>
                  </a:cubicBezTo>
                  <a:cubicBezTo>
                    <a:pt x="182" y="106"/>
                    <a:pt x="190" y="105"/>
                    <a:pt x="194" y="98"/>
                  </a:cubicBezTo>
                  <a:cubicBezTo>
                    <a:pt x="195" y="96"/>
                    <a:pt x="197" y="96"/>
                    <a:pt x="199" y="95"/>
                  </a:cubicBezTo>
                  <a:cubicBezTo>
                    <a:pt x="199" y="95"/>
                    <a:pt x="199" y="95"/>
                    <a:pt x="199" y="95"/>
                  </a:cubicBezTo>
                  <a:cubicBezTo>
                    <a:pt x="200" y="95"/>
                    <a:pt x="200" y="95"/>
                    <a:pt x="200" y="95"/>
                  </a:cubicBezTo>
                  <a:cubicBezTo>
                    <a:pt x="200" y="95"/>
                    <a:pt x="199" y="95"/>
                    <a:pt x="199" y="95"/>
                  </a:cubicBezTo>
                  <a:cubicBezTo>
                    <a:pt x="199" y="96"/>
                    <a:pt x="198" y="97"/>
                    <a:pt x="198" y="97"/>
                  </a:cubicBezTo>
                  <a:cubicBezTo>
                    <a:pt x="198" y="98"/>
                    <a:pt x="198" y="98"/>
                    <a:pt x="197" y="99"/>
                  </a:cubicBezTo>
                  <a:cubicBezTo>
                    <a:pt x="197" y="101"/>
                    <a:pt x="198" y="103"/>
                    <a:pt x="200" y="104"/>
                  </a:cubicBezTo>
                  <a:cubicBezTo>
                    <a:pt x="203" y="105"/>
                    <a:pt x="206" y="104"/>
                    <a:pt x="209" y="107"/>
                  </a:cubicBezTo>
                  <a:cubicBezTo>
                    <a:pt x="209" y="107"/>
                    <a:pt x="209" y="107"/>
                    <a:pt x="210" y="107"/>
                  </a:cubicBezTo>
                  <a:cubicBezTo>
                    <a:pt x="210" y="107"/>
                    <a:pt x="210" y="107"/>
                    <a:pt x="210" y="107"/>
                  </a:cubicBezTo>
                  <a:cubicBezTo>
                    <a:pt x="209" y="107"/>
                    <a:pt x="209" y="107"/>
                    <a:pt x="209" y="107"/>
                  </a:cubicBezTo>
                  <a:cubicBezTo>
                    <a:pt x="209" y="107"/>
                    <a:pt x="209" y="107"/>
                    <a:pt x="209" y="107"/>
                  </a:cubicBezTo>
                  <a:cubicBezTo>
                    <a:pt x="198" y="106"/>
                    <a:pt x="187" y="106"/>
                    <a:pt x="176" y="111"/>
                  </a:cubicBezTo>
                  <a:cubicBezTo>
                    <a:pt x="171" y="113"/>
                    <a:pt x="166" y="113"/>
                    <a:pt x="162" y="112"/>
                  </a:cubicBezTo>
                  <a:cubicBezTo>
                    <a:pt x="158" y="111"/>
                    <a:pt x="155" y="110"/>
                    <a:pt x="152" y="110"/>
                  </a:cubicBezTo>
                  <a:cubicBezTo>
                    <a:pt x="150" y="110"/>
                    <a:pt x="147" y="112"/>
                    <a:pt x="147" y="114"/>
                  </a:cubicBezTo>
                  <a:cubicBezTo>
                    <a:pt x="147" y="118"/>
                    <a:pt x="146" y="122"/>
                    <a:pt x="146" y="126"/>
                  </a:cubicBezTo>
                  <a:cubicBezTo>
                    <a:pt x="146" y="127"/>
                    <a:pt x="145" y="128"/>
                    <a:pt x="145" y="128"/>
                  </a:cubicBezTo>
                  <a:cubicBezTo>
                    <a:pt x="144" y="127"/>
                    <a:pt x="144" y="127"/>
                    <a:pt x="144" y="126"/>
                  </a:cubicBezTo>
                  <a:cubicBezTo>
                    <a:pt x="142" y="116"/>
                    <a:pt x="136" y="108"/>
                    <a:pt x="126" y="104"/>
                  </a:cubicBezTo>
                  <a:cubicBezTo>
                    <a:pt x="125" y="103"/>
                    <a:pt x="125" y="103"/>
                    <a:pt x="125" y="103"/>
                  </a:cubicBezTo>
                  <a:cubicBezTo>
                    <a:pt x="122" y="102"/>
                    <a:pt x="119" y="102"/>
                    <a:pt x="117" y="104"/>
                  </a:cubicBezTo>
                  <a:cubicBezTo>
                    <a:pt x="114" y="107"/>
                    <a:pt x="110" y="110"/>
                    <a:pt x="107" y="113"/>
                  </a:cubicBezTo>
                  <a:cubicBezTo>
                    <a:pt x="108" y="115"/>
                    <a:pt x="109" y="117"/>
                    <a:pt x="108" y="119"/>
                  </a:cubicBezTo>
                  <a:close/>
                  <a:moveTo>
                    <a:pt x="74" y="217"/>
                  </a:moveTo>
                  <a:cubicBezTo>
                    <a:pt x="73" y="217"/>
                    <a:pt x="73" y="217"/>
                    <a:pt x="73" y="216"/>
                  </a:cubicBezTo>
                  <a:cubicBezTo>
                    <a:pt x="73" y="217"/>
                    <a:pt x="74" y="217"/>
                    <a:pt x="74" y="217"/>
                  </a:cubicBezTo>
                  <a:cubicBezTo>
                    <a:pt x="74" y="217"/>
                    <a:pt x="74" y="217"/>
                    <a:pt x="74" y="217"/>
                  </a:cubicBezTo>
                  <a:close/>
                  <a:moveTo>
                    <a:pt x="81" y="192"/>
                  </a:moveTo>
                  <a:cubicBezTo>
                    <a:pt x="80" y="192"/>
                    <a:pt x="80" y="192"/>
                    <a:pt x="80" y="192"/>
                  </a:cubicBezTo>
                  <a:cubicBezTo>
                    <a:pt x="81" y="192"/>
                    <a:pt x="81" y="192"/>
                    <a:pt x="81" y="192"/>
                  </a:cubicBezTo>
                  <a:cubicBezTo>
                    <a:pt x="81" y="191"/>
                    <a:pt x="81" y="191"/>
                    <a:pt x="81" y="191"/>
                  </a:cubicBezTo>
                  <a:lnTo>
                    <a:pt x="81" y="192"/>
                  </a:lnTo>
                  <a:close/>
                  <a:moveTo>
                    <a:pt x="98" y="228"/>
                  </a:moveTo>
                  <a:cubicBezTo>
                    <a:pt x="98" y="228"/>
                    <a:pt x="98" y="228"/>
                    <a:pt x="98" y="228"/>
                  </a:cubicBezTo>
                  <a:cubicBezTo>
                    <a:pt x="98" y="229"/>
                    <a:pt x="98" y="229"/>
                    <a:pt x="98" y="230"/>
                  </a:cubicBezTo>
                  <a:cubicBezTo>
                    <a:pt x="97" y="230"/>
                    <a:pt x="97" y="230"/>
                    <a:pt x="96" y="230"/>
                  </a:cubicBezTo>
                  <a:cubicBezTo>
                    <a:pt x="96" y="231"/>
                    <a:pt x="96" y="231"/>
                    <a:pt x="95" y="231"/>
                  </a:cubicBezTo>
                  <a:cubicBezTo>
                    <a:pt x="96" y="230"/>
                    <a:pt x="97" y="230"/>
                    <a:pt x="97" y="229"/>
                  </a:cubicBezTo>
                  <a:cubicBezTo>
                    <a:pt x="98" y="229"/>
                    <a:pt x="98" y="229"/>
                    <a:pt x="98" y="228"/>
                  </a:cubicBezTo>
                  <a:cubicBezTo>
                    <a:pt x="98" y="228"/>
                    <a:pt x="98" y="227"/>
                    <a:pt x="99" y="227"/>
                  </a:cubicBezTo>
                  <a:cubicBezTo>
                    <a:pt x="99" y="227"/>
                    <a:pt x="99" y="228"/>
                    <a:pt x="98" y="228"/>
                  </a:cubicBezTo>
                  <a:close/>
                  <a:moveTo>
                    <a:pt x="302" y="102"/>
                  </a:moveTo>
                  <a:cubicBezTo>
                    <a:pt x="302" y="102"/>
                    <a:pt x="303" y="102"/>
                    <a:pt x="303" y="102"/>
                  </a:cubicBezTo>
                  <a:cubicBezTo>
                    <a:pt x="303" y="103"/>
                    <a:pt x="303" y="103"/>
                    <a:pt x="303" y="103"/>
                  </a:cubicBezTo>
                  <a:cubicBezTo>
                    <a:pt x="302" y="103"/>
                    <a:pt x="302" y="103"/>
                    <a:pt x="302" y="103"/>
                  </a:cubicBezTo>
                  <a:cubicBezTo>
                    <a:pt x="302" y="102"/>
                    <a:pt x="302" y="102"/>
                    <a:pt x="302" y="102"/>
                  </a:cubicBezTo>
                  <a:close/>
                  <a:moveTo>
                    <a:pt x="127" y="85"/>
                  </a:moveTo>
                  <a:cubicBezTo>
                    <a:pt x="127" y="85"/>
                    <a:pt x="127" y="86"/>
                    <a:pt x="126" y="86"/>
                  </a:cubicBezTo>
                  <a:cubicBezTo>
                    <a:pt x="126" y="86"/>
                    <a:pt x="127" y="85"/>
                    <a:pt x="127" y="85"/>
                  </a:cubicBezTo>
                  <a:cubicBezTo>
                    <a:pt x="128" y="85"/>
                    <a:pt x="128" y="85"/>
                    <a:pt x="128" y="85"/>
                  </a:cubicBezTo>
                  <a:lnTo>
                    <a:pt x="127" y="85"/>
                  </a:lnTo>
                  <a:close/>
                  <a:moveTo>
                    <a:pt x="177" y="162"/>
                  </a:moveTo>
                  <a:cubicBezTo>
                    <a:pt x="177" y="162"/>
                    <a:pt x="177" y="162"/>
                    <a:pt x="177" y="162"/>
                  </a:cubicBezTo>
                  <a:cubicBezTo>
                    <a:pt x="176" y="162"/>
                    <a:pt x="176" y="162"/>
                    <a:pt x="176" y="162"/>
                  </a:cubicBezTo>
                  <a:lnTo>
                    <a:pt x="177" y="162"/>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1"/>
            <p:cNvSpPr>
              <a:spLocks noEditPoints="1"/>
            </p:cNvSpPr>
            <p:nvPr/>
          </p:nvSpPr>
          <p:spPr bwMode="auto">
            <a:xfrm>
              <a:off x="8718266" y="1635068"/>
              <a:ext cx="567067" cy="743710"/>
            </a:xfrm>
            <a:custGeom>
              <a:avLst/>
              <a:gdLst>
                <a:gd name="T0" fmla="*/ 77 w 265"/>
                <a:gd name="T1" fmla="*/ 134 h 347"/>
                <a:gd name="T2" fmla="*/ 89 w 265"/>
                <a:gd name="T3" fmla="*/ 134 h 347"/>
                <a:gd name="T4" fmla="*/ 82 w 265"/>
                <a:gd name="T5" fmla="*/ 130 h 347"/>
                <a:gd name="T6" fmla="*/ 90 w 265"/>
                <a:gd name="T7" fmla="*/ 133 h 347"/>
                <a:gd name="T8" fmla="*/ 107 w 265"/>
                <a:gd name="T9" fmla="*/ 127 h 347"/>
                <a:gd name="T10" fmla="*/ 106 w 265"/>
                <a:gd name="T11" fmla="*/ 115 h 347"/>
                <a:gd name="T12" fmla="*/ 106 w 265"/>
                <a:gd name="T13" fmla="*/ 115 h 347"/>
                <a:gd name="T14" fmla="*/ 116 w 265"/>
                <a:gd name="T15" fmla="*/ 126 h 347"/>
                <a:gd name="T16" fmla="*/ 118 w 265"/>
                <a:gd name="T17" fmla="*/ 144 h 347"/>
                <a:gd name="T18" fmla="*/ 118 w 265"/>
                <a:gd name="T19" fmla="*/ 167 h 347"/>
                <a:gd name="T20" fmla="*/ 133 w 265"/>
                <a:gd name="T21" fmla="*/ 173 h 347"/>
                <a:gd name="T22" fmla="*/ 134 w 265"/>
                <a:gd name="T23" fmla="*/ 180 h 347"/>
                <a:gd name="T24" fmla="*/ 148 w 265"/>
                <a:gd name="T25" fmla="*/ 212 h 347"/>
                <a:gd name="T26" fmla="*/ 118 w 265"/>
                <a:gd name="T27" fmla="*/ 251 h 347"/>
                <a:gd name="T28" fmla="*/ 76 w 265"/>
                <a:gd name="T29" fmla="*/ 252 h 347"/>
                <a:gd name="T30" fmla="*/ 61 w 265"/>
                <a:gd name="T31" fmla="*/ 275 h 347"/>
                <a:gd name="T32" fmla="*/ 107 w 265"/>
                <a:gd name="T33" fmla="*/ 280 h 347"/>
                <a:gd name="T34" fmla="*/ 124 w 265"/>
                <a:gd name="T35" fmla="*/ 312 h 347"/>
                <a:gd name="T36" fmla="*/ 136 w 265"/>
                <a:gd name="T37" fmla="*/ 322 h 347"/>
                <a:gd name="T38" fmla="*/ 178 w 265"/>
                <a:gd name="T39" fmla="*/ 346 h 347"/>
                <a:gd name="T40" fmla="*/ 163 w 265"/>
                <a:gd name="T41" fmla="*/ 307 h 347"/>
                <a:gd name="T42" fmla="*/ 162 w 265"/>
                <a:gd name="T43" fmla="*/ 305 h 347"/>
                <a:gd name="T44" fmla="*/ 176 w 265"/>
                <a:gd name="T45" fmla="*/ 315 h 347"/>
                <a:gd name="T46" fmla="*/ 200 w 265"/>
                <a:gd name="T47" fmla="*/ 338 h 347"/>
                <a:gd name="T48" fmla="*/ 210 w 265"/>
                <a:gd name="T49" fmla="*/ 310 h 347"/>
                <a:gd name="T50" fmla="*/ 193 w 265"/>
                <a:gd name="T51" fmla="*/ 274 h 347"/>
                <a:gd name="T52" fmla="*/ 186 w 265"/>
                <a:gd name="T53" fmla="*/ 253 h 347"/>
                <a:gd name="T54" fmla="*/ 189 w 265"/>
                <a:gd name="T55" fmla="*/ 254 h 347"/>
                <a:gd name="T56" fmla="*/ 208 w 265"/>
                <a:gd name="T57" fmla="*/ 253 h 347"/>
                <a:gd name="T58" fmla="*/ 228 w 265"/>
                <a:gd name="T59" fmla="*/ 281 h 347"/>
                <a:gd name="T60" fmla="*/ 242 w 265"/>
                <a:gd name="T61" fmla="*/ 265 h 347"/>
                <a:gd name="T62" fmla="*/ 257 w 265"/>
                <a:gd name="T63" fmla="*/ 234 h 347"/>
                <a:gd name="T64" fmla="*/ 251 w 265"/>
                <a:gd name="T65" fmla="*/ 231 h 347"/>
                <a:gd name="T66" fmla="*/ 251 w 265"/>
                <a:gd name="T67" fmla="*/ 228 h 347"/>
                <a:gd name="T68" fmla="*/ 240 w 265"/>
                <a:gd name="T69" fmla="*/ 220 h 347"/>
                <a:gd name="T70" fmla="*/ 219 w 265"/>
                <a:gd name="T71" fmla="*/ 198 h 347"/>
                <a:gd name="T72" fmla="*/ 216 w 265"/>
                <a:gd name="T73" fmla="*/ 172 h 347"/>
                <a:gd name="T74" fmla="*/ 227 w 265"/>
                <a:gd name="T75" fmla="*/ 166 h 347"/>
                <a:gd name="T76" fmla="*/ 209 w 265"/>
                <a:gd name="T77" fmla="*/ 123 h 347"/>
                <a:gd name="T78" fmla="*/ 198 w 265"/>
                <a:gd name="T79" fmla="*/ 115 h 347"/>
                <a:gd name="T80" fmla="*/ 194 w 265"/>
                <a:gd name="T81" fmla="*/ 98 h 347"/>
                <a:gd name="T82" fmla="*/ 170 w 265"/>
                <a:gd name="T83" fmla="*/ 92 h 347"/>
                <a:gd name="T84" fmla="*/ 170 w 265"/>
                <a:gd name="T85" fmla="*/ 79 h 347"/>
                <a:gd name="T86" fmla="*/ 152 w 265"/>
                <a:gd name="T87" fmla="*/ 55 h 347"/>
                <a:gd name="T88" fmla="*/ 126 w 265"/>
                <a:gd name="T89" fmla="*/ 60 h 347"/>
                <a:gd name="T90" fmla="*/ 116 w 265"/>
                <a:gd name="T91" fmla="*/ 61 h 347"/>
                <a:gd name="T92" fmla="*/ 126 w 265"/>
                <a:gd name="T93" fmla="*/ 27 h 347"/>
                <a:gd name="T94" fmla="*/ 91 w 265"/>
                <a:gd name="T95" fmla="*/ 21 h 347"/>
                <a:gd name="T96" fmla="*/ 65 w 265"/>
                <a:gd name="T97" fmla="*/ 54 h 347"/>
                <a:gd name="T98" fmla="*/ 58 w 265"/>
                <a:gd name="T99" fmla="*/ 77 h 347"/>
                <a:gd name="T100" fmla="*/ 50 w 265"/>
                <a:gd name="T101" fmla="*/ 58 h 347"/>
                <a:gd name="T102" fmla="*/ 64 w 265"/>
                <a:gd name="T103" fmla="*/ 30 h 347"/>
                <a:gd name="T104" fmla="*/ 84 w 265"/>
                <a:gd name="T105" fmla="*/ 5 h 347"/>
                <a:gd name="T106" fmla="*/ 20 w 265"/>
                <a:gd name="T107" fmla="*/ 37 h 347"/>
                <a:gd name="T108" fmla="*/ 6 w 265"/>
                <a:gd name="T109" fmla="*/ 77 h 347"/>
                <a:gd name="T110" fmla="*/ 18 w 265"/>
                <a:gd name="T111" fmla="*/ 88 h 347"/>
                <a:gd name="T112" fmla="*/ 6 w 265"/>
                <a:gd name="T113" fmla="*/ 106 h 347"/>
                <a:gd name="T114" fmla="*/ 34 w 265"/>
                <a:gd name="T115" fmla="*/ 120 h 347"/>
                <a:gd name="T116" fmla="*/ 216 w 265"/>
                <a:gd name="T117" fmla="*/ 141 h 347"/>
                <a:gd name="T118" fmla="*/ 215 w 265"/>
                <a:gd name="T119" fmla="*/ 147 h 347"/>
                <a:gd name="T120" fmla="*/ 216 w 265"/>
                <a:gd name="T121" fmla="*/ 141 h 347"/>
                <a:gd name="T122" fmla="*/ 113 w 265"/>
                <a:gd name="T123" fmla="*/ 64 h 347"/>
                <a:gd name="T124" fmla="*/ 53 w 265"/>
                <a:gd name="T125" fmla="*/ 8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347">
                  <a:moveTo>
                    <a:pt x="55" y="127"/>
                  </a:moveTo>
                  <a:cubicBezTo>
                    <a:pt x="61" y="127"/>
                    <a:pt x="66" y="133"/>
                    <a:pt x="73" y="131"/>
                  </a:cubicBezTo>
                  <a:cubicBezTo>
                    <a:pt x="74" y="131"/>
                    <a:pt x="74" y="132"/>
                    <a:pt x="75" y="132"/>
                  </a:cubicBezTo>
                  <a:cubicBezTo>
                    <a:pt x="75" y="133"/>
                    <a:pt x="76" y="133"/>
                    <a:pt x="77" y="134"/>
                  </a:cubicBezTo>
                  <a:cubicBezTo>
                    <a:pt x="80" y="136"/>
                    <a:pt x="82" y="138"/>
                    <a:pt x="85" y="139"/>
                  </a:cubicBezTo>
                  <a:cubicBezTo>
                    <a:pt x="86" y="140"/>
                    <a:pt x="88" y="140"/>
                    <a:pt x="90" y="140"/>
                  </a:cubicBezTo>
                  <a:cubicBezTo>
                    <a:pt x="91" y="140"/>
                    <a:pt x="92" y="138"/>
                    <a:pt x="93" y="138"/>
                  </a:cubicBezTo>
                  <a:cubicBezTo>
                    <a:pt x="91" y="136"/>
                    <a:pt x="90" y="135"/>
                    <a:pt x="89" y="134"/>
                  </a:cubicBezTo>
                  <a:cubicBezTo>
                    <a:pt x="89" y="134"/>
                    <a:pt x="89" y="133"/>
                    <a:pt x="89" y="133"/>
                  </a:cubicBezTo>
                  <a:cubicBezTo>
                    <a:pt x="87" y="134"/>
                    <a:pt x="84" y="133"/>
                    <a:pt x="84" y="131"/>
                  </a:cubicBezTo>
                  <a:cubicBezTo>
                    <a:pt x="83" y="131"/>
                    <a:pt x="83" y="131"/>
                    <a:pt x="83" y="131"/>
                  </a:cubicBezTo>
                  <a:cubicBezTo>
                    <a:pt x="82" y="130"/>
                    <a:pt x="82" y="130"/>
                    <a:pt x="82" y="130"/>
                  </a:cubicBezTo>
                  <a:cubicBezTo>
                    <a:pt x="83" y="130"/>
                    <a:pt x="83" y="130"/>
                    <a:pt x="83" y="130"/>
                  </a:cubicBezTo>
                  <a:cubicBezTo>
                    <a:pt x="83" y="131"/>
                    <a:pt x="83" y="131"/>
                    <a:pt x="84" y="131"/>
                  </a:cubicBezTo>
                  <a:cubicBezTo>
                    <a:pt x="86" y="131"/>
                    <a:pt x="88" y="131"/>
                    <a:pt x="89" y="133"/>
                  </a:cubicBezTo>
                  <a:cubicBezTo>
                    <a:pt x="89" y="133"/>
                    <a:pt x="89" y="133"/>
                    <a:pt x="90" y="133"/>
                  </a:cubicBezTo>
                  <a:cubicBezTo>
                    <a:pt x="91" y="135"/>
                    <a:pt x="92" y="136"/>
                    <a:pt x="93" y="137"/>
                  </a:cubicBezTo>
                  <a:cubicBezTo>
                    <a:pt x="93" y="137"/>
                    <a:pt x="93" y="137"/>
                    <a:pt x="93" y="138"/>
                  </a:cubicBezTo>
                  <a:cubicBezTo>
                    <a:pt x="95" y="137"/>
                    <a:pt x="98" y="137"/>
                    <a:pt x="100" y="136"/>
                  </a:cubicBezTo>
                  <a:cubicBezTo>
                    <a:pt x="105" y="135"/>
                    <a:pt x="107" y="132"/>
                    <a:pt x="107" y="127"/>
                  </a:cubicBezTo>
                  <a:cubicBezTo>
                    <a:pt x="107" y="125"/>
                    <a:pt x="106" y="124"/>
                    <a:pt x="106" y="122"/>
                  </a:cubicBezTo>
                  <a:cubicBezTo>
                    <a:pt x="106" y="122"/>
                    <a:pt x="106" y="122"/>
                    <a:pt x="106" y="122"/>
                  </a:cubicBezTo>
                  <a:cubicBezTo>
                    <a:pt x="106" y="121"/>
                    <a:pt x="106" y="121"/>
                    <a:pt x="106" y="121"/>
                  </a:cubicBezTo>
                  <a:cubicBezTo>
                    <a:pt x="103" y="118"/>
                    <a:pt x="103" y="118"/>
                    <a:pt x="106" y="115"/>
                  </a:cubicBezTo>
                  <a:cubicBezTo>
                    <a:pt x="106" y="115"/>
                    <a:pt x="106" y="115"/>
                    <a:pt x="106" y="115"/>
                  </a:cubicBezTo>
                  <a:cubicBezTo>
                    <a:pt x="106" y="114"/>
                    <a:pt x="106" y="114"/>
                    <a:pt x="107" y="115"/>
                  </a:cubicBezTo>
                  <a:cubicBezTo>
                    <a:pt x="107" y="115"/>
                    <a:pt x="106" y="115"/>
                    <a:pt x="106" y="115"/>
                  </a:cubicBezTo>
                  <a:cubicBezTo>
                    <a:pt x="106" y="115"/>
                    <a:pt x="106" y="115"/>
                    <a:pt x="106" y="115"/>
                  </a:cubicBezTo>
                  <a:cubicBezTo>
                    <a:pt x="106" y="117"/>
                    <a:pt x="106" y="119"/>
                    <a:pt x="106" y="121"/>
                  </a:cubicBezTo>
                  <a:cubicBezTo>
                    <a:pt x="106" y="121"/>
                    <a:pt x="106" y="121"/>
                    <a:pt x="106" y="121"/>
                  </a:cubicBezTo>
                  <a:cubicBezTo>
                    <a:pt x="106" y="122"/>
                    <a:pt x="106" y="122"/>
                    <a:pt x="106" y="122"/>
                  </a:cubicBezTo>
                  <a:cubicBezTo>
                    <a:pt x="109" y="123"/>
                    <a:pt x="113" y="125"/>
                    <a:pt x="116" y="126"/>
                  </a:cubicBezTo>
                  <a:cubicBezTo>
                    <a:pt x="117" y="126"/>
                    <a:pt x="117" y="128"/>
                    <a:pt x="117" y="129"/>
                  </a:cubicBezTo>
                  <a:cubicBezTo>
                    <a:pt x="118" y="129"/>
                    <a:pt x="117" y="130"/>
                    <a:pt x="117" y="130"/>
                  </a:cubicBezTo>
                  <a:cubicBezTo>
                    <a:pt x="116" y="133"/>
                    <a:pt x="114" y="135"/>
                    <a:pt x="115" y="137"/>
                  </a:cubicBezTo>
                  <a:cubicBezTo>
                    <a:pt x="115" y="140"/>
                    <a:pt x="118" y="142"/>
                    <a:pt x="118" y="144"/>
                  </a:cubicBezTo>
                  <a:cubicBezTo>
                    <a:pt x="120" y="149"/>
                    <a:pt x="122" y="154"/>
                    <a:pt x="126" y="158"/>
                  </a:cubicBezTo>
                  <a:cubicBezTo>
                    <a:pt x="127" y="159"/>
                    <a:pt x="126" y="161"/>
                    <a:pt x="125" y="161"/>
                  </a:cubicBezTo>
                  <a:cubicBezTo>
                    <a:pt x="123" y="162"/>
                    <a:pt x="121" y="162"/>
                    <a:pt x="120" y="163"/>
                  </a:cubicBezTo>
                  <a:cubicBezTo>
                    <a:pt x="119" y="164"/>
                    <a:pt x="118" y="166"/>
                    <a:pt x="118" y="167"/>
                  </a:cubicBezTo>
                  <a:cubicBezTo>
                    <a:pt x="118" y="168"/>
                    <a:pt x="119" y="169"/>
                    <a:pt x="119" y="169"/>
                  </a:cubicBezTo>
                  <a:cubicBezTo>
                    <a:pt x="124" y="170"/>
                    <a:pt x="128" y="167"/>
                    <a:pt x="132" y="169"/>
                  </a:cubicBezTo>
                  <a:cubicBezTo>
                    <a:pt x="133" y="170"/>
                    <a:pt x="133" y="170"/>
                    <a:pt x="133" y="170"/>
                  </a:cubicBezTo>
                  <a:cubicBezTo>
                    <a:pt x="134" y="171"/>
                    <a:pt x="134" y="172"/>
                    <a:pt x="133" y="173"/>
                  </a:cubicBezTo>
                  <a:cubicBezTo>
                    <a:pt x="131" y="173"/>
                    <a:pt x="130" y="174"/>
                    <a:pt x="129" y="175"/>
                  </a:cubicBezTo>
                  <a:cubicBezTo>
                    <a:pt x="127" y="176"/>
                    <a:pt x="127" y="178"/>
                    <a:pt x="128" y="179"/>
                  </a:cubicBezTo>
                  <a:cubicBezTo>
                    <a:pt x="129" y="180"/>
                    <a:pt x="130" y="180"/>
                    <a:pt x="131" y="180"/>
                  </a:cubicBezTo>
                  <a:cubicBezTo>
                    <a:pt x="132" y="180"/>
                    <a:pt x="133" y="180"/>
                    <a:pt x="134" y="180"/>
                  </a:cubicBezTo>
                  <a:cubicBezTo>
                    <a:pt x="138" y="179"/>
                    <a:pt x="142" y="179"/>
                    <a:pt x="143" y="184"/>
                  </a:cubicBezTo>
                  <a:cubicBezTo>
                    <a:pt x="143" y="185"/>
                    <a:pt x="144" y="186"/>
                    <a:pt x="145" y="186"/>
                  </a:cubicBezTo>
                  <a:cubicBezTo>
                    <a:pt x="150" y="188"/>
                    <a:pt x="150" y="192"/>
                    <a:pt x="149" y="197"/>
                  </a:cubicBezTo>
                  <a:cubicBezTo>
                    <a:pt x="149" y="202"/>
                    <a:pt x="149" y="207"/>
                    <a:pt x="148" y="212"/>
                  </a:cubicBezTo>
                  <a:cubicBezTo>
                    <a:pt x="148" y="214"/>
                    <a:pt x="147" y="216"/>
                    <a:pt x="144" y="217"/>
                  </a:cubicBezTo>
                  <a:cubicBezTo>
                    <a:pt x="141" y="218"/>
                    <a:pt x="138" y="219"/>
                    <a:pt x="136" y="222"/>
                  </a:cubicBezTo>
                  <a:cubicBezTo>
                    <a:pt x="133" y="227"/>
                    <a:pt x="128" y="229"/>
                    <a:pt x="124" y="232"/>
                  </a:cubicBezTo>
                  <a:cubicBezTo>
                    <a:pt x="115" y="238"/>
                    <a:pt x="112" y="239"/>
                    <a:pt x="118" y="251"/>
                  </a:cubicBezTo>
                  <a:cubicBezTo>
                    <a:pt x="118" y="252"/>
                    <a:pt x="117" y="254"/>
                    <a:pt x="117" y="254"/>
                  </a:cubicBezTo>
                  <a:cubicBezTo>
                    <a:pt x="111" y="254"/>
                    <a:pt x="106" y="255"/>
                    <a:pt x="101" y="257"/>
                  </a:cubicBezTo>
                  <a:cubicBezTo>
                    <a:pt x="95" y="259"/>
                    <a:pt x="90" y="258"/>
                    <a:pt x="85" y="256"/>
                  </a:cubicBezTo>
                  <a:cubicBezTo>
                    <a:pt x="82" y="254"/>
                    <a:pt x="79" y="253"/>
                    <a:pt x="76" y="252"/>
                  </a:cubicBezTo>
                  <a:cubicBezTo>
                    <a:pt x="75" y="251"/>
                    <a:pt x="74" y="252"/>
                    <a:pt x="73" y="252"/>
                  </a:cubicBezTo>
                  <a:cubicBezTo>
                    <a:pt x="71" y="256"/>
                    <a:pt x="67" y="258"/>
                    <a:pt x="64" y="261"/>
                  </a:cubicBezTo>
                  <a:cubicBezTo>
                    <a:pt x="62" y="262"/>
                    <a:pt x="61" y="264"/>
                    <a:pt x="60" y="266"/>
                  </a:cubicBezTo>
                  <a:cubicBezTo>
                    <a:pt x="59" y="268"/>
                    <a:pt x="59" y="273"/>
                    <a:pt x="61" y="275"/>
                  </a:cubicBezTo>
                  <a:cubicBezTo>
                    <a:pt x="67" y="280"/>
                    <a:pt x="73" y="283"/>
                    <a:pt x="80" y="279"/>
                  </a:cubicBezTo>
                  <a:cubicBezTo>
                    <a:pt x="82" y="279"/>
                    <a:pt x="85" y="278"/>
                    <a:pt x="87" y="278"/>
                  </a:cubicBezTo>
                  <a:cubicBezTo>
                    <a:pt x="88" y="277"/>
                    <a:pt x="89" y="277"/>
                    <a:pt x="90" y="278"/>
                  </a:cubicBezTo>
                  <a:cubicBezTo>
                    <a:pt x="95" y="281"/>
                    <a:pt x="101" y="279"/>
                    <a:pt x="107" y="280"/>
                  </a:cubicBezTo>
                  <a:cubicBezTo>
                    <a:pt x="110" y="280"/>
                    <a:pt x="112" y="282"/>
                    <a:pt x="114" y="284"/>
                  </a:cubicBezTo>
                  <a:cubicBezTo>
                    <a:pt x="116" y="289"/>
                    <a:pt x="118" y="294"/>
                    <a:pt x="121" y="298"/>
                  </a:cubicBezTo>
                  <a:cubicBezTo>
                    <a:pt x="124" y="301"/>
                    <a:pt x="125" y="303"/>
                    <a:pt x="123" y="306"/>
                  </a:cubicBezTo>
                  <a:cubicBezTo>
                    <a:pt x="122" y="308"/>
                    <a:pt x="123" y="310"/>
                    <a:pt x="124" y="312"/>
                  </a:cubicBezTo>
                  <a:cubicBezTo>
                    <a:pt x="127" y="316"/>
                    <a:pt x="131" y="320"/>
                    <a:pt x="136" y="322"/>
                  </a:cubicBezTo>
                  <a:cubicBezTo>
                    <a:pt x="136" y="322"/>
                    <a:pt x="136" y="322"/>
                    <a:pt x="136" y="322"/>
                  </a:cubicBezTo>
                  <a:cubicBezTo>
                    <a:pt x="136" y="322"/>
                    <a:pt x="136" y="322"/>
                    <a:pt x="136" y="322"/>
                  </a:cubicBezTo>
                  <a:cubicBezTo>
                    <a:pt x="136" y="322"/>
                    <a:pt x="136" y="322"/>
                    <a:pt x="136" y="322"/>
                  </a:cubicBezTo>
                  <a:cubicBezTo>
                    <a:pt x="139" y="323"/>
                    <a:pt x="142" y="326"/>
                    <a:pt x="145" y="328"/>
                  </a:cubicBezTo>
                  <a:cubicBezTo>
                    <a:pt x="149" y="333"/>
                    <a:pt x="154" y="337"/>
                    <a:pt x="161" y="339"/>
                  </a:cubicBezTo>
                  <a:cubicBezTo>
                    <a:pt x="164" y="339"/>
                    <a:pt x="166" y="342"/>
                    <a:pt x="169" y="343"/>
                  </a:cubicBezTo>
                  <a:cubicBezTo>
                    <a:pt x="172" y="345"/>
                    <a:pt x="175" y="346"/>
                    <a:pt x="178" y="346"/>
                  </a:cubicBezTo>
                  <a:cubicBezTo>
                    <a:pt x="179" y="347"/>
                    <a:pt x="180" y="346"/>
                    <a:pt x="181" y="345"/>
                  </a:cubicBezTo>
                  <a:cubicBezTo>
                    <a:pt x="182" y="342"/>
                    <a:pt x="183" y="339"/>
                    <a:pt x="181" y="336"/>
                  </a:cubicBezTo>
                  <a:cubicBezTo>
                    <a:pt x="177" y="328"/>
                    <a:pt x="173" y="320"/>
                    <a:pt x="166" y="315"/>
                  </a:cubicBezTo>
                  <a:cubicBezTo>
                    <a:pt x="163" y="313"/>
                    <a:pt x="163" y="310"/>
                    <a:pt x="163" y="307"/>
                  </a:cubicBezTo>
                  <a:cubicBezTo>
                    <a:pt x="163" y="307"/>
                    <a:pt x="162" y="306"/>
                    <a:pt x="162" y="306"/>
                  </a:cubicBezTo>
                  <a:cubicBezTo>
                    <a:pt x="162" y="306"/>
                    <a:pt x="162" y="306"/>
                    <a:pt x="162" y="306"/>
                  </a:cubicBezTo>
                  <a:cubicBezTo>
                    <a:pt x="162" y="305"/>
                    <a:pt x="161" y="305"/>
                    <a:pt x="161" y="305"/>
                  </a:cubicBezTo>
                  <a:cubicBezTo>
                    <a:pt x="161" y="305"/>
                    <a:pt x="162" y="305"/>
                    <a:pt x="162" y="305"/>
                  </a:cubicBezTo>
                  <a:cubicBezTo>
                    <a:pt x="162" y="305"/>
                    <a:pt x="162" y="306"/>
                    <a:pt x="162" y="306"/>
                  </a:cubicBezTo>
                  <a:cubicBezTo>
                    <a:pt x="162" y="306"/>
                    <a:pt x="162" y="306"/>
                    <a:pt x="163" y="306"/>
                  </a:cubicBezTo>
                  <a:cubicBezTo>
                    <a:pt x="163" y="306"/>
                    <a:pt x="163" y="306"/>
                    <a:pt x="163" y="307"/>
                  </a:cubicBezTo>
                  <a:cubicBezTo>
                    <a:pt x="168" y="308"/>
                    <a:pt x="172" y="311"/>
                    <a:pt x="176" y="315"/>
                  </a:cubicBezTo>
                  <a:cubicBezTo>
                    <a:pt x="178" y="318"/>
                    <a:pt x="182" y="321"/>
                    <a:pt x="186" y="322"/>
                  </a:cubicBezTo>
                  <a:cubicBezTo>
                    <a:pt x="189" y="324"/>
                    <a:pt x="191" y="326"/>
                    <a:pt x="193" y="329"/>
                  </a:cubicBezTo>
                  <a:cubicBezTo>
                    <a:pt x="194" y="332"/>
                    <a:pt x="196" y="334"/>
                    <a:pt x="198" y="337"/>
                  </a:cubicBezTo>
                  <a:cubicBezTo>
                    <a:pt x="198" y="338"/>
                    <a:pt x="199" y="338"/>
                    <a:pt x="200" y="338"/>
                  </a:cubicBezTo>
                  <a:cubicBezTo>
                    <a:pt x="201" y="338"/>
                    <a:pt x="202" y="337"/>
                    <a:pt x="201" y="336"/>
                  </a:cubicBezTo>
                  <a:cubicBezTo>
                    <a:pt x="199" y="332"/>
                    <a:pt x="199" y="328"/>
                    <a:pt x="202" y="324"/>
                  </a:cubicBezTo>
                  <a:cubicBezTo>
                    <a:pt x="204" y="321"/>
                    <a:pt x="205" y="319"/>
                    <a:pt x="208" y="317"/>
                  </a:cubicBezTo>
                  <a:cubicBezTo>
                    <a:pt x="211" y="315"/>
                    <a:pt x="211" y="313"/>
                    <a:pt x="210" y="310"/>
                  </a:cubicBezTo>
                  <a:cubicBezTo>
                    <a:pt x="210" y="309"/>
                    <a:pt x="210" y="307"/>
                    <a:pt x="209" y="306"/>
                  </a:cubicBezTo>
                  <a:cubicBezTo>
                    <a:pt x="207" y="300"/>
                    <a:pt x="206" y="295"/>
                    <a:pt x="206" y="289"/>
                  </a:cubicBezTo>
                  <a:cubicBezTo>
                    <a:pt x="207" y="285"/>
                    <a:pt x="205" y="283"/>
                    <a:pt x="202" y="281"/>
                  </a:cubicBezTo>
                  <a:cubicBezTo>
                    <a:pt x="199" y="279"/>
                    <a:pt x="196" y="277"/>
                    <a:pt x="193" y="274"/>
                  </a:cubicBezTo>
                  <a:cubicBezTo>
                    <a:pt x="191" y="273"/>
                    <a:pt x="191" y="271"/>
                    <a:pt x="191" y="269"/>
                  </a:cubicBezTo>
                  <a:cubicBezTo>
                    <a:pt x="191" y="264"/>
                    <a:pt x="190" y="260"/>
                    <a:pt x="187" y="256"/>
                  </a:cubicBezTo>
                  <a:cubicBezTo>
                    <a:pt x="186" y="255"/>
                    <a:pt x="186" y="254"/>
                    <a:pt x="186" y="253"/>
                  </a:cubicBezTo>
                  <a:cubicBezTo>
                    <a:pt x="186" y="253"/>
                    <a:pt x="186" y="253"/>
                    <a:pt x="186" y="253"/>
                  </a:cubicBezTo>
                  <a:cubicBezTo>
                    <a:pt x="185" y="252"/>
                    <a:pt x="185" y="252"/>
                    <a:pt x="185" y="252"/>
                  </a:cubicBezTo>
                  <a:cubicBezTo>
                    <a:pt x="186" y="253"/>
                    <a:pt x="186" y="253"/>
                    <a:pt x="186" y="253"/>
                  </a:cubicBezTo>
                  <a:cubicBezTo>
                    <a:pt x="186" y="253"/>
                    <a:pt x="186" y="253"/>
                    <a:pt x="186" y="253"/>
                  </a:cubicBezTo>
                  <a:cubicBezTo>
                    <a:pt x="187" y="253"/>
                    <a:pt x="188" y="254"/>
                    <a:pt x="189" y="254"/>
                  </a:cubicBezTo>
                  <a:cubicBezTo>
                    <a:pt x="194" y="253"/>
                    <a:pt x="194" y="253"/>
                    <a:pt x="196" y="249"/>
                  </a:cubicBezTo>
                  <a:cubicBezTo>
                    <a:pt x="196" y="247"/>
                    <a:pt x="197" y="246"/>
                    <a:pt x="197" y="244"/>
                  </a:cubicBezTo>
                  <a:cubicBezTo>
                    <a:pt x="198" y="243"/>
                    <a:pt x="200" y="243"/>
                    <a:pt x="201" y="244"/>
                  </a:cubicBezTo>
                  <a:cubicBezTo>
                    <a:pt x="204" y="247"/>
                    <a:pt x="206" y="250"/>
                    <a:pt x="208" y="253"/>
                  </a:cubicBezTo>
                  <a:cubicBezTo>
                    <a:pt x="211" y="257"/>
                    <a:pt x="213" y="261"/>
                    <a:pt x="214" y="266"/>
                  </a:cubicBezTo>
                  <a:cubicBezTo>
                    <a:pt x="214" y="268"/>
                    <a:pt x="215" y="270"/>
                    <a:pt x="215" y="272"/>
                  </a:cubicBezTo>
                  <a:cubicBezTo>
                    <a:pt x="216" y="273"/>
                    <a:pt x="216" y="274"/>
                    <a:pt x="217" y="274"/>
                  </a:cubicBezTo>
                  <a:cubicBezTo>
                    <a:pt x="220" y="277"/>
                    <a:pt x="223" y="280"/>
                    <a:pt x="228" y="281"/>
                  </a:cubicBezTo>
                  <a:cubicBezTo>
                    <a:pt x="228" y="281"/>
                    <a:pt x="230" y="280"/>
                    <a:pt x="230" y="280"/>
                  </a:cubicBezTo>
                  <a:cubicBezTo>
                    <a:pt x="231" y="277"/>
                    <a:pt x="232" y="274"/>
                    <a:pt x="233" y="271"/>
                  </a:cubicBezTo>
                  <a:cubicBezTo>
                    <a:pt x="234" y="268"/>
                    <a:pt x="235" y="267"/>
                    <a:pt x="237" y="266"/>
                  </a:cubicBezTo>
                  <a:cubicBezTo>
                    <a:pt x="239" y="266"/>
                    <a:pt x="240" y="266"/>
                    <a:pt x="242" y="265"/>
                  </a:cubicBezTo>
                  <a:cubicBezTo>
                    <a:pt x="249" y="263"/>
                    <a:pt x="252" y="255"/>
                    <a:pt x="259" y="251"/>
                  </a:cubicBezTo>
                  <a:cubicBezTo>
                    <a:pt x="261" y="250"/>
                    <a:pt x="263" y="248"/>
                    <a:pt x="264" y="245"/>
                  </a:cubicBezTo>
                  <a:cubicBezTo>
                    <a:pt x="265" y="244"/>
                    <a:pt x="265" y="242"/>
                    <a:pt x="265" y="241"/>
                  </a:cubicBezTo>
                  <a:cubicBezTo>
                    <a:pt x="263" y="237"/>
                    <a:pt x="261" y="234"/>
                    <a:pt x="257" y="234"/>
                  </a:cubicBezTo>
                  <a:cubicBezTo>
                    <a:pt x="255" y="233"/>
                    <a:pt x="253" y="233"/>
                    <a:pt x="251" y="231"/>
                  </a:cubicBezTo>
                  <a:cubicBezTo>
                    <a:pt x="252" y="231"/>
                    <a:pt x="252" y="231"/>
                    <a:pt x="252" y="231"/>
                  </a:cubicBezTo>
                  <a:cubicBezTo>
                    <a:pt x="252" y="231"/>
                    <a:pt x="252" y="231"/>
                    <a:pt x="252" y="231"/>
                  </a:cubicBezTo>
                  <a:cubicBezTo>
                    <a:pt x="252" y="231"/>
                    <a:pt x="252" y="231"/>
                    <a:pt x="251" y="231"/>
                  </a:cubicBezTo>
                  <a:cubicBezTo>
                    <a:pt x="250" y="230"/>
                    <a:pt x="250" y="229"/>
                    <a:pt x="251" y="228"/>
                  </a:cubicBezTo>
                  <a:cubicBezTo>
                    <a:pt x="252" y="228"/>
                    <a:pt x="252" y="228"/>
                    <a:pt x="252" y="228"/>
                  </a:cubicBezTo>
                  <a:cubicBezTo>
                    <a:pt x="252" y="228"/>
                    <a:pt x="252" y="228"/>
                    <a:pt x="252" y="228"/>
                  </a:cubicBezTo>
                  <a:cubicBezTo>
                    <a:pt x="251" y="228"/>
                    <a:pt x="251" y="228"/>
                    <a:pt x="251" y="228"/>
                  </a:cubicBezTo>
                  <a:cubicBezTo>
                    <a:pt x="251" y="227"/>
                    <a:pt x="250" y="226"/>
                    <a:pt x="249" y="226"/>
                  </a:cubicBezTo>
                  <a:cubicBezTo>
                    <a:pt x="248" y="225"/>
                    <a:pt x="247" y="225"/>
                    <a:pt x="246" y="225"/>
                  </a:cubicBezTo>
                  <a:cubicBezTo>
                    <a:pt x="245" y="225"/>
                    <a:pt x="244" y="225"/>
                    <a:pt x="243" y="225"/>
                  </a:cubicBezTo>
                  <a:cubicBezTo>
                    <a:pt x="241" y="225"/>
                    <a:pt x="239" y="222"/>
                    <a:pt x="240" y="220"/>
                  </a:cubicBezTo>
                  <a:cubicBezTo>
                    <a:pt x="242" y="216"/>
                    <a:pt x="242" y="215"/>
                    <a:pt x="239" y="214"/>
                  </a:cubicBezTo>
                  <a:cubicBezTo>
                    <a:pt x="236" y="212"/>
                    <a:pt x="233" y="210"/>
                    <a:pt x="234" y="207"/>
                  </a:cubicBezTo>
                  <a:cubicBezTo>
                    <a:pt x="231" y="206"/>
                    <a:pt x="228" y="205"/>
                    <a:pt x="225" y="204"/>
                  </a:cubicBezTo>
                  <a:cubicBezTo>
                    <a:pt x="222" y="203"/>
                    <a:pt x="220" y="200"/>
                    <a:pt x="219" y="198"/>
                  </a:cubicBezTo>
                  <a:cubicBezTo>
                    <a:pt x="218" y="193"/>
                    <a:pt x="215" y="190"/>
                    <a:pt x="209" y="189"/>
                  </a:cubicBezTo>
                  <a:cubicBezTo>
                    <a:pt x="208" y="188"/>
                    <a:pt x="207" y="187"/>
                    <a:pt x="208" y="185"/>
                  </a:cubicBezTo>
                  <a:cubicBezTo>
                    <a:pt x="212" y="182"/>
                    <a:pt x="215" y="178"/>
                    <a:pt x="214" y="173"/>
                  </a:cubicBezTo>
                  <a:cubicBezTo>
                    <a:pt x="214" y="172"/>
                    <a:pt x="215" y="171"/>
                    <a:pt x="216" y="172"/>
                  </a:cubicBezTo>
                  <a:cubicBezTo>
                    <a:pt x="219" y="173"/>
                    <a:pt x="221" y="174"/>
                    <a:pt x="224" y="174"/>
                  </a:cubicBezTo>
                  <a:cubicBezTo>
                    <a:pt x="225" y="174"/>
                    <a:pt x="227" y="173"/>
                    <a:pt x="228" y="172"/>
                  </a:cubicBezTo>
                  <a:cubicBezTo>
                    <a:pt x="229" y="171"/>
                    <a:pt x="228" y="169"/>
                    <a:pt x="228" y="168"/>
                  </a:cubicBezTo>
                  <a:cubicBezTo>
                    <a:pt x="228" y="167"/>
                    <a:pt x="227" y="167"/>
                    <a:pt x="227" y="166"/>
                  </a:cubicBezTo>
                  <a:cubicBezTo>
                    <a:pt x="224" y="164"/>
                    <a:pt x="223" y="162"/>
                    <a:pt x="226" y="159"/>
                  </a:cubicBezTo>
                  <a:cubicBezTo>
                    <a:pt x="229" y="156"/>
                    <a:pt x="229" y="153"/>
                    <a:pt x="228" y="150"/>
                  </a:cubicBezTo>
                  <a:cubicBezTo>
                    <a:pt x="226" y="146"/>
                    <a:pt x="224" y="141"/>
                    <a:pt x="223" y="137"/>
                  </a:cubicBezTo>
                  <a:cubicBezTo>
                    <a:pt x="221" y="130"/>
                    <a:pt x="217" y="125"/>
                    <a:pt x="209" y="123"/>
                  </a:cubicBezTo>
                  <a:cubicBezTo>
                    <a:pt x="206" y="123"/>
                    <a:pt x="203" y="121"/>
                    <a:pt x="202" y="117"/>
                  </a:cubicBezTo>
                  <a:cubicBezTo>
                    <a:pt x="202" y="116"/>
                    <a:pt x="200" y="116"/>
                    <a:pt x="199" y="115"/>
                  </a:cubicBezTo>
                  <a:cubicBezTo>
                    <a:pt x="199" y="115"/>
                    <a:pt x="199" y="115"/>
                    <a:pt x="199" y="115"/>
                  </a:cubicBezTo>
                  <a:cubicBezTo>
                    <a:pt x="198" y="115"/>
                    <a:pt x="198" y="115"/>
                    <a:pt x="198" y="115"/>
                  </a:cubicBezTo>
                  <a:cubicBezTo>
                    <a:pt x="199" y="115"/>
                    <a:pt x="199" y="115"/>
                    <a:pt x="199" y="115"/>
                  </a:cubicBezTo>
                  <a:cubicBezTo>
                    <a:pt x="199" y="115"/>
                    <a:pt x="199" y="115"/>
                    <a:pt x="199" y="115"/>
                  </a:cubicBezTo>
                  <a:cubicBezTo>
                    <a:pt x="200" y="111"/>
                    <a:pt x="201" y="108"/>
                    <a:pt x="199" y="104"/>
                  </a:cubicBezTo>
                  <a:cubicBezTo>
                    <a:pt x="197" y="102"/>
                    <a:pt x="196" y="100"/>
                    <a:pt x="194" y="98"/>
                  </a:cubicBezTo>
                  <a:cubicBezTo>
                    <a:pt x="191" y="95"/>
                    <a:pt x="189" y="94"/>
                    <a:pt x="185" y="96"/>
                  </a:cubicBezTo>
                  <a:cubicBezTo>
                    <a:pt x="182" y="98"/>
                    <a:pt x="181" y="98"/>
                    <a:pt x="180" y="95"/>
                  </a:cubicBezTo>
                  <a:cubicBezTo>
                    <a:pt x="178" y="91"/>
                    <a:pt x="175" y="92"/>
                    <a:pt x="172" y="92"/>
                  </a:cubicBezTo>
                  <a:cubicBezTo>
                    <a:pt x="171" y="93"/>
                    <a:pt x="171" y="92"/>
                    <a:pt x="170" y="92"/>
                  </a:cubicBezTo>
                  <a:cubicBezTo>
                    <a:pt x="169" y="91"/>
                    <a:pt x="169" y="91"/>
                    <a:pt x="170" y="90"/>
                  </a:cubicBezTo>
                  <a:cubicBezTo>
                    <a:pt x="172" y="88"/>
                    <a:pt x="173" y="87"/>
                    <a:pt x="174" y="85"/>
                  </a:cubicBezTo>
                  <a:cubicBezTo>
                    <a:pt x="175" y="84"/>
                    <a:pt x="175" y="83"/>
                    <a:pt x="174" y="82"/>
                  </a:cubicBezTo>
                  <a:cubicBezTo>
                    <a:pt x="173" y="81"/>
                    <a:pt x="171" y="80"/>
                    <a:pt x="170" y="79"/>
                  </a:cubicBezTo>
                  <a:cubicBezTo>
                    <a:pt x="169" y="77"/>
                    <a:pt x="171" y="75"/>
                    <a:pt x="171" y="73"/>
                  </a:cubicBezTo>
                  <a:cubicBezTo>
                    <a:pt x="171" y="70"/>
                    <a:pt x="170" y="68"/>
                    <a:pt x="168" y="66"/>
                  </a:cubicBezTo>
                  <a:cubicBezTo>
                    <a:pt x="163" y="62"/>
                    <a:pt x="158" y="59"/>
                    <a:pt x="153" y="55"/>
                  </a:cubicBezTo>
                  <a:cubicBezTo>
                    <a:pt x="152" y="55"/>
                    <a:pt x="152" y="55"/>
                    <a:pt x="152" y="55"/>
                  </a:cubicBezTo>
                  <a:cubicBezTo>
                    <a:pt x="152" y="55"/>
                    <a:pt x="152" y="55"/>
                    <a:pt x="152" y="55"/>
                  </a:cubicBezTo>
                  <a:cubicBezTo>
                    <a:pt x="153" y="55"/>
                    <a:pt x="153" y="55"/>
                    <a:pt x="153" y="55"/>
                  </a:cubicBezTo>
                  <a:cubicBezTo>
                    <a:pt x="147" y="55"/>
                    <a:pt x="143" y="57"/>
                    <a:pt x="139" y="59"/>
                  </a:cubicBezTo>
                  <a:cubicBezTo>
                    <a:pt x="135" y="62"/>
                    <a:pt x="130" y="62"/>
                    <a:pt x="126" y="60"/>
                  </a:cubicBezTo>
                  <a:cubicBezTo>
                    <a:pt x="122" y="58"/>
                    <a:pt x="119" y="59"/>
                    <a:pt x="117" y="61"/>
                  </a:cubicBezTo>
                  <a:cubicBezTo>
                    <a:pt x="116" y="61"/>
                    <a:pt x="116" y="61"/>
                    <a:pt x="116" y="62"/>
                  </a:cubicBezTo>
                  <a:cubicBezTo>
                    <a:pt x="116" y="62"/>
                    <a:pt x="115" y="62"/>
                    <a:pt x="114" y="63"/>
                  </a:cubicBezTo>
                  <a:cubicBezTo>
                    <a:pt x="115" y="62"/>
                    <a:pt x="115" y="62"/>
                    <a:pt x="116" y="61"/>
                  </a:cubicBezTo>
                  <a:cubicBezTo>
                    <a:pt x="116" y="61"/>
                    <a:pt x="116" y="61"/>
                    <a:pt x="117" y="61"/>
                  </a:cubicBezTo>
                  <a:cubicBezTo>
                    <a:pt x="117" y="58"/>
                    <a:pt x="118" y="55"/>
                    <a:pt x="119" y="53"/>
                  </a:cubicBezTo>
                  <a:cubicBezTo>
                    <a:pt x="120" y="46"/>
                    <a:pt x="123" y="39"/>
                    <a:pt x="124" y="32"/>
                  </a:cubicBezTo>
                  <a:cubicBezTo>
                    <a:pt x="124" y="30"/>
                    <a:pt x="124" y="29"/>
                    <a:pt x="126" y="27"/>
                  </a:cubicBezTo>
                  <a:cubicBezTo>
                    <a:pt x="126" y="26"/>
                    <a:pt x="126" y="25"/>
                    <a:pt x="126" y="24"/>
                  </a:cubicBezTo>
                  <a:cubicBezTo>
                    <a:pt x="126" y="18"/>
                    <a:pt x="123" y="17"/>
                    <a:pt x="118" y="16"/>
                  </a:cubicBezTo>
                  <a:cubicBezTo>
                    <a:pt x="115" y="15"/>
                    <a:pt x="113" y="15"/>
                    <a:pt x="110" y="16"/>
                  </a:cubicBezTo>
                  <a:cubicBezTo>
                    <a:pt x="103" y="17"/>
                    <a:pt x="98" y="21"/>
                    <a:pt x="91" y="21"/>
                  </a:cubicBezTo>
                  <a:cubicBezTo>
                    <a:pt x="85" y="21"/>
                    <a:pt x="80" y="23"/>
                    <a:pt x="77" y="27"/>
                  </a:cubicBezTo>
                  <a:cubicBezTo>
                    <a:pt x="75" y="29"/>
                    <a:pt x="72" y="30"/>
                    <a:pt x="70" y="32"/>
                  </a:cubicBezTo>
                  <a:cubicBezTo>
                    <a:pt x="65" y="38"/>
                    <a:pt x="64" y="44"/>
                    <a:pt x="66" y="51"/>
                  </a:cubicBezTo>
                  <a:cubicBezTo>
                    <a:pt x="66" y="52"/>
                    <a:pt x="67" y="54"/>
                    <a:pt x="65" y="54"/>
                  </a:cubicBezTo>
                  <a:cubicBezTo>
                    <a:pt x="62" y="55"/>
                    <a:pt x="60" y="57"/>
                    <a:pt x="58" y="58"/>
                  </a:cubicBezTo>
                  <a:cubicBezTo>
                    <a:pt x="55" y="60"/>
                    <a:pt x="54" y="62"/>
                    <a:pt x="55" y="65"/>
                  </a:cubicBezTo>
                  <a:cubicBezTo>
                    <a:pt x="56" y="68"/>
                    <a:pt x="57" y="71"/>
                    <a:pt x="58" y="74"/>
                  </a:cubicBezTo>
                  <a:cubicBezTo>
                    <a:pt x="58" y="75"/>
                    <a:pt x="58" y="76"/>
                    <a:pt x="58" y="77"/>
                  </a:cubicBezTo>
                  <a:cubicBezTo>
                    <a:pt x="58" y="77"/>
                    <a:pt x="58" y="78"/>
                    <a:pt x="57" y="78"/>
                  </a:cubicBezTo>
                  <a:cubicBezTo>
                    <a:pt x="57" y="78"/>
                    <a:pt x="55" y="79"/>
                    <a:pt x="55" y="78"/>
                  </a:cubicBezTo>
                  <a:cubicBezTo>
                    <a:pt x="50" y="74"/>
                    <a:pt x="47" y="65"/>
                    <a:pt x="49" y="60"/>
                  </a:cubicBezTo>
                  <a:cubicBezTo>
                    <a:pt x="50" y="59"/>
                    <a:pt x="50" y="59"/>
                    <a:pt x="50" y="58"/>
                  </a:cubicBezTo>
                  <a:cubicBezTo>
                    <a:pt x="51" y="57"/>
                    <a:pt x="52" y="55"/>
                    <a:pt x="53" y="53"/>
                  </a:cubicBezTo>
                  <a:cubicBezTo>
                    <a:pt x="56" y="49"/>
                    <a:pt x="57" y="46"/>
                    <a:pt x="56" y="41"/>
                  </a:cubicBezTo>
                  <a:cubicBezTo>
                    <a:pt x="56" y="39"/>
                    <a:pt x="57" y="36"/>
                    <a:pt x="59" y="34"/>
                  </a:cubicBezTo>
                  <a:cubicBezTo>
                    <a:pt x="61" y="33"/>
                    <a:pt x="63" y="32"/>
                    <a:pt x="64" y="30"/>
                  </a:cubicBezTo>
                  <a:cubicBezTo>
                    <a:pt x="70" y="23"/>
                    <a:pt x="77" y="17"/>
                    <a:pt x="86" y="14"/>
                  </a:cubicBezTo>
                  <a:cubicBezTo>
                    <a:pt x="87" y="14"/>
                    <a:pt x="88" y="13"/>
                    <a:pt x="88" y="12"/>
                  </a:cubicBezTo>
                  <a:cubicBezTo>
                    <a:pt x="89" y="11"/>
                    <a:pt x="89" y="9"/>
                    <a:pt x="88" y="9"/>
                  </a:cubicBezTo>
                  <a:cubicBezTo>
                    <a:pt x="87" y="7"/>
                    <a:pt x="86" y="6"/>
                    <a:pt x="84" y="5"/>
                  </a:cubicBezTo>
                  <a:cubicBezTo>
                    <a:pt x="73" y="0"/>
                    <a:pt x="62" y="3"/>
                    <a:pt x="52" y="8"/>
                  </a:cubicBezTo>
                  <a:cubicBezTo>
                    <a:pt x="48" y="11"/>
                    <a:pt x="43" y="14"/>
                    <a:pt x="39" y="18"/>
                  </a:cubicBezTo>
                  <a:cubicBezTo>
                    <a:pt x="33" y="23"/>
                    <a:pt x="29" y="30"/>
                    <a:pt x="22" y="35"/>
                  </a:cubicBezTo>
                  <a:cubicBezTo>
                    <a:pt x="21" y="35"/>
                    <a:pt x="21" y="36"/>
                    <a:pt x="20" y="37"/>
                  </a:cubicBezTo>
                  <a:cubicBezTo>
                    <a:pt x="19" y="39"/>
                    <a:pt x="18" y="40"/>
                    <a:pt x="17" y="42"/>
                  </a:cubicBezTo>
                  <a:cubicBezTo>
                    <a:pt x="16" y="44"/>
                    <a:pt x="15" y="47"/>
                    <a:pt x="14" y="48"/>
                  </a:cubicBezTo>
                  <a:cubicBezTo>
                    <a:pt x="7" y="53"/>
                    <a:pt x="5" y="61"/>
                    <a:pt x="2" y="68"/>
                  </a:cubicBezTo>
                  <a:cubicBezTo>
                    <a:pt x="0" y="71"/>
                    <a:pt x="2" y="75"/>
                    <a:pt x="6" y="77"/>
                  </a:cubicBezTo>
                  <a:cubicBezTo>
                    <a:pt x="10" y="79"/>
                    <a:pt x="14" y="80"/>
                    <a:pt x="18" y="82"/>
                  </a:cubicBezTo>
                  <a:cubicBezTo>
                    <a:pt x="19" y="82"/>
                    <a:pt x="20" y="84"/>
                    <a:pt x="21" y="85"/>
                  </a:cubicBezTo>
                  <a:cubicBezTo>
                    <a:pt x="22" y="85"/>
                    <a:pt x="22" y="87"/>
                    <a:pt x="21" y="88"/>
                  </a:cubicBezTo>
                  <a:cubicBezTo>
                    <a:pt x="21" y="88"/>
                    <a:pt x="19" y="89"/>
                    <a:pt x="18" y="88"/>
                  </a:cubicBezTo>
                  <a:cubicBezTo>
                    <a:pt x="15" y="87"/>
                    <a:pt x="13" y="85"/>
                    <a:pt x="10" y="84"/>
                  </a:cubicBezTo>
                  <a:cubicBezTo>
                    <a:pt x="6" y="82"/>
                    <a:pt x="1" y="85"/>
                    <a:pt x="0" y="89"/>
                  </a:cubicBezTo>
                  <a:cubicBezTo>
                    <a:pt x="0" y="92"/>
                    <a:pt x="0" y="94"/>
                    <a:pt x="0" y="97"/>
                  </a:cubicBezTo>
                  <a:cubicBezTo>
                    <a:pt x="1" y="101"/>
                    <a:pt x="4" y="103"/>
                    <a:pt x="6" y="106"/>
                  </a:cubicBezTo>
                  <a:cubicBezTo>
                    <a:pt x="8" y="109"/>
                    <a:pt x="11" y="109"/>
                    <a:pt x="14" y="109"/>
                  </a:cubicBezTo>
                  <a:cubicBezTo>
                    <a:pt x="15" y="109"/>
                    <a:pt x="17" y="109"/>
                    <a:pt x="18" y="110"/>
                  </a:cubicBezTo>
                  <a:cubicBezTo>
                    <a:pt x="21" y="110"/>
                    <a:pt x="23" y="113"/>
                    <a:pt x="24" y="115"/>
                  </a:cubicBezTo>
                  <a:cubicBezTo>
                    <a:pt x="26" y="118"/>
                    <a:pt x="29" y="120"/>
                    <a:pt x="34" y="120"/>
                  </a:cubicBezTo>
                  <a:cubicBezTo>
                    <a:pt x="38" y="119"/>
                    <a:pt x="39" y="121"/>
                    <a:pt x="40" y="124"/>
                  </a:cubicBezTo>
                  <a:cubicBezTo>
                    <a:pt x="43" y="125"/>
                    <a:pt x="47" y="125"/>
                    <a:pt x="50" y="127"/>
                  </a:cubicBezTo>
                  <a:cubicBezTo>
                    <a:pt x="51" y="127"/>
                    <a:pt x="53" y="126"/>
                    <a:pt x="55" y="127"/>
                  </a:cubicBezTo>
                  <a:close/>
                  <a:moveTo>
                    <a:pt x="216" y="141"/>
                  </a:moveTo>
                  <a:cubicBezTo>
                    <a:pt x="217" y="141"/>
                    <a:pt x="218" y="141"/>
                    <a:pt x="218" y="143"/>
                  </a:cubicBezTo>
                  <a:cubicBezTo>
                    <a:pt x="218" y="144"/>
                    <a:pt x="217" y="145"/>
                    <a:pt x="215" y="146"/>
                  </a:cubicBezTo>
                  <a:cubicBezTo>
                    <a:pt x="215" y="146"/>
                    <a:pt x="215" y="146"/>
                    <a:pt x="215" y="146"/>
                  </a:cubicBezTo>
                  <a:cubicBezTo>
                    <a:pt x="215" y="147"/>
                    <a:pt x="215" y="147"/>
                    <a:pt x="215" y="147"/>
                  </a:cubicBezTo>
                  <a:cubicBezTo>
                    <a:pt x="215" y="146"/>
                    <a:pt x="215" y="146"/>
                    <a:pt x="215" y="146"/>
                  </a:cubicBezTo>
                  <a:cubicBezTo>
                    <a:pt x="215" y="146"/>
                    <a:pt x="215" y="146"/>
                    <a:pt x="215" y="146"/>
                  </a:cubicBezTo>
                  <a:cubicBezTo>
                    <a:pt x="215" y="144"/>
                    <a:pt x="215" y="143"/>
                    <a:pt x="214" y="142"/>
                  </a:cubicBezTo>
                  <a:cubicBezTo>
                    <a:pt x="214" y="142"/>
                    <a:pt x="215" y="141"/>
                    <a:pt x="216" y="141"/>
                  </a:cubicBezTo>
                  <a:close/>
                  <a:moveTo>
                    <a:pt x="113" y="64"/>
                  </a:moveTo>
                  <a:cubicBezTo>
                    <a:pt x="113" y="64"/>
                    <a:pt x="114" y="64"/>
                    <a:pt x="114" y="63"/>
                  </a:cubicBezTo>
                  <a:cubicBezTo>
                    <a:pt x="114" y="64"/>
                    <a:pt x="113" y="64"/>
                    <a:pt x="113" y="65"/>
                  </a:cubicBezTo>
                  <a:cubicBezTo>
                    <a:pt x="113" y="65"/>
                    <a:pt x="112" y="66"/>
                    <a:pt x="113" y="64"/>
                  </a:cubicBezTo>
                  <a:close/>
                  <a:moveTo>
                    <a:pt x="53" y="85"/>
                  </a:moveTo>
                  <a:cubicBezTo>
                    <a:pt x="54" y="85"/>
                    <a:pt x="54" y="85"/>
                    <a:pt x="54" y="85"/>
                  </a:cubicBezTo>
                  <a:cubicBezTo>
                    <a:pt x="52" y="86"/>
                    <a:pt x="52" y="86"/>
                    <a:pt x="52" y="86"/>
                  </a:cubicBezTo>
                  <a:lnTo>
                    <a:pt x="53" y="85"/>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2"/>
            <p:cNvSpPr>
              <a:spLocks/>
            </p:cNvSpPr>
            <p:nvPr/>
          </p:nvSpPr>
          <p:spPr bwMode="auto">
            <a:xfrm>
              <a:off x="8221856" y="1531800"/>
              <a:ext cx="1812"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1" y="0"/>
                  </a:cubicBezTo>
                  <a:cubicBezTo>
                    <a:pt x="1" y="0"/>
                    <a:pt x="1" y="0"/>
                    <a:pt x="0" y="0"/>
                  </a:cubicBezTo>
                  <a:cubicBezTo>
                    <a:pt x="0"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3"/>
            <p:cNvSpPr>
              <a:spLocks/>
            </p:cNvSpPr>
            <p:nvPr/>
          </p:nvSpPr>
          <p:spPr bwMode="auto">
            <a:xfrm>
              <a:off x="8049743" y="1523647"/>
              <a:ext cx="437530" cy="362343"/>
            </a:xfrm>
            <a:custGeom>
              <a:avLst/>
              <a:gdLst>
                <a:gd name="T0" fmla="*/ 74 w 204"/>
                <a:gd name="T1" fmla="*/ 6 h 169"/>
                <a:gd name="T2" fmla="*/ 62 w 204"/>
                <a:gd name="T3" fmla="*/ 9 h 169"/>
                <a:gd name="T4" fmla="*/ 32 w 204"/>
                <a:gd name="T5" fmla="*/ 26 h 169"/>
                <a:gd name="T6" fmla="*/ 22 w 204"/>
                <a:gd name="T7" fmla="*/ 33 h 169"/>
                <a:gd name="T8" fmla="*/ 18 w 204"/>
                <a:gd name="T9" fmla="*/ 49 h 169"/>
                <a:gd name="T10" fmla="*/ 23 w 204"/>
                <a:gd name="T11" fmla="*/ 54 h 169"/>
                <a:gd name="T12" fmla="*/ 39 w 204"/>
                <a:gd name="T13" fmla="*/ 57 h 169"/>
                <a:gd name="T14" fmla="*/ 21 w 204"/>
                <a:gd name="T15" fmla="*/ 60 h 169"/>
                <a:gd name="T16" fmla="*/ 9 w 204"/>
                <a:gd name="T17" fmla="*/ 67 h 169"/>
                <a:gd name="T18" fmla="*/ 18 w 204"/>
                <a:gd name="T19" fmla="*/ 82 h 169"/>
                <a:gd name="T20" fmla="*/ 51 w 204"/>
                <a:gd name="T21" fmla="*/ 87 h 169"/>
                <a:gd name="T22" fmla="*/ 67 w 204"/>
                <a:gd name="T23" fmla="*/ 105 h 169"/>
                <a:gd name="T24" fmla="*/ 42 w 204"/>
                <a:gd name="T25" fmla="*/ 98 h 169"/>
                <a:gd name="T26" fmla="*/ 10 w 204"/>
                <a:gd name="T27" fmla="*/ 95 h 169"/>
                <a:gd name="T28" fmla="*/ 1 w 204"/>
                <a:gd name="T29" fmla="*/ 113 h 169"/>
                <a:gd name="T30" fmla="*/ 24 w 204"/>
                <a:gd name="T31" fmla="*/ 131 h 169"/>
                <a:gd name="T32" fmla="*/ 22 w 204"/>
                <a:gd name="T33" fmla="*/ 142 h 169"/>
                <a:gd name="T34" fmla="*/ 23 w 204"/>
                <a:gd name="T35" fmla="*/ 155 h 169"/>
                <a:gd name="T36" fmla="*/ 31 w 204"/>
                <a:gd name="T37" fmla="*/ 158 h 169"/>
                <a:gd name="T38" fmla="*/ 66 w 204"/>
                <a:gd name="T39" fmla="*/ 158 h 169"/>
                <a:gd name="T40" fmla="*/ 85 w 204"/>
                <a:gd name="T41" fmla="*/ 153 h 169"/>
                <a:gd name="T42" fmla="*/ 103 w 204"/>
                <a:gd name="T43" fmla="*/ 146 h 169"/>
                <a:gd name="T44" fmla="*/ 106 w 204"/>
                <a:gd name="T45" fmla="*/ 149 h 169"/>
                <a:gd name="T46" fmla="*/ 117 w 204"/>
                <a:gd name="T47" fmla="*/ 162 h 169"/>
                <a:gd name="T48" fmla="*/ 134 w 204"/>
                <a:gd name="T49" fmla="*/ 167 h 169"/>
                <a:gd name="T50" fmla="*/ 156 w 204"/>
                <a:gd name="T51" fmla="*/ 162 h 169"/>
                <a:gd name="T52" fmla="*/ 153 w 204"/>
                <a:gd name="T53" fmla="*/ 148 h 169"/>
                <a:gd name="T54" fmla="*/ 148 w 204"/>
                <a:gd name="T55" fmla="*/ 150 h 169"/>
                <a:gd name="T56" fmla="*/ 153 w 204"/>
                <a:gd name="T57" fmla="*/ 148 h 169"/>
                <a:gd name="T58" fmla="*/ 154 w 204"/>
                <a:gd name="T59" fmla="*/ 148 h 169"/>
                <a:gd name="T60" fmla="*/ 157 w 204"/>
                <a:gd name="T61" fmla="*/ 145 h 169"/>
                <a:gd name="T62" fmla="*/ 170 w 204"/>
                <a:gd name="T63" fmla="*/ 151 h 169"/>
                <a:gd name="T64" fmla="*/ 178 w 204"/>
                <a:gd name="T65" fmla="*/ 134 h 169"/>
                <a:gd name="T66" fmla="*/ 170 w 204"/>
                <a:gd name="T67" fmla="*/ 121 h 169"/>
                <a:gd name="T68" fmla="*/ 159 w 204"/>
                <a:gd name="T69" fmla="*/ 101 h 169"/>
                <a:gd name="T70" fmla="*/ 167 w 204"/>
                <a:gd name="T71" fmla="*/ 77 h 169"/>
                <a:gd name="T72" fmla="*/ 177 w 204"/>
                <a:gd name="T73" fmla="*/ 47 h 169"/>
                <a:gd name="T74" fmla="*/ 201 w 204"/>
                <a:gd name="T75" fmla="*/ 28 h 169"/>
                <a:gd name="T76" fmla="*/ 196 w 204"/>
                <a:gd name="T77" fmla="*/ 12 h 169"/>
                <a:gd name="T78" fmla="*/ 176 w 204"/>
                <a:gd name="T79" fmla="*/ 14 h 169"/>
                <a:gd name="T80" fmla="*/ 176 w 204"/>
                <a:gd name="T81" fmla="*/ 31 h 169"/>
                <a:gd name="T82" fmla="*/ 177 w 204"/>
                <a:gd name="T83" fmla="*/ 32 h 169"/>
                <a:gd name="T84" fmla="*/ 176 w 204"/>
                <a:gd name="T85" fmla="*/ 31 h 169"/>
                <a:gd name="T86" fmla="*/ 169 w 204"/>
                <a:gd name="T87" fmla="*/ 24 h 169"/>
                <a:gd name="T88" fmla="*/ 155 w 204"/>
                <a:gd name="T89" fmla="*/ 25 h 169"/>
                <a:gd name="T90" fmla="*/ 144 w 204"/>
                <a:gd name="T91" fmla="*/ 51 h 169"/>
                <a:gd name="T92" fmla="*/ 137 w 204"/>
                <a:gd name="T93" fmla="*/ 71 h 169"/>
                <a:gd name="T94" fmla="*/ 132 w 204"/>
                <a:gd name="T95" fmla="*/ 74 h 169"/>
                <a:gd name="T96" fmla="*/ 135 w 204"/>
                <a:gd name="T97" fmla="*/ 54 h 169"/>
                <a:gd name="T98" fmla="*/ 133 w 204"/>
                <a:gd name="T99" fmla="*/ 28 h 169"/>
                <a:gd name="T100" fmla="*/ 125 w 204"/>
                <a:gd name="T101" fmla="*/ 40 h 169"/>
                <a:gd name="T102" fmla="*/ 107 w 204"/>
                <a:gd name="T103" fmla="*/ 41 h 169"/>
                <a:gd name="T104" fmla="*/ 107 w 204"/>
                <a:gd name="T105" fmla="*/ 39 h 169"/>
                <a:gd name="T106" fmla="*/ 116 w 204"/>
                <a:gd name="T107" fmla="*/ 30 h 169"/>
                <a:gd name="T108" fmla="*/ 97 w 204"/>
                <a:gd name="T109" fmla="*/ 19 h 169"/>
                <a:gd name="T110" fmla="*/ 88 w 204"/>
                <a:gd name="T111" fmla="*/ 25 h 169"/>
                <a:gd name="T112" fmla="*/ 96 w 204"/>
                <a:gd name="T113" fmla="*/ 11 h 169"/>
                <a:gd name="T114" fmla="*/ 91 w 204"/>
                <a:gd name="T115" fmla="*/ 1 h 169"/>
                <a:gd name="T116" fmla="*/ 91 w 204"/>
                <a:gd name="T117" fmla="*/ 0 h 169"/>
                <a:gd name="T118" fmla="*/ 81 w 204"/>
                <a:gd name="T119" fmla="*/ 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4" h="169">
                  <a:moveTo>
                    <a:pt x="81" y="4"/>
                  </a:moveTo>
                  <a:cubicBezTo>
                    <a:pt x="79" y="5"/>
                    <a:pt x="76" y="6"/>
                    <a:pt x="74" y="6"/>
                  </a:cubicBezTo>
                  <a:cubicBezTo>
                    <a:pt x="70" y="7"/>
                    <a:pt x="67" y="7"/>
                    <a:pt x="64" y="7"/>
                  </a:cubicBezTo>
                  <a:cubicBezTo>
                    <a:pt x="63" y="8"/>
                    <a:pt x="63" y="9"/>
                    <a:pt x="62" y="9"/>
                  </a:cubicBezTo>
                  <a:cubicBezTo>
                    <a:pt x="55" y="13"/>
                    <a:pt x="47" y="16"/>
                    <a:pt x="40" y="19"/>
                  </a:cubicBezTo>
                  <a:cubicBezTo>
                    <a:pt x="36" y="20"/>
                    <a:pt x="33" y="22"/>
                    <a:pt x="32" y="26"/>
                  </a:cubicBezTo>
                  <a:cubicBezTo>
                    <a:pt x="32" y="28"/>
                    <a:pt x="30" y="29"/>
                    <a:pt x="29" y="29"/>
                  </a:cubicBezTo>
                  <a:cubicBezTo>
                    <a:pt x="27" y="31"/>
                    <a:pt x="24" y="32"/>
                    <a:pt x="22" y="33"/>
                  </a:cubicBezTo>
                  <a:cubicBezTo>
                    <a:pt x="19" y="36"/>
                    <a:pt x="16" y="38"/>
                    <a:pt x="15" y="42"/>
                  </a:cubicBezTo>
                  <a:cubicBezTo>
                    <a:pt x="15" y="44"/>
                    <a:pt x="17" y="47"/>
                    <a:pt x="18" y="49"/>
                  </a:cubicBezTo>
                  <a:cubicBezTo>
                    <a:pt x="18" y="49"/>
                    <a:pt x="18" y="50"/>
                    <a:pt x="18" y="50"/>
                  </a:cubicBezTo>
                  <a:cubicBezTo>
                    <a:pt x="19" y="53"/>
                    <a:pt x="21" y="54"/>
                    <a:pt x="23" y="54"/>
                  </a:cubicBezTo>
                  <a:cubicBezTo>
                    <a:pt x="28" y="55"/>
                    <a:pt x="33" y="55"/>
                    <a:pt x="38" y="56"/>
                  </a:cubicBezTo>
                  <a:cubicBezTo>
                    <a:pt x="38" y="56"/>
                    <a:pt x="39" y="56"/>
                    <a:pt x="39" y="57"/>
                  </a:cubicBezTo>
                  <a:cubicBezTo>
                    <a:pt x="39" y="58"/>
                    <a:pt x="38" y="59"/>
                    <a:pt x="37" y="59"/>
                  </a:cubicBezTo>
                  <a:cubicBezTo>
                    <a:pt x="32" y="59"/>
                    <a:pt x="26" y="60"/>
                    <a:pt x="21" y="60"/>
                  </a:cubicBezTo>
                  <a:cubicBezTo>
                    <a:pt x="17" y="60"/>
                    <a:pt x="14" y="61"/>
                    <a:pt x="11" y="63"/>
                  </a:cubicBezTo>
                  <a:cubicBezTo>
                    <a:pt x="10" y="64"/>
                    <a:pt x="9" y="66"/>
                    <a:pt x="9" y="67"/>
                  </a:cubicBezTo>
                  <a:cubicBezTo>
                    <a:pt x="9" y="69"/>
                    <a:pt x="9" y="71"/>
                    <a:pt x="9" y="73"/>
                  </a:cubicBezTo>
                  <a:cubicBezTo>
                    <a:pt x="10" y="79"/>
                    <a:pt x="11" y="81"/>
                    <a:pt x="18" y="82"/>
                  </a:cubicBezTo>
                  <a:cubicBezTo>
                    <a:pt x="27" y="84"/>
                    <a:pt x="36" y="87"/>
                    <a:pt x="46" y="86"/>
                  </a:cubicBezTo>
                  <a:cubicBezTo>
                    <a:pt x="47" y="86"/>
                    <a:pt x="49" y="87"/>
                    <a:pt x="51" y="87"/>
                  </a:cubicBezTo>
                  <a:cubicBezTo>
                    <a:pt x="57" y="91"/>
                    <a:pt x="63" y="96"/>
                    <a:pt x="67" y="103"/>
                  </a:cubicBezTo>
                  <a:cubicBezTo>
                    <a:pt x="67" y="104"/>
                    <a:pt x="68" y="105"/>
                    <a:pt x="67" y="105"/>
                  </a:cubicBezTo>
                  <a:cubicBezTo>
                    <a:pt x="66" y="105"/>
                    <a:pt x="66" y="105"/>
                    <a:pt x="65" y="105"/>
                  </a:cubicBezTo>
                  <a:cubicBezTo>
                    <a:pt x="57" y="105"/>
                    <a:pt x="49" y="102"/>
                    <a:pt x="42" y="98"/>
                  </a:cubicBezTo>
                  <a:cubicBezTo>
                    <a:pt x="39" y="97"/>
                    <a:pt x="36" y="95"/>
                    <a:pt x="33" y="95"/>
                  </a:cubicBezTo>
                  <a:cubicBezTo>
                    <a:pt x="25" y="95"/>
                    <a:pt x="17" y="95"/>
                    <a:pt x="10" y="95"/>
                  </a:cubicBezTo>
                  <a:cubicBezTo>
                    <a:pt x="6" y="95"/>
                    <a:pt x="4" y="97"/>
                    <a:pt x="2" y="100"/>
                  </a:cubicBezTo>
                  <a:cubicBezTo>
                    <a:pt x="0" y="104"/>
                    <a:pt x="0" y="108"/>
                    <a:pt x="1" y="113"/>
                  </a:cubicBezTo>
                  <a:cubicBezTo>
                    <a:pt x="1" y="120"/>
                    <a:pt x="5" y="125"/>
                    <a:pt x="13" y="128"/>
                  </a:cubicBezTo>
                  <a:cubicBezTo>
                    <a:pt x="16" y="129"/>
                    <a:pt x="20" y="129"/>
                    <a:pt x="24" y="131"/>
                  </a:cubicBezTo>
                  <a:cubicBezTo>
                    <a:pt x="25" y="131"/>
                    <a:pt x="26" y="134"/>
                    <a:pt x="26" y="135"/>
                  </a:cubicBezTo>
                  <a:cubicBezTo>
                    <a:pt x="25" y="137"/>
                    <a:pt x="23" y="139"/>
                    <a:pt x="22" y="142"/>
                  </a:cubicBezTo>
                  <a:cubicBezTo>
                    <a:pt x="22" y="143"/>
                    <a:pt x="21" y="145"/>
                    <a:pt x="21" y="146"/>
                  </a:cubicBezTo>
                  <a:cubicBezTo>
                    <a:pt x="22" y="149"/>
                    <a:pt x="22" y="152"/>
                    <a:pt x="23" y="155"/>
                  </a:cubicBezTo>
                  <a:cubicBezTo>
                    <a:pt x="24" y="156"/>
                    <a:pt x="25" y="157"/>
                    <a:pt x="26" y="157"/>
                  </a:cubicBezTo>
                  <a:cubicBezTo>
                    <a:pt x="27" y="157"/>
                    <a:pt x="29" y="157"/>
                    <a:pt x="31" y="158"/>
                  </a:cubicBezTo>
                  <a:cubicBezTo>
                    <a:pt x="38" y="158"/>
                    <a:pt x="46" y="157"/>
                    <a:pt x="54" y="159"/>
                  </a:cubicBezTo>
                  <a:cubicBezTo>
                    <a:pt x="58" y="161"/>
                    <a:pt x="62" y="160"/>
                    <a:pt x="66" y="158"/>
                  </a:cubicBezTo>
                  <a:cubicBezTo>
                    <a:pt x="69" y="157"/>
                    <a:pt x="71" y="156"/>
                    <a:pt x="74" y="155"/>
                  </a:cubicBezTo>
                  <a:cubicBezTo>
                    <a:pt x="77" y="153"/>
                    <a:pt x="81" y="152"/>
                    <a:pt x="85" y="153"/>
                  </a:cubicBezTo>
                  <a:cubicBezTo>
                    <a:pt x="89" y="153"/>
                    <a:pt x="93" y="152"/>
                    <a:pt x="97" y="149"/>
                  </a:cubicBezTo>
                  <a:cubicBezTo>
                    <a:pt x="99" y="148"/>
                    <a:pt x="101" y="147"/>
                    <a:pt x="103" y="146"/>
                  </a:cubicBezTo>
                  <a:cubicBezTo>
                    <a:pt x="104" y="146"/>
                    <a:pt x="105" y="146"/>
                    <a:pt x="106" y="147"/>
                  </a:cubicBezTo>
                  <a:cubicBezTo>
                    <a:pt x="106" y="148"/>
                    <a:pt x="106" y="148"/>
                    <a:pt x="106" y="149"/>
                  </a:cubicBezTo>
                  <a:cubicBezTo>
                    <a:pt x="107" y="152"/>
                    <a:pt x="110" y="153"/>
                    <a:pt x="112" y="154"/>
                  </a:cubicBezTo>
                  <a:cubicBezTo>
                    <a:pt x="116" y="156"/>
                    <a:pt x="114" y="160"/>
                    <a:pt x="117" y="162"/>
                  </a:cubicBezTo>
                  <a:cubicBezTo>
                    <a:pt x="117" y="162"/>
                    <a:pt x="117" y="163"/>
                    <a:pt x="118" y="163"/>
                  </a:cubicBezTo>
                  <a:cubicBezTo>
                    <a:pt x="123" y="164"/>
                    <a:pt x="128" y="166"/>
                    <a:pt x="134" y="167"/>
                  </a:cubicBezTo>
                  <a:cubicBezTo>
                    <a:pt x="139" y="168"/>
                    <a:pt x="144" y="169"/>
                    <a:pt x="150" y="167"/>
                  </a:cubicBezTo>
                  <a:cubicBezTo>
                    <a:pt x="153" y="166"/>
                    <a:pt x="155" y="165"/>
                    <a:pt x="156" y="162"/>
                  </a:cubicBezTo>
                  <a:cubicBezTo>
                    <a:pt x="157" y="157"/>
                    <a:pt x="158" y="152"/>
                    <a:pt x="154" y="148"/>
                  </a:cubicBezTo>
                  <a:cubicBezTo>
                    <a:pt x="154" y="148"/>
                    <a:pt x="153" y="148"/>
                    <a:pt x="153" y="148"/>
                  </a:cubicBezTo>
                  <a:cubicBezTo>
                    <a:pt x="152" y="149"/>
                    <a:pt x="151" y="150"/>
                    <a:pt x="150" y="150"/>
                  </a:cubicBezTo>
                  <a:cubicBezTo>
                    <a:pt x="149" y="150"/>
                    <a:pt x="149" y="151"/>
                    <a:pt x="148" y="150"/>
                  </a:cubicBezTo>
                  <a:cubicBezTo>
                    <a:pt x="147" y="149"/>
                    <a:pt x="147" y="149"/>
                    <a:pt x="149" y="148"/>
                  </a:cubicBezTo>
                  <a:cubicBezTo>
                    <a:pt x="150" y="148"/>
                    <a:pt x="152" y="148"/>
                    <a:pt x="153" y="148"/>
                  </a:cubicBezTo>
                  <a:cubicBezTo>
                    <a:pt x="153" y="148"/>
                    <a:pt x="153" y="148"/>
                    <a:pt x="153" y="148"/>
                  </a:cubicBezTo>
                  <a:cubicBezTo>
                    <a:pt x="154" y="148"/>
                    <a:pt x="154" y="148"/>
                    <a:pt x="154" y="148"/>
                  </a:cubicBezTo>
                  <a:cubicBezTo>
                    <a:pt x="154" y="148"/>
                    <a:pt x="154" y="148"/>
                    <a:pt x="154" y="148"/>
                  </a:cubicBezTo>
                  <a:cubicBezTo>
                    <a:pt x="155" y="147"/>
                    <a:pt x="156" y="146"/>
                    <a:pt x="157" y="145"/>
                  </a:cubicBezTo>
                  <a:cubicBezTo>
                    <a:pt x="158" y="143"/>
                    <a:pt x="160" y="143"/>
                    <a:pt x="161" y="144"/>
                  </a:cubicBezTo>
                  <a:cubicBezTo>
                    <a:pt x="164" y="147"/>
                    <a:pt x="168" y="147"/>
                    <a:pt x="170" y="151"/>
                  </a:cubicBezTo>
                  <a:cubicBezTo>
                    <a:pt x="174" y="150"/>
                    <a:pt x="177" y="147"/>
                    <a:pt x="179" y="143"/>
                  </a:cubicBezTo>
                  <a:cubicBezTo>
                    <a:pt x="180" y="140"/>
                    <a:pt x="180" y="137"/>
                    <a:pt x="178" y="134"/>
                  </a:cubicBezTo>
                  <a:cubicBezTo>
                    <a:pt x="177" y="132"/>
                    <a:pt x="176" y="131"/>
                    <a:pt x="174" y="129"/>
                  </a:cubicBezTo>
                  <a:cubicBezTo>
                    <a:pt x="172" y="127"/>
                    <a:pt x="170" y="124"/>
                    <a:pt x="170" y="121"/>
                  </a:cubicBezTo>
                  <a:cubicBezTo>
                    <a:pt x="169" y="117"/>
                    <a:pt x="168" y="114"/>
                    <a:pt x="164" y="112"/>
                  </a:cubicBezTo>
                  <a:cubicBezTo>
                    <a:pt x="161" y="109"/>
                    <a:pt x="160" y="105"/>
                    <a:pt x="159" y="101"/>
                  </a:cubicBezTo>
                  <a:cubicBezTo>
                    <a:pt x="157" y="98"/>
                    <a:pt x="158" y="96"/>
                    <a:pt x="160" y="94"/>
                  </a:cubicBezTo>
                  <a:cubicBezTo>
                    <a:pt x="165" y="89"/>
                    <a:pt x="167" y="83"/>
                    <a:pt x="167" y="77"/>
                  </a:cubicBezTo>
                  <a:cubicBezTo>
                    <a:pt x="167" y="74"/>
                    <a:pt x="167" y="72"/>
                    <a:pt x="168" y="69"/>
                  </a:cubicBezTo>
                  <a:cubicBezTo>
                    <a:pt x="171" y="62"/>
                    <a:pt x="174" y="55"/>
                    <a:pt x="177" y="47"/>
                  </a:cubicBezTo>
                  <a:cubicBezTo>
                    <a:pt x="178" y="45"/>
                    <a:pt x="180" y="43"/>
                    <a:pt x="182" y="42"/>
                  </a:cubicBezTo>
                  <a:cubicBezTo>
                    <a:pt x="189" y="38"/>
                    <a:pt x="195" y="33"/>
                    <a:pt x="201" y="28"/>
                  </a:cubicBezTo>
                  <a:cubicBezTo>
                    <a:pt x="202" y="27"/>
                    <a:pt x="203" y="25"/>
                    <a:pt x="203" y="23"/>
                  </a:cubicBezTo>
                  <a:cubicBezTo>
                    <a:pt x="204" y="17"/>
                    <a:pt x="202" y="14"/>
                    <a:pt x="196" y="12"/>
                  </a:cubicBezTo>
                  <a:cubicBezTo>
                    <a:pt x="193" y="12"/>
                    <a:pt x="190" y="11"/>
                    <a:pt x="186" y="10"/>
                  </a:cubicBezTo>
                  <a:cubicBezTo>
                    <a:pt x="182" y="9"/>
                    <a:pt x="179" y="12"/>
                    <a:pt x="176" y="14"/>
                  </a:cubicBezTo>
                  <a:cubicBezTo>
                    <a:pt x="174" y="16"/>
                    <a:pt x="174" y="18"/>
                    <a:pt x="175" y="21"/>
                  </a:cubicBezTo>
                  <a:cubicBezTo>
                    <a:pt x="176" y="24"/>
                    <a:pt x="176" y="28"/>
                    <a:pt x="176" y="31"/>
                  </a:cubicBezTo>
                  <a:cubicBezTo>
                    <a:pt x="176" y="31"/>
                    <a:pt x="176" y="32"/>
                    <a:pt x="176" y="32"/>
                  </a:cubicBezTo>
                  <a:cubicBezTo>
                    <a:pt x="177" y="32"/>
                    <a:pt x="177" y="32"/>
                    <a:pt x="177" y="32"/>
                  </a:cubicBezTo>
                  <a:cubicBezTo>
                    <a:pt x="176" y="32"/>
                    <a:pt x="176" y="32"/>
                    <a:pt x="176" y="32"/>
                  </a:cubicBezTo>
                  <a:cubicBezTo>
                    <a:pt x="176" y="32"/>
                    <a:pt x="176" y="31"/>
                    <a:pt x="176" y="31"/>
                  </a:cubicBezTo>
                  <a:cubicBezTo>
                    <a:pt x="176" y="30"/>
                    <a:pt x="175" y="30"/>
                    <a:pt x="175" y="29"/>
                  </a:cubicBezTo>
                  <a:cubicBezTo>
                    <a:pt x="174" y="26"/>
                    <a:pt x="172" y="24"/>
                    <a:pt x="169" y="24"/>
                  </a:cubicBezTo>
                  <a:cubicBezTo>
                    <a:pt x="168" y="23"/>
                    <a:pt x="166" y="23"/>
                    <a:pt x="165" y="22"/>
                  </a:cubicBezTo>
                  <a:cubicBezTo>
                    <a:pt x="160" y="19"/>
                    <a:pt x="157" y="22"/>
                    <a:pt x="155" y="25"/>
                  </a:cubicBezTo>
                  <a:cubicBezTo>
                    <a:pt x="154" y="27"/>
                    <a:pt x="152" y="29"/>
                    <a:pt x="151" y="32"/>
                  </a:cubicBezTo>
                  <a:cubicBezTo>
                    <a:pt x="149" y="38"/>
                    <a:pt x="147" y="45"/>
                    <a:pt x="144" y="51"/>
                  </a:cubicBezTo>
                  <a:cubicBezTo>
                    <a:pt x="140" y="57"/>
                    <a:pt x="140" y="64"/>
                    <a:pt x="137" y="70"/>
                  </a:cubicBezTo>
                  <a:cubicBezTo>
                    <a:pt x="137" y="70"/>
                    <a:pt x="137" y="71"/>
                    <a:pt x="137" y="71"/>
                  </a:cubicBezTo>
                  <a:cubicBezTo>
                    <a:pt x="137" y="72"/>
                    <a:pt x="136" y="72"/>
                    <a:pt x="136" y="73"/>
                  </a:cubicBezTo>
                  <a:cubicBezTo>
                    <a:pt x="135" y="74"/>
                    <a:pt x="133" y="75"/>
                    <a:pt x="132" y="74"/>
                  </a:cubicBezTo>
                  <a:cubicBezTo>
                    <a:pt x="131" y="74"/>
                    <a:pt x="129" y="72"/>
                    <a:pt x="129" y="71"/>
                  </a:cubicBezTo>
                  <a:cubicBezTo>
                    <a:pt x="131" y="65"/>
                    <a:pt x="132" y="60"/>
                    <a:pt x="135" y="54"/>
                  </a:cubicBezTo>
                  <a:cubicBezTo>
                    <a:pt x="138" y="47"/>
                    <a:pt x="138" y="39"/>
                    <a:pt x="136" y="32"/>
                  </a:cubicBezTo>
                  <a:cubicBezTo>
                    <a:pt x="135" y="30"/>
                    <a:pt x="134" y="29"/>
                    <a:pt x="133" y="28"/>
                  </a:cubicBezTo>
                  <a:cubicBezTo>
                    <a:pt x="132" y="26"/>
                    <a:pt x="128" y="27"/>
                    <a:pt x="128" y="29"/>
                  </a:cubicBezTo>
                  <a:cubicBezTo>
                    <a:pt x="127" y="32"/>
                    <a:pt x="126" y="36"/>
                    <a:pt x="125" y="40"/>
                  </a:cubicBezTo>
                  <a:cubicBezTo>
                    <a:pt x="125" y="41"/>
                    <a:pt x="124" y="43"/>
                    <a:pt x="122" y="42"/>
                  </a:cubicBezTo>
                  <a:cubicBezTo>
                    <a:pt x="117" y="41"/>
                    <a:pt x="112" y="41"/>
                    <a:pt x="107" y="41"/>
                  </a:cubicBezTo>
                  <a:cubicBezTo>
                    <a:pt x="106" y="41"/>
                    <a:pt x="105" y="40"/>
                    <a:pt x="106" y="40"/>
                  </a:cubicBezTo>
                  <a:cubicBezTo>
                    <a:pt x="106" y="39"/>
                    <a:pt x="107" y="39"/>
                    <a:pt x="107" y="39"/>
                  </a:cubicBezTo>
                  <a:cubicBezTo>
                    <a:pt x="110" y="38"/>
                    <a:pt x="112" y="37"/>
                    <a:pt x="114" y="35"/>
                  </a:cubicBezTo>
                  <a:cubicBezTo>
                    <a:pt x="116" y="34"/>
                    <a:pt x="116" y="31"/>
                    <a:pt x="116" y="30"/>
                  </a:cubicBezTo>
                  <a:cubicBezTo>
                    <a:pt x="114" y="26"/>
                    <a:pt x="110" y="23"/>
                    <a:pt x="107" y="20"/>
                  </a:cubicBezTo>
                  <a:cubicBezTo>
                    <a:pt x="104" y="17"/>
                    <a:pt x="101" y="17"/>
                    <a:pt x="97" y="19"/>
                  </a:cubicBezTo>
                  <a:cubicBezTo>
                    <a:pt x="95" y="20"/>
                    <a:pt x="94" y="22"/>
                    <a:pt x="92" y="23"/>
                  </a:cubicBezTo>
                  <a:cubicBezTo>
                    <a:pt x="91" y="25"/>
                    <a:pt x="90" y="25"/>
                    <a:pt x="88" y="25"/>
                  </a:cubicBezTo>
                  <a:cubicBezTo>
                    <a:pt x="86" y="24"/>
                    <a:pt x="86" y="24"/>
                    <a:pt x="88" y="21"/>
                  </a:cubicBezTo>
                  <a:cubicBezTo>
                    <a:pt x="91" y="18"/>
                    <a:pt x="94" y="14"/>
                    <a:pt x="96" y="11"/>
                  </a:cubicBezTo>
                  <a:cubicBezTo>
                    <a:pt x="97" y="8"/>
                    <a:pt x="96" y="5"/>
                    <a:pt x="93" y="2"/>
                  </a:cubicBezTo>
                  <a:cubicBezTo>
                    <a:pt x="93" y="2"/>
                    <a:pt x="91" y="1"/>
                    <a:pt x="91" y="1"/>
                  </a:cubicBezTo>
                  <a:cubicBezTo>
                    <a:pt x="91" y="0"/>
                    <a:pt x="91" y="0"/>
                    <a:pt x="91" y="0"/>
                  </a:cubicBezTo>
                  <a:cubicBezTo>
                    <a:pt x="91" y="0"/>
                    <a:pt x="91" y="0"/>
                    <a:pt x="91" y="0"/>
                  </a:cubicBezTo>
                  <a:cubicBezTo>
                    <a:pt x="91" y="1"/>
                    <a:pt x="91" y="1"/>
                    <a:pt x="91" y="1"/>
                  </a:cubicBezTo>
                  <a:cubicBezTo>
                    <a:pt x="88" y="3"/>
                    <a:pt x="84" y="3"/>
                    <a:pt x="81" y="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4"/>
            <p:cNvSpPr>
              <a:spLocks/>
            </p:cNvSpPr>
            <p:nvPr/>
          </p:nvSpPr>
          <p:spPr bwMode="auto">
            <a:xfrm>
              <a:off x="8936578" y="1019990"/>
              <a:ext cx="197477" cy="302557"/>
            </a:xfrm>
            <a:custGeom>
              <a:avLst/>
              <a:gdLst>
                <a:gd name="T0" fmla="*/ 15 w 92"/>
                <a:gd name="T1" fmla="*/ 138 h 141"/>
                <a:gd name="T2" fmla="*/ 32 w 92"/>
                <a:gd name="T3" fmla="*/ 139 h 141"/>
                <a:gd name="T4" fmla="*/ 37 w 92"/>
                <a:gd name="T5" fmla="*/ 135 h 141"/>
                <a:gd name="T6" fmla="*/ 37 w 92"/>
                <a:gd name="T7" fmla="*/ 135 h 141"/>
                <a:gd name="T8" fmla="*/ 57 w 92"/>
                <a:gd name="T9" fmla="*/ 122 h 141"/>
                <a:gd name="T10" fmla="*/ 67 w 92"/>
                <a:gd name="T11" fmla="*/ 114 h 141"/>
                <a:gd name="T12" fmla="*/ 67 w 92"/>
                <a:gd name="T13" fmla="*/ 114 h 141"/>
                <a:gd name="T14" fmla="*/ 67 w 92"/>
                <a:gd name="T15" fmla="*/ 114 h 141"/>
                <a:gd name="T16" fmla="*/ 73 w 92"/>
                <a:gd name="T17" fmla="*/ 119 h 141"/>
                <a:gd name="T18" fmla="*/ 87 w 92"/>
                <a:gd name="T19" fmla="*/ 102 h 141"/>
                <a:gd name="T20" fmla="*/ 82 w 92"/>
                <a:gd name="T21" fmla="*/ 84 h 141"/>
                <a:gd name="T22" fmla="*/ 90 w 92"/>
                <a:gd name="T23" fmla="*/ 72 h 141"/>
                <a:gd name="T24" fmla="*/ 92 w 92"/>
                <a:gd name="T25" fmla="*/ 55 h 141"/>
                <a:gd name="T26" fmla="*/ 77 w 92"/>
                <a:gd name="T27" fmla="*/ 43 h 141"/>
                <a:gd name="T28" fmla="*/ 75 w 92"/>
                <a:gd name="T29" fmla="*/ 27 h 141"/>
                <a:gd name="T30" fmla="*/ 70 w 92"/>
                <a:gd name="T31" fmla="*/ 2 h 141"/>
                <a:gd name="T32" fmla="*/ 55 w 92"/>
                <a:gd name="T33" fmla="*/ 4 h 141"/>
                <a:gd name="T34" fmla="*/ 64 w 92"/>
                <a:gd name="T35" fmla="*/ 10 h 141"/>
                <a:gd name="T36" fmla="*/ 63 w 92"/>
                <a:gd name="T37" fmla="*/ 14 h 141"/>
                <a:gd name="T38" fmla="*/ 47 w 92"/>
                <a:gd name="T39" fmla="*/ 16 h 141"/>
                <a:gd name="T40" fmla="*/ 45 w 92"/>
                <a:gd name="T41" fmla="*/ 30 h 141"/>
                <a:gd name="T42" fmla="*/ 42 w 92"/>
                <a:gd name="T43" fmla="*/ 32 h 141"/>
                <a:gd name="T44" fmla="*/ 26 w 92"/>
                <a:gd name="T45" fmla="*/ 34 h 141"/>
                <a:gd name="T46" fmla="*/ 26 w 92"/>
                <a:gd name="T47" fmla="*/ 46 h 141"/>
                <a:gd name="T48" fmla="*/ 30 w 92"/>
                <a:gd name="T49" fmla="*/ 54 h 141"/>
                <a:gd name="T50" fmla="*/ 34 w 92"/>
                <a:gd name="T51" fmla="*/ 55 h 141"/>
                <a:gd name="T52" fmla="*/ 30 w 92"/>
                <a:gd name="T53" fmla="*/ 54 h 141"/>
                <a:gd name="T54" fmla="*/ 21 w 92"/>
                <a:gd name="T55" fmla="*/ 50 h 141"/>
                <a:gd name="T56" fmla="*/ 6 w 92"/>
                <a:gd name="T57" fmla="*/ 77 h 141"/>
                <a:gd name="T58" fmla="*/ 17 w 92"/>
                <a:gd name="T59" fmla="*/ 89 h 141"/>
                <a:gd name="T60" fmla="*/ 23 w 92"/>
                <a:gd name="T61" fmla="*/ 94 h 141"/>
                <a:gd name="T62" fmla="*/ 18 w 92"/>
                <a:gd name="T63" fmla="*/ 96 h 141"/>
                <a:gd name="T64" fmla="*/ 0 w 92"/>
                <a:gd name="T65" fmla="*/ 11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141">
                  <a:moveTo>
                    <a:pt x="9" y="136"/>
                  </a:moveTo>
                  <a:cubicBezTo>
                    <a:pt x="11" y="137"/>
                    <a:pt x="14" y="138"/>
                    <a:pt x="15" y="138"/>
                  </a:cubicBezTo>
                  <a:cubicBezTo>
                    <a:pt x="19" y="137"/>
                    <a:pt x="23" y="138"/>
                    <a:pt x="26" y="140"/>
                  </a:cubicBezTo>
                  <a:cubicBezTo>
                    <a:pt x="29" y="141"/>
                    <a:pt x="30" y="140"/>
                    <a:pt x="32" y="139"/>
                  </a:cubicBezTo>
                  <a:cubicBezTo>
                    <a:pt x="34" y="138"/>
                    <a:pt x="36" y="136"/>
                    <a:pt x="37" y="135"/>
                  </a:cubicBezTo>
                  <a:cubicBezTo>
                    <a:pt x="37" y="135"/>
                    <a:pt x="37" y="135"/>
                    <a:pt x="37" y="135"/>
                  </a:cubicBezTo>
                  <a:cubicBezTo>
                    <a:pt x="37" y="135"/>
                    <a:pt x="37" y="136"/>
                    <a:pt x="37" y="136"/>
                  </a:cubicBezTo>
                  <a:cubicBezTo>
                    <a:pt x="37" y="135"/>
                    <a:pt x="37" y="135"/>
                    <a:pt x="37" y="135"/>
                  </a:cubicBezTo>
                  <a:cubicBezTo>
                    <a:pt x="41" y="133"/>
                    <a:pt x="45" y="132"/>
                    <a:pt x="48" y="128"/>
                  </a:cubicBezTo>
                  <a:cubicBezTo>
                    <a:pt x="50" y="126"/>
                    <a:pt x="54" y="124"/>
                    <a:pt x="57" y="122"/>
                  </a:cubicBezTo>
                  <a:cubicBezTo>
                    <a:pt x="58" y="121"/>
                    <a:pt x="59" y="119"/>
                    <a:pt x="59" y="118"/>
                  </a:cubicBezTo>
                  <a:cubicBezTo>
                    <a:pt x="61" y="115"/>
                    <a:pt x="64" y="114"/>
                    <a:pt x="67" y="114"/>
                  </a:cubicBezTo>
                  <a:cubicBezTo>
                    <a:pt x="67" y="114"/>
                    <a:pt x="67" y="114"/>
                    <a:pt x="67" y="114"/>
                  </a:cubicBezTo>
                  <a:cubicBezTo>
                    <a:pt x="67" y="114"/>
                    <a:pt x="67" y="114"/>
                    <a:pt x="67" y="114"/>
                  </a:cubicBezTo>
                  <a:cubicBezTo>
                    <a:pt x="67" y="112"/>
                    <a:pt x="67" y="112"/>
                    <a:pt x="68" y="113"/>
                  </a:cubicBezTo>
                  <a:cubicBezTo>
                    <a:pt x="68" y="113"/>
                    <a:pt x="67" y="114"/>
                    <a:pt x="67" y="114"/>
                  </a:cubicBezTo>
                  <a:cubicBezTo>
                    <a:pt x="67" y="118"/>
                    <a:pt x="67" y="118"/>
                    <a:pt x="71" y="119"/>
                  </a:cubicBezTo>
                  <a:cubicBezTo>
                    <a:pt x="72" y="119"/>
                    <a:pt x="73" y="119"/>
                    <a:pt x="73" y="119"/>
                  </a:cubicBezTo>
                  <a:cubicBezTo>
                    <a:pt x="76" y="116"/>
                    <a:pt x="77" y="112"/>
                    <a:pt x="80" y="110"/>
                  </a:cubicBezTo>
                  <a:cubicBezTo>
                    <a:pt x="83" y="107"/>
                    <a:pt x="87" y="106"/>
                    <a:pt x="87" y="102"/>
                  </a:cubicBezTo>
                  <a:cubicBezTo>
                    <a:pt x="88" y="96"/>
                    <a:pt x="87" y="91"/>
                    <a:pt x="84" y="87"/>
                  </a:cubicBezTo>
                  <a:cubicBezTo>
                    <a:pt x="83" y="86"/>
                    <a:pt x="82" y="85"/>
                    <a:pt x="82" y="84"/>
                  </a:cubicBezTo>
                  <a:cubicBezTo>
                    <a:pt x="81" y="83"/>
                    <a:pt x="81" y="81"/>
                    <a:pt x="82" y="80"/>
                  </a:cubicBezTo>
                  <a:cubicBezTo>
                    <a:pt x="85" y="77"/>
                    <a:pt x="86" y="74"/>
                    <a:pt x="90" y="72"/>
                  </a:cubicBezTo>
                  <a:cubicBezTo>
                    <a:pt x="90" y="69"/>
                    <a:pt x="88" y="66"/>
                    <a:pt x="90" y="62"/>
                  </a:cubicBezTo>
                  <a:cubicBezTo>
                    <a:pt x="91" y="60"/>
                    <a:pt x="92" y="57"/>
                    <a:pt x="92" y="55"/>
                  </a:cubicBezTo>
                  <a:cubicBezTo>
                    <a:pt x="91" y="51"/>
                    <a:pt x="87" y="51"/>
                    <a:pt x="85" y="48"/>
                  </a:cubicBezTo>
                  <a:cubicBezTo>
                    <a:pt x="83" y="46"/>
                    <a:pt x="79" y="45"/>
                    <a:pt x="77" y="43"/>
                  </a:cubicBezTo>
                  <a:cubicBezTo>
                    <a:pt x="76" y="42"/>
                    <a:pt x="75" y="41"/>
                    <a:pt x="75" y="39"/>
                  </a:cubicBezTo>
                  <a:cubicBezTo>
                    <a:pt x="74" y="35"/>
                    <a:pt x="75" y="31"/>
                    <a:pt x="75" y="27"/>
                  </a:cubicBezTo>
                  <a:cubicBezTo>
                    <a:pt x="75" y="23"/>
                    <a:pt x="76" y="20"/>
                    <a:pt x="77" y="16"/>
                  </a:cubicBezTo>
                  <a:cubicBezTo>
                    <a:pt x="78" y="10"/>
                    <a:pt x="74" y="6"/>
                    <a:pt x="70" y="2"/>
                  </a:cubicBezTo>
                  <a:cubicBezTo>
                    <a:pt x="67" y="0"/>
                    <a:pt x="63" y="0"/>
                    <a:pt x="59" y="0"/>
                  </a:cubicBezTo>
                  <a:cubicBezTo>
                    <a:pt x="57" y="0"/>
                    <a:pt x="56" y="2"/>
                    <a:pt x="55" y="4"/>
                  </a:cubicBezTo>
                  <a:cubicBezTo>
                    <a:pt x="55" y="6"/>
                    <a:pt x="56" y="7"/>
                    <a:pt x="58" y="8"/>
                  </a:cubicBezTo>
                  <a:cubicBezTo>
                    <a:pt x="60" y="9"/>
                    <a:pt x="62" y="9"/>
                    <a:pt x="64" y="10"/>
                  </a:cubicBezTo>
                  <a:cubicBezTo>
                    <a:pt x="65" y="11"/>
                    <a:pt x="65" y="12"/>
                    <a:pt x="64" y="13"/>
                  </a:cubicBezTo>
                  <a:cubicBezTo>
                    <a:pt x="64" y="13"/>
                    <a:pt x="64" y="14"/>
                    <a:pt x="63" y="14"/>
                  </a:cubicBezTo>
                  <a:cubicBezTo>
                    <a:pt x="61" y="14"/>
                    <a:pt x="58" y="14"/>
                    <a:pt x="55" y="14"/>
                  </a:cubicBezTo>
                  <a:cubicBezTo>
                    <a:pt x="53" y="15"/>
                    <a:pt x="50" y="16"/>
                    <a:pt x="47" y="16"/>
                  </a:cubicBezTo>
                  <a:cubicBezTo>
                    <a:pt x="45" y="17"/>
                    <a:pt x="42" y="21"/>
                    <a:pt x="43" y="24"/>
                  </a:cubicBezTo>
                  <a:cubicBezTo>
                    <a:pt x="43" y="26"/>
                    <a:pt x="44" y="28"/>
                    <a:pt x="45" y="30"/>
                  </a:cubicBezTo>
                  <a:cubicBezTo>
                    <a:pt x="45" y="30"/>
                    <a:pt x="44" y="31"/>
                    <a:pt x="44" y="32"/>
                  </a:cubicBezTo>
                  <a:cubicBezTo>
                    <a:pt x="44" y="32"/>
                    <a:pt x="43" y="32"/>
                    <a:pt x="42" y="32"/>
                  </a:cubicBezTo>
                  <a:cubicBezTo>
                    <a:pt x="40" y="31"/>
                    <a:pt x="37" y="29"/>
                    <a:pt x="35" y="31"/>
                  </a:cubicBezTo>
                  <a:cubicBezTo>
                    <a:pt x="32" y="34"/>
                    <a:pt x="29" y="34"/>
                    <a:pt x="26" y="34"/>
                  </a:cubicBezTo>
                  <a:cubicBezTo>
                    <a:pt x="22" y="33"/>
                    <a:pt x="21" y="37"/>
                    <a:pt x="22" y="39"/>
                  </a:cubicBezTo>
                  <a:cubicBezTo>
                    <a:pt x="23" y="42"/>
                    <a:pt x="24" y="44"/>
                    <a:pt x="26" y="46"/>
                  </a:cubicBezTo>
                  <a:cubicBezTo>
                    <a:pt x="28" y="48"/>
                    <a:pt x="30" y="51"/>
                    <a:pt x="30" y="54"/>
                  </a:cubicBezTo>
                  <a:cubicBezTo>
                    <a:pt x="30" y="54"/>
                    <a:pt x="30" y="54"/>
                    <a:pt x="30" y="54"/>
                  </a:cubicBezTo>
                  <a:cubicBezTo>
                    <a:pt x="31" y="54"/>
                    <a:pt x="31" y="54"/>
                    <a:pt x="31" y="54"/>
                  </a:cubicBezTo>
                  <a:cubicBezTo>
                    <a:pt x="32" y="55"/>
                    <a:pt x="33" y="55"/>
                    <a:pt x="34" y="55"/>
                  </a:cubicBezTo>
                  <a:cubicBezTo>
                    <a:pt x="33" y="55"/>
                    <a:pt x="32" y="55"/>
                    <a:pt x="31" y="54"/>
                  </a:cubicBezTo>
                  <a:cubicBezTo>
                    <a:pt x="31" y="54"/>
                    <a:pt x="30" y="54"/>
                    <a:pt x="30" y="54"/>
                  </a:cubicBezTo>
                  <a:cubicBezTo>
                    <a:pt x="30" y="54"/>
                    <a:pt x="30" y="54"/>
                    <a:pt x="30" y="54"/>
                  </a:cubicBezTo>
                  <a:cubicBezTo>
                    <a:pt x="26" y="54"/>
                    <a:pt x="24" y="52"/>
                    <a:pt x="21" y="50"/>
                  </a:cubicBezTo>
                  <a:cubicBezTo>
                    <a:pt x="20" y="49"/>
                    <a:pt x="18" y="50"/>
                    <a:pt x="17" y="51"/>
                  </a:cubicBezTo>
                  <a:cubicBezTo>
                    <a:pt x="12" y="59"/>
                    <a:pt x="10" y="69"/>
                    <a:pt x="6" y="77"/>
                  </a:cubicBezTo>
                  <a:cubicBezTo>
                    <a:pt x="4" y="80"/>
                    <a:pt x="6" y="83"/>
                    <a:pt x="8" y="85"/>
                  </a:cubicBezTo>
                  <a:cubicBezTo>
                    <a:pt x="11" y="87"/>
                    <a:pt x="14" y="88"/>
                    <a:pt x="17" y="89"/>
                  </a:cubicBezTo>
                  <a:cubicBezTo>
                    <a:pt x="19" y="89"/>
                    <a:pt x="21" y="90"/>
                    <a:pt x="22" y="91"/>
                  </a:cubicBezTo>
                  <a:cubicBezTo>
                    <a:pt x="22" y="91"/>
                    <a:pt x="23" y="93"/>
                    <a:pt x="23" y="94"/>
                  </a:cubicBezTo>
                  <a:cubicBezTo>
                    <a:pt x="22" y="94"/>
                    <a:pt x="22" y="96"/>
                    <a:pt x="21" y="96"/>
                  </a:cubicBezTo>
                  <a:cubicBezTo>
                    <a:pt x="20" y="96"/>
                    <a:pt x="19" y="96"/>
                    <a:pt x="18" y="96"/>
                  </a:cubicBezTo>
                  <a:cubicBezTo>
                    <a:pt x="10" y="95"/>
                    <a:pt x="6" y="97"/>
                    <a:pt x="4" y="103"/>
                  </a:cubicBezTo>
                  <a:cubicBezTo>
                    <a:pt x="2" y="108"/>
                    <a:pt x="1" y="113"/>
                    <a:pt x="0" y="118"/>
                  </a:cubicBezTo>
                  <a:cubicBezTo>
                    <a:pt x="0" y="126"/>
                    <a:pt x="3" y="131"/>
                    <a:pt x="9" y="13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5"/>
            <p:cNvSpPr>
              <a:spLocks/>
            </p:cNvSpPr>
            <p:nvPr/>
          </p:nvSpPr>
          <p:spPr bwMode="auto">
            <a:xfrm>
              <a:off x="9058869" y="1281783"/>
              <a:ext cx="0" cy="1812"/>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1"/>
                    <a:pt x="0" y="1"/>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6"/>
            <p:cNvSpPr>
              <a:spLocks/>
            </p:cNvSpPr>
            <p:nvPr/>
          </p:nvSpPr>
          <p:spPr bwMode="auto">
            <a:xfrm>
              <a:off x="7958251" y="1407698"/>
              <a:ext cx="288969" cy="216500"/>
            </a:xfrm>
            <a:custGeom>
              <a:avLst/>
              <a:gdLst>
                <a:gd name="T0" fmla="*/ 8 w 135"/>
                <a:gd name="T1" fmla="*/ 85 h 101"/>
                <a:gd name="T2" fmla="*/ 7 w 135"/>
                <a:gd name="T3" fmla="*/ 98 h 101"/>
                <a:gd name="T4" fmla="*/ 11 w 135"/>
                <a:gd name="T5" fmla="*/ 101 h 101"/>
                <a:gd name="T6" fmla="*/ 28 w 135"/>
                <a:gd name="T7" fmla="*/ 96 h 101"/>
                <a:gd name="T8" fmla="*/ 27 w 135"/>
                <a:gd name="T9" fmla="*/ 95 h 101"/>
                <a:gd name="T10" fmla="*/ 28 w 135"/>
                <a:gd name="T11" fmla="*/ 95 h 101"/>
                <a:gd name="T12" fmla="*/ 28 w 135"/>
                <a:gd name="T13" fmla="*/ 96 h 101"/>
                <a:gd name="T14" fmla="*/ 28 w 135"/>
                <a:gd name="T15" fmla="*/ 96 h 101"/>
                <a:gd name="T16" fmla="*/ 34 w 135"/>
                <a:gd name="T17" fmla="*/ 99 h 101"/>
                <a:gd name="T18" fmla="*/ 42 w 135"/>
                <a:gd name="T19" fmla="*/ 97 h 101"/>
                <a:gd name="T20" fmla="*/ 46 w 135"/>
                <a:gd name="T21" fmla="*/ 93 h 101"/>
                <a:gd name="T22" fmla="*/ 52 w 135"/>
                <a:gd name="T23" fmla="*/ 85 h 101"/>
                <a:gd name="T24" fmla="*/ 64 w 135"/>
                <a:gd name="T25" fmla="*/ 78 h 101"/>
                <a:gd name="T26" fmla="*/ 71 w 135"/>
                <a:gd name="T27" fmla="*/ 75 h 101"/>
                <a:gd name="T28" fmla="*/ 78 w 135"/>
                <a:gd name="T29" fmla="*/ 68 h 101"/>
                <a:gd name="T30" fmla="*/ 83 w 135"/>
                <a:gd name="T31" fmla="*/ 65 h 101"/>
                <a:gd name="T32" fmla="*/ 101 w 135"/>
                <a:gd name="T33" fmla="*/ 61 h 101"/>
                <a:gd name="T34" fmla="*/ 107 w 135"/>
                <a:gd name="T35" fmla="*/ 61 h 101"/>
                <a:gd name="T36" fmla="*/ 107 w 135"/>
                <a:gd name="T37" fmla="*/ 61 h 101"/>
                <a:gd name="T38" fmla="*/ 107 w 135"/>
                <a:gd name="T39" fmla="*/ 61 h 101"/>
                <a:gd name="T40" fmla="*/ 107 w 135"/>
                <a:gd name="T41" fmla="*/ 61 h 101"/>
                <a:gd name="T42" fmla="*/ 116 w 135"/>
                <a:gd name="T43" fmla="*/ 58 h 101"/>
                <a:gd name="T44" fmla="*/ 124 w 135"/>
                <a:gd name="T45" fmla="*/ 58 h 101"/>
                <a:gd name="T46" fmla="*/ 134 w 135"/>
                <a:gd name="T47" fmla="*/ 54 h 101"/>
                <a:gd name="T48" fmla="*/ 133 w 135"/>
                <a:gd name="T49" fmla="*/ 30 h 101"/>
                <a:gd name="T50" fmla="*/ 127 w 135"/>
                <a:gd name="T51" fmla="*/ 19 h 101"/>
                <a:gd name="T52" fmla="*/ 120 w 135"/>
                <a:gd name="T53" fmla="*/ 17 h 101"/>
                <a:gd name="T54" fmla="*/ 108 w 135"/>
                <a:gd name="T55" fmla="*/ 13 h 101"/>
                <a:gd name="T56" fmla="*/ 101 w 135"/>
                <a:gd name="T57" fmla="*/ 7 h 101"/>
                <a:gd name="T58" fmla="*/ 86 w 135"/>
                <a:gd name="T59" fmla="*/ 1 h 101"/>
                <a:gd name="T60" fmla="*/ 71 w 135"/>
                <a:gd name="T61" fmla="*/ 2 h 101"/>
                <a:gd name="T62" fmla="*/ 63 w 135"/>
                <a:gd name="T63" fmla="*/ 3 h 101"/>
                <a:gd name="T64" fmla="*/ 58 w 135"/>
                <a:gd name="T65" fmla="*/ 7 h 101"/>
                <a:gd name="T66" fmla="*/ 57 w 135"/>
                <a:gd name="T67" fmla="*/ 16 h 101"/>
                <a:gd name="T68" fmla="*/ 52 w 135"/>
                <a:gd name="T69" fmla="*/ 24 h 101"/>
                <a:gd name="T70" fmla="*/ 37 w 135"/>
                <a:gd name="T71" fmla="*/ 36 h 101"/>
                <a:gd name="T72" fmla="*/ 32 w 135"/>
                <a:gd name="T73" fmla="*/ 43 h 101"/>
                <a:gd name="T74" fmla="*/ 31 w 135"/>
                <a:gd name="T75" fmla="*/ 46 h 101"/>
                <a:gd name="T76" fmla="*/ 6 w 135"/>
                <a:gd name="T77" fmla="*/ 64 h 101"/>
                <a:gd name="T78" fmla="*/ 1 w 135"/>
                <a:gd name="T79" fmla="*/ 68 h 101"/>
                <a:gd name="T80" fmla="*/ 5 w 135"/>
                <a:gd name="T81" fmla="*/ 75 h 101"/>
                <a:gd name="T82" fmla="*/ 8 w 135"/>
                <a:gd name="T83" fmla="*/ 8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5" h="101">
                  <a:moveTo>
                    <a:pt x="8" y="85"/>
                  </a:moveTo>
                  <a:cubicBezTo>
                    <a:pt x="8" y="89"/>
                    <a:pt x="7" y="94"/>
                    <a:pt x="7" y="98"/>
                  </a:cubicBezTo>
                  <a:cubicBezTo>
                    <a:pt x="7" y="99"/>
                    <a:pt x="9" y="101"/>
                    <a:pt x="11" y="101"/>
                  </a:cubicBezTo>
                  <a:cubicBezTo>
                    <a:pt x="17" y="101"/>
                    <a:pt x="22" y="99"/>
                    <a:pt x="28" y="96"/>
                  </a:cubicBezTo>
                  <a:cubicBezTo>
                    <a:pt x="28" y="96"/>
                    <a:pt x="28" y="96"/>
                    <a:pt x="27" y="95"/>
                  </a:cubicBezTo>
                  <a:cubicBezTo>
                    <a:pt x="28" y="95"/>
                    <a:pt x="28" y="95"/>
                    <a:pt x="28" y="95"/>
                  </a:cubicBezTo>
                  <a:cubicBezTo>
                    <a:pt x="28" y="96"/>
                    <a:pt x="28" y="96"/>
                    <a:pt x="28" y="96"/>
                  </a:cubicBezTo>
                  <a:cubicBezTo>
                    <a:pt x="28" y="96"/>
                    <a:pt x="28" y="96"/>
                    <a:pt x="28" y="96"/>
                  </a:cubicBezTo>
                  <a:cubicBezTo>
                    <a:pt x="29" y="98"/>
                    <a:pt x="31" y="99"/>
                    <a:pt x="34" y="99"/>
                  </a:cubicBezTo>
                  <a:cubicBezTo>
                    <a:pt x="37" y="99"/>
                    <a:pt x="40" y="99"/>
                    <a:pt x="42" y="97"/>
                  </a:cubicBezTo>
                  <a:cubicBezTo>
                    <a:pt x="43" y="96"/>
                    <a:pt x="45" y="94"/>
                    <a:pt x="46" y="93"/>
                  </a:cubicBezTo>
                  <a:cubicBezTo>
                    <a:pt x="48" y="90"/>
                    <a:pt x="50" y="87"/>
                    <a:pt x="52" y="85"/>
                  </a:cubicBezTo>
                  <a:cubicBezTo>
                    <a:pt x="55" y="82"/>
                    <a:pt x="58" y="78"/>
                    <a:pt x="64" y="78"/>
                  </a:cubicBezTo>
                  <a:cubicBezTo>
                    <a:pt x="66" y="78"/>
                    <a:pt x="69" y="76"/>
                    <a:pt x="71" y="75"/>
                  </a:cubicBezTo>
                  <a:cubicBezTo>
                    <a:pt x="73" y="73"/>
                    <a:pt x="75" y="70"/>
                    <a:pt x="78" y="68"/>
                  </a:cubicBezTo>
                  <a:cubicBezTo>
                    <a:pt x="79" y="67"/>
                    <a:pt x="81" y="66"/>
                    <a:pt x="83" y="65"/>
                  </a:cubicBezTo>
                  <a:cubicBezTo>
                    <a:pt x="89" y="65"/>
                    <a:pt x="95" y="63"/>
                    <a:pt x="101" y="61"/>
                  </a:cubicBezTo>
                  <a:cubicBezTo>
                    <a:pt x="103" y="61"/>
                    <a:pt x="105" y="61"/>
                    <a:pt x="107" y="61"/>
                  </a:cubicBezTo>
                  <a:cubicBezTo>
                    <a:pt x="107" y="61"/>
                    <a:pt x="107" y="61"/>
                    <a:pt x="107" y="61"/>
                  </a:cubicBezTo>
                  <a:cubicBezTo>
                    <a:pt x="107" y="61"/>
                    <a:pt x="107" y="61"/>
                    <a:pt x="107" y="61"/>
                  </a:cubicBezTo>
                  <a:cubicBezTo>
                    <a:pt x="107" y="61"/>
                    <a:pt x="107" y="61"/>
                    <a:pt x="107" y="61"/>
                  </a:cubicBezTo>
                  <a:cubicBezTo>
                    <a:pt x="110" y="59"/>
                    <a:pt x="113" y="58"/>
                    <a:pt x="116" y="58"/>
                  </a:cubicBezTo>
                  <a:cubicBezTo>
                    <a:pt x="119" y="57"/>
                    <a:pt x="121" y="58"/>
                    <a:pt x="124" y="58"/>
                  </a:cubicBezTo>
                  <a:cubicBezTo>
                    <a:pt x="126" y="55"/>
                    <a:pt x="130" y="55"/>
                    <a:pt x="134" y="54"/>
                  </a:cubicBezTo>
                  <a:cubicBezTo>
                    <a:pt x="135" y="46"/>
                    <a:pt x="134" y="38"/>
                    <a:pt x="133" y="30"/>
                  </a:cubicBezTo>
                  <a:cubicBezTo>
                    <a:pt x="133" y="25"/>
                    <a:pt x="130" y="22"/>
                    <a:pt x="127" y="19"/>
                  </a:cubicBezTo>
                  <a:cubicBezTo>
                    <a:pt x="125" y="17"/>
                    <a:pt x="122" y="17"/>
                    <a:pt x="120" y="17"/>
                  </a:cubicBezTo>
                  <a:cubicBezTo>
                    <a:pt x="115" y="17"/>
                    <a:pt x="111" y="16"/>
                    <a:pt x="108" y="13"/>
                  </a:cubicBezTo>
                  <a:cubicBezTo>
                    <a:pt x="105" y="11"/>
                    <a:pt x="103" y="10"/>
                    <a:pt x="101" y="7"/>
                  </a:cubicBezTo>
                  <a:cubicBezTo>
                    <a:pt x="98" y="2"/>
                    <a:pt x="93" y="0"/>
                    <a:pt x="86" y="1"/>
                  </a:cubicBezTo>
                  <a:cubicBezTo>
                    <a:pt x="81" y="2"/>
                    <a:pt x="76" y="1"/>
                    <a:pt x="71" y="2"/>
                  </a:cubicBezTo>
                  <a:cubicBezTo>
                    <a:pt x="68" y="2"/>
                    <a:pt x="66" y="2"/>
                    <a:pt x="63" y="3"/>
                  </a:cubicBezTo>
                  <a:cubicBezTo>
                    <a:pt x="61" y="3"/>
                    <a:pt x="59" y="5"/>
                    <a:pt x="58" y="7"/>
                  </a:cubicBezTo>
                  <a:cubicBezTo>
                    <a:pt x="58" y="10"/>
                    <a:pt x="57" y="13"/>
                    <a:pt x="57" y="16"/>
                  </a:cubicBezTo>
                  <a:cubicBezTo>
                    <a:pt x="57" y="19"/>
                    <a:pt x="55" y="22"/>
                    <a:pt x="52" y="24"/>
                  </a:cubicBezTo>
                  <a:cubicBezTo>
                    <a:pt x="47" y="28"/>
                    <a:pt x="42" y="32"/>
                    <a:pt x="37" y="36"/>
                  </a:cubicBezTo>
                  <a:cubicBezTo>
                    <a:pt x="34" y="38"/>
                    <a:pt x="32" y="40"/>
                    <a:pt x="32" y="43"/>
                  </a:cubicBezTo>
                  <a:cubicBezTo>
                    <a:pt x="32" y="44"/>
                    <a:pt x="31" y="46"/>
                    <a:pt x="31" y="46"/>
                  </a:cubicBezTo>
                  <a:cubicBezTo>
                    <a:pt x="22" y="51"/>
                    <a:pt x="14" y="58"/>
                    <a:pt x="6" y="64"/>
                  </a:cubicBezTo>
                  <a:cubicBezTo>
                    <a:pt x="4" y="66"/>
                    <a:pt x="2" y="67"/>
                    <a:pt x="1" y="68"/>
                  </a:cubicBezTo>
                  <a:cubicBezTo>
                    <a:pt x="0" y="71"/>
                    <a:pt x="3" y="73"/>
                    <a:pt x="5" y="75"/>
                  </a:cubicBezTo>
                  <a:cubicBezTo>
                    <a:pt x="7" y="78"/>
                    <a:pt x="8" y="82"/>
                    <a:pt x="8" y="8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7"/>
            <p:cNvSpPr>
              <a:spLocks/>
            </p:cNvSpPr>
            <p:nvPr/>
          </p:nvSpPr>
          <p:spPr bwMode="auto">
            <a:xfrm>
              <a:off x="8782582" y="1363311"/>
              <a:ext cx="295310" cy="259075"/>
            </a:xfrm>
            <a:custGeom>
              <a:avLst/>
              <a:gdLst>
                <a:gd name="T0" fmla="*/ 131 w 138"/>
                <a:gd name="T1" fmla="*/ 85 h 121"/>
                <a:gd name="T2" fmla="*/ 127 w 138"/>
                <a:gd name="T3" fmla="*/ 80 h 121"/>
                <a:gd name="T4" fmla="*/ 119 w 138"/>
                <a:gd name="T5" fmla="*/ 75 h 121"/>
                <a:gd name="T6" fmla="*/ 105 w 138"/>
                <a:gd name="T7" fmla="*/ 73 h 121"/>
                <a:gd name="T8" fmla="*/ 100 w 138"/>
                <a:gd name="T9" fmla="*/ 73 h 121"/>
                <a:gd name="T10" fmla="*/ 78 w 138"/>
                <a:gd name="T11" fmla="*/ 75 h 121"/>
                <a:gd name="T12" fmla="*/ 67 w 138"/>
                <a:gd name="T13" fmla="*/ 72 h 121"/>
                <a:gd name="T14" fmla="*/ 61 w 138"/>
                <a:gd name="T15" fmla="*/ 70 h 121"/>
                <a:gd name="T16" fmla="*/ 48 w 138"/>
                <a:gd name="T17" fmla="*/ 57 h 121"/>
                <a:gd name="T18" fmla="*/ 42 w 138"/>
                <a:gd name="T19" fmla="*/ 53 h 121"/>
                <a:gd name="T20" fmla="*/ 42 w 138"/>
                <a:gd name="T21" fmla="*/ 51 h 121"/>
                <a:gd name="T22" fmla="*/ 47 w 138"/>
                <a:gd name="T23" fmla="*/ 47 h 121"/>
                <a:gd name="T24" fmla="*/ 47 w 138"/>
                <a:gd name="T25" fmla="*/ 47 h 121"/>
                <a:gd name="T26" fmla="*/ 46 w 138"/>
                <a:gd name="T27" fmla="*/ 47 h 121"/>
                <a:gd name="T28" fmla="*/ 47 w 138"/>
                <a:gd name="T29" fmla="*/ 47 h 121"/>
                <a:gd name="T30" fmla="*/ 47 w 138"/>
                <a:gd name="T31" fmla="*/ 47 h 121"/>
                <a:gd name="T32" fmla="*/ 56 w 138"/>
                <a:gd name="T33" fmla="*/ 48 h 121"/>
                <a:gd name="T34" fmla="*/ 58 w 138"/>
                <a:gd name="T35" fmla="*/ 44 h 121"/>
                <a:gd name="T36" fmla="*/ 56 w 138"/>
                <a:gd name="T37" fmla="*/ 41 h 121"/>
                <a:gd name="T38" fmla="*/ 53 w 138"/>
                <a:gd name="T39" fmla="*/ 32 h 121"/>
                <a:gd name="T40" fmla="*/ 47 w 138"/>
                <a:gd name="T41" fmla="*/ 25 h 121"/>
                <a:gd name="T42" fmla="*/ 39 w 138"/>
                <a:gd name="T43" fmla="*/ 25 h 121"/>
                <a:gd name="T44" fmla="*/ 34 w 138"/>
                <a:gd name="T45" fmla="*/ 21 h 121"/>
                <a:gd name="T46" fmla="*/ 32 w 138"/>
                <a:gd name="T47" fmla="*/ 15 h 121"/>
                <a:gd name="T48" fmla="*/ 30 w 138"/>
                <a:gd name="T49" fmla="*/ 11 h 121"/>
                <a:gd name="T50" fmla="*/ 17 w 138"/>
                <a:gd name="T51" fmla="*/ 2 h 121"/>
                <a:gd name="T52" fmla="*/ 4 w 138"/>
                <a:gd name="T53" fmla="*/ 3 h 121"/>
                <a:gd name="T54" fmla="*/ 1 w 138"/>
                <a:gd name="T55" fmla="*/ 10 h 121"/>
                <a:gd name="T56" fmla="*/ 5 w 138"/>
                <a:gd name="T57" fmla="*/ 28 h 121"/>
                <a:gd name="T58" fmla="*/ 7 w 138"/>
                <a:gd name="T59" fmla="*/ 31 h 121"/>
                <a:gd name="T60" fmla="*/ 21 w 138"/>
                <a:gd name="T61" fmla="*/ 36 h 121"/>
                <a:gd name="T62" fmla="*/ 25 w 138"/>
                <a:gd name="T63" fmla="*/ 41 h 121"/>
                <a:gd name="T64" fmla="*/ 25 w 138"/>
                <a:gd name="T65" fmla="*/ 50 h 121"/>
                <a:gd name="T66" fmla="*/ 20 w 138"/>
                <a:gd name="T67" fmla="*/ 60 h 121"/>
                <a:gd name="T68" fmla="*/ 14 w 138"/>
                <a:gd name="T69" fmla="*/ 67 h 121"/>
                <a:gd name="T70" fmla="*/ 9 w 138"/>
                <a:gd name="T71" fmla="*/ 88 h 121"/>
                <a:gd name="T72" fmla="*/ 18 w 138"/>
                <a:gd name="T73" fmla="*/ 96 h 121"/>
                <a:gd name="T74" fmla="*/ 20 w 138"/>
                <a:gd name="T75" fmla="*/ 97 h 121"/>
                <a:gd name="T76" fmla="*/ 32 w 138"/>
                <a:gd name="T77" fmla="*/ 98 h 121"/>
                <a:gd name="T78" fmla="*/ 35 w 138"/>
                <a:gd name="T79" fmla="*/ 97 h 121"/>
                <a:gd name="T80" fmla="*/ 36 w 138"/>
                <a:gd name="T81" fmla="*/ 98 h 121"/>
                <a:gd name="T82" fmla="*/ 36 w 138"/>
                <a:gd name="T83" fmla="*/ 103 h 121"/>
                <a:gd name="T84" fmla="*/ 40 w 138"/>
                <a:gd name="T85" fmla="*/ 107 h 121"/>
                <a:gd name="T86" fmla="*/ 56 w 138"/>
                <a:gd name="T87" fmla="*/ 110 h 121"/>
                <a:gd name="T88" fmla="*/ 87 w 138"/>
                <a:gd name="T89" fmla="*/ 115 h 121"/>
                <a:gd name="T90" fmla="*/ 93 w 138"/>
                <a:gd name="T91" fmla="*/ 117 h 121"/>
                <a:gd name="T92" fmla="*/ 106 w 138"/>
                <a:gd name="T93" fmla="*/ 120 h 121"/>
                <a:gd name="T94" fmla="*/ 115 w 138"/>
                <a:gd name="T95" fmla="*/ 120 h 121"/>
                <a:gd name="T96" fmla="*/ 120 w 138"/>
                <a:gd name="T97" fmla="*/ 118 h 121"/>
                <a:gd name="T98" fmla="*/ 129 w 138"/>
                <a:gd name="T99" fmla="*/ 112 h 121"/>
                <a:gd name="T100" fmla="*/ 132 w 138"/>
                <a:gd name="T101" fmla="*/ 106 h 121"/>
                <a:gd name="T102" fmla="*/ 134 w 138"/>
                <a:gd name="T103" fmla="*/ 101 h 121"/>
                <a:gd name="T104" fmla="*/ 131 w 138"/>
                <a:gd name="T105" fmla="*/ 8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8" h="121">
                  <a:moveTo>
                    <a:pt x="131" y="85"/>
                  </a:moveTo>
                  <a:cubicBezTo>
                    <a:pt x="129" y="83"/>
                    <a:pt x="128" y="82"/>
                    <a:pt x="127" y="80"/>
                  </a:cubicBezTo>
                  <a:cubicBezTo>
                    <a:pt x="125" y="77"/>
                    <a:pt x="123" y="75"/>
                    <a:pt x="119" y="75"/>
                  </a:cubicBezTo>
                  <a:cubicBezTo>
                    <a:pt x="114" y="76"/>
                    <a:pt x="109" y="76"/>
                    <a:pt x="105" y="73"/>
                  </a:cubicBezTo>
                  <a:cubicBezTo>
                    <a:pt x="103" y="72"/>
                    <a:pt x="101" y="73"/>
                    <a:pt x="100" y="73"/>
                  </a:cubicBezTo>
                  <a:cubicBezTo>
                    <a:pt x="93" y="73"/>
                    <a:pt x="85" y="74"/>
                    <a:pt x="78" y="75"/>
                  </a:cubicBezTo>
                  <a:cubicBezTo>
                    <a:pt x="74" y="76"/>
                    <a:pt x="70" y="77"/>
                    <a:pt x="67" y="72"/>
                  </a:cubicBezTo>
                  <a:cubicBezTo>
                    <a:pt x="66" y="70"/>
                    <a:pt x="64" y="70"/>
                    <a:pt x="61" y="70"/>
                  </a:cubicBezTo>
                  <a:cubicBezTo>
                    <a:pt x="55" y="67"/>
                    <a:pt x="49" y="64"/>
                    <a:pt x="48" y="57"/>
                  </a:cubicBezTo>
                  <a:cubicBezTo>
                    <a:pt x="47" y="54"/>
                    <a:pt x="45" y="53"/>
                    <a:pt x="42" y="53"/>
                  </a:cubicBezTo>
                  <a:cubicBezTo>
                    <a:pt x="40" y="52"/>
                    <a:pt x="40" y="52"/>
                    <a:pt x="42" y="51"/>
                  </a:cubicBezTo>
                  <a:cubicBezTo>
                    <a:pt x="44" y="50"/>
                    <a:pt x="45" y="49"/>
                    <a:pt x="47" y="47"/>
                  </a:cubicBezTo>
                  <a:cubicBezTo>
                    <a:pt x="47" y="47"/>
                    <a:pt x="47" y="47"/>
                    <a:pt x="47" y="47"/>
                  </a:cubicBezTo>
                  <a:cubicBezTo>
                    <a:pt x="46" y="47"/>
                    <a:pt x="46" y="47"/>
                    <a:pt x="46" y="47"/>
                  </a:cubicBezTo>
                  <a:cubicBezTo>
                    <a:pt x="47" y="47"/>
                    <a:pt x="47" y="47"/>
                    <a:pt x="47" y="47"/>
                  </a:cubicBezTo>
                  <a:cubicBezTo>
                    <a:pt x="47" y="47"/>
                    <a:pt x="47" y="47"/>
                    <a:pt x="47" y="47"/>
                  </a:cubicBezTo>
                  <a:cubicBezTo>
                    <a:pt x="50" y="48"/>
                    <a:pt x="53" y="49"/>
                    <a:pt x="56" y="48"/>
                  </a:cubicBezTo>
                  <a:cubicBezTo>
                    <a:pt x="58" y="47"/>
                    <a:pt x="59" y="45"/>
                    <a:pt x="58" y="44"/>
                  </a:cubicBezTo>
                  <a:cubicBezTo>
                    <a:pt x="58" y="43"/>
                    <a:pt x="57" y="42"/>
                    <a:pt x="56" y="41"/>
                  </a:cubicBezTo>
                  <a:cubicBezTo>
                    <a:pt x="53" y="39"/>
                    <a:pt x="52" y="36"/>
                    <a:pt x="53" y="32"/>
                  </a:cubicBezTo>
                  <a:cubicBezTo>
                    <a:pt x="53" y="29"/>
                    <a:pt x="50" y="26"/>
                    <a:pt x="47" y="25"/>
                  </a:cubicBezTo>
                  <a:cubicBezTo>
                    <a:pt x="44" y="25"/>
                    <a:pt x="41" y="25"/>
                    <a:pt x="39" y="25"/>
                  </a:cubicBezTo>
                  <a:cubicBezTo>
                    <a:pt x="36" y="25"/>
                    <a:pt x="34" y="24"/>
                    <a:pt x="34" y="21"/>
                  </a:cubicBezTo>
                  <a:cubicBezTo>
                    <a:pt x="33" y="19"/>
                    <a:pt x="32" y="17"/>
                    <a:pt x="32" y="15"/>
                  </a:cubicBezTo>
                  <a:cubicBezTo>
                    <a:pt x="31" y="14"/>
                    <a:pt x="31" y="12"/>
                    <a:pt x="30" y="11"/>
                  </a:cubicBezTo>
                  <a:cubicBezTo>
                    <a:pt x="25" y="8"/>
                    <a:pt x="22" y="4"/>
                    <a:pt x="17" y="2"/>
                  </a:cubicBezTo>
                  <a:cubicBezTo>
                    <a:pt x="12" y="0"/>
                    <a:pt x="8" y="1"/>
                    <a:pt x="4" y="3"/>
                  </a:cubicBezTo>
                  <a:cubicBezTo>
                    <a:pt x="2" y="5"/>
                    <a:pt x="0" y="8"/>
                    <a:pt x="1" y="10"/>
                  </a:cubicBezTo>
                  <a:cubicBezTo>
                    <a:pt x="3" y="16"/>
                    <a:pt x="4" y="22"/>
                    <a:pt x="5" y="28"/>
                  </a:cubicBezTo>
                  <a:cubicBezTo>
                    <a:pt x="5" y="29"/>
                    <a:pt x="6" y="30"/>
                    <a:pt x="7" y="31"/>
                  </a:cubicBezTo>
                  <a:cubicBezTo>
                    <a:pt x="11" y="32"/>
                    <a:pt x="16" y="34"/>
                    <a:pt x="21" y="36"/>
                  </a:cubicBezTo>
                  <a:cubicBezTo>
                    <a:pt x="25" y="37"/>
                    <a:pt x="25" y="38"/>
                    <a:pt x="25" y="41"/>
                  </a:cubicBezTo>
                  <a:cubicBezTo>
                    <a:pt x="25" y="44"/>
                    <a:pt x="25" y="47"/>
                    <a:pt x="25" y="50"/>
                  </a:cubicBezTo>
                  <a:cubicBezTo>
                    <a:pt x="25" y="54"/>
                    <a:pt x="24" y="58"/>
                    <a:pt x="20" y="60"/>
                  </a:cubicBezTo>
                  <a:cubicBezTo>
                    <a:pt x="18" y="62"/>
                    <a:pt x="16" y="64"/>
                    <a:pt x="14" y="67"/>
                  </a:cubicBezTo>
                  <a:cubicBezTo>
                    <a:pt x="9" y="73"/>
                    <a:pt x="9" y="80"/>
                    <a:pt x="9" y="88"/>
                  </a:cubicBezTo>
                  <a:cubicBezTo>
                    <a:pt x="9" y="93"/>
                    <a:pt x="16" y="92"/>
                    <a:pt x="18" y="96"/>
                  </a:cubicBezTo>
                  <a:cubicBezTo>
                    <a:pt x="19" y="96"/>
                    <a:pt x="19" y="97"/>
                    <a:pt x="20" y="97"/>
                  </a:cubicBezTo>
                  <a:cubicBezTo>
                    <a:pt x="23" y="100"/>
                    <a:pt x="27" y="100"/>
                    <a:pt x="32" y="98"/>
                  </a:cubicBezTo>
                  <a:cubicBezTo>
                    <a:pt x="33" y="97"/>
                    <a:pt x="34" y="97"/>
                    <a:pt x="35" y="97"/>
                  </a:cubicBezTo>
                  <a:cubicBezTo>
                    <a:pt x="36" y="96"/>
                    <a:pt x="37" y="97"/>
                    <a:pt x="36" y="98"/>
                  </a:cubicBezTo>
                  <a:cubicBezTo>
                    <a:pt x="36" y="100"/>
                    <a:pt x="35" y="102"/>
                    <a:pt x="36" y="103"/>
                  </a:cubicBezTo>
                  <a:cubicBezTo>
                    <a:pt x="36" y="105"/>
                    <a:pt x="38" y="106"/>
                    <a:pt x="40" y="107"/>
                  </a:cubicBezTo>
                  <a:cubicBezTo>
                    <a:pt x="46" y="108"/>
                    <a:pt x="51" y="110"/>
                    <a:pt x="56" y="110"/>
                  </a:cubicBezTo>
                  <a:cubicBezTo>
                    <a:pt x="67" y="110"/>
                    <a:pt x="76" y="115"/>
                    <a:pt x="87" y="115"/>
                  </a:cubicBezTo>
                  <a:cubicBezTo>
                    <a:pt x="89" y="115"/>
                    <a:pt x="91" y="116"/>
                    <a:pt x="93" y="117"/>
                  </a:cubicBezTo>
                  <a:cubicBezTo>
                    <a:pt x="97" y="120"/>
                    <a:pt x="101" y="121"/>
                    <a:pt x="106" y="120"/>
                  </a:cubicBezTo>
                  <a:cubicBezTo>
                    <a:pt x="109" y="120"/>
                    <a:pt x="112" y="120"/>
                    <a:pt x="115" y="120"/>
                  </a:cubicBezTo>
                  <a:cubicBezTo>
                    <a:pt x="117" y="119"/>
                    <a:pt x="119" y="119"/>
                    <a:pt x="120" y="118"/>
                  </a:cubicBezTo>
                  <a:cubicBezTo>
                    <a:pt x="123" y="115"/>
                    <a:pt x="126" y="113"/>
                    <a:pt x="129" y="112"/>
                  </a:cubicBezTo>
                  <a:cubicBezTo>
                    <a:pt x="132" y="111"/>
                    <a:pt x="132" y="108"/>
                    <a:pt x="132" y="106"/>
                  </a:cubicBezTo>
                  <a:cubicBezTo>
                    <a:pt x="131" y="104"/>
                    <a:pt x="133" y="103"/>
                    <a:pt x="134" y="101"/>
                  </a:cubicBezTo>
                  <a:cubicBezTo>
                    <a:pt x="138" y="94"/>
                    <a:pt x="137" y="89"/>
                    <a:pt x="131" y="8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8"/>
            <p:cNvSpPr>
              <a:spLocks/>
            </p:cNvSpPr>
            <p:nvPr/>
          </p:nvSpPr>
          <p:spPr bwMode="auto">
            <a:xfrm>
              <a:off x="8281642" y="1294465"/>
              <a:ext cx="290781" cy="173925"/>
            </a:xfrm>
            <a:custGeom>
              <a:avLst/>
              <a:gdLst>
                <a:gd name="T0" fmla="*/ 87 w 136"/>
                <a:gd name="T1" fmla="*/ 49 h 81"/>
                <a:gd name="T2" fmla="*/ 72 w 136"/>
                <a:gd name="T3" fmla="*/ 46 h 81"/>
                <a:gd name="T4" fmla="*/ 71 w 136"/>
                <a:gd name="T5" fmla="*/ 43 h 81"/>
                <a:gd name="T6" fmla="*/ 72 w 136"/>
                <a:gd name="T7" fmla="*/ 30 h 81"/>
                <a:gd name="T8" fmla="*/ 71 w 136"/>
                <a:gd name="T9" fmla="*/ 19 h 81"/>
                <a:gd name="T10" fmla="*/ 64 w 136"/>
                <a:gd name="T11" fmla="*/ 13 h 81"/>
                <a:gd name="T12" fmla="*/ 61 w 136"/>
                <a:gd name="T13" fmla="*/ 9 h 81"/>
                <a:gd name="T14" fmla="*/ 55 w 136"/>
                <a:gd name="T15" fmla="*/ 1 h 81"/>
                <a:gd name="T16" fmla="*/ 45 w 136"/>
                <a:gd name="T17" fmla="*/ 2 h 81"/>
                <a:gd name="T18" fmla="*/ 31 w 136"/>
                <a:gd name="T19" fmla="*/ 10 h 81"/>
                <a:gd name="T20" fmla="*/ 27 w 136"/>
                <a:gd name="T21" fmla="*/ 14 h 81"/>
                <a:gd name="T22" fmla="*/ 22 w 136"/>
                <a:gd name="T23" fmla="*/ 21 h 81"/>
                <a:gd name="T24" fmla="*/ 16 w 136"/>
                <a:gd name="T25" fmla="*/ 26 h 81"/>
                <a:gd name="T26" fmla="*/ 16 w 136"/>
                <a:gd name="T27" fmla="*/ 29 h 81"/>
                <a:gd name="T28" fmla="*/ 21 w 136"/>
                <a:gd name="T29" fmla="*/ 32 h 81"/>
                <a:gd name="T30" fmla="*/ 22 w 136"/>
                <a:gd name="T31" fmla="*/ 34 h 81"/>
                <a:gd name="T32" fmla="*/ 20 w 136"/>
                <a:gd name="T33" fmla="*/ 34 h 81"/>
                <a:gd name="T34" fmla="*/ 9 w 136"/>
                <a:gd name="T35" fmla="*/ 33 h 81"/>
                <a:gd name="T36" fmla="*/ 1 w 136"/>
                <a:gd name="T37" fmla="*/ 40 h 81"/>
                <a:gd name="T38" fmla="*/ 4 w 136"/>
                <a:gd name="T39" fmla="*/ 47 h 81"/>
                <a:gd name="T40" fmla="*/ 10 w 136"/>
                <a:gd name="T41" fmla="*/ 52 h 81"/>
                <a:gd name="T42" fmla="*/ 28 w 136"/>
                <a:gd name="T43" fmla="*/ 56 h 81"/>
                <a:gd name="T44" fmla="*/ 31 w 136"/>
                <a:gd name="T45" fmla="*/ 56 h 81"/>
                <a:gd name="T46" fmla="*/ 44 w 136"/>
                <a:gd name="T47" fmla="*/ 58 h 81"/>
                <a:gd name="T48" fmla="*/ 45 w 136"/>
                <a:gd name="T49" fmla="*/ 59 h 81"/>
                <a:gd name="T50" fmla="*/ 44 w 136"/>
                <a:gd name="T51" fmla="*/ 60 h 81"/>
                <a:gd name="T52" fmla="*/ 23 w 136"/>
                <a:gd name="T53" fmla="*/ 63 h 81"/>
                <a:gd name="T54" fmla="*/ 19 w 136"/>
                <a:gd name="T55" fmla="*/ 68 h 81"/>
                <a:gd name="T56" fmla="*/ 24 w 136"/>
                <a:gd name="T57" fmla="*/ 78 h 81"/>
                <a:gd name="T58" fmla="*/ 30 w 136"/>
                <a:gd name="T59" fmla="*/ 80 h 81"/>
                <a:gd name="T60" fmla="*/ 40 w 136"/>
                <a:gd name="T61" fmla="*/ 80 h 81"/>
                <a:gd name="T62" fmla="*/ 57 w 136"/>
                <a:gd name="T63" fmla="*/ 76 h 81"/>
                <a:gd name="T64" fmla="*/ 63 w 136"/>
                <a:gd name="T65" fmla="*/ 74 h 81"/>
                <a:gd name="T66" fmla="*/ 78 w 136"/>
                <a:gd name="T67" fmla="*/ 72 h 81"/>
                <a:gd name="T68" fmla="*/ 81 w 136"/>
                <a:gd name="T69" fmla="*/ 72 h 81"/>
                <a:gd name="T70" fmla="*/ 92 w 136"/>
                <a:gd name="T71" fmla="*/ 76 h 81"/>
                <a:gd name="T72" fmla="*/ 100 w 136"/>
                <a:gd name="T73" fmla="*/ 77 h 81"/>
                <a:gd name="T74" fmla="*/ 106 w 136"/>
                <a:gd name="T75" fmla="*/ 76 h 81"/>
                <a:gd name="T76" fmla="*/ 115 w 136"/>
                <a:gd name="T77" fmla="*/ 72 h 81"/>
                <a:gd name="T78" fmla="*/ 130 w 136"/>
                <a:gd name="T79" fmla="*/ 58 h 81"/>
                <a:gd name="T80" fmla="*/ 133 w 136"/>
                <a:gd name="T81" fmla="*/ 52 h 81"/>
                <a:gd name="T82" fmla="*/ 129 w 136"/>
                <a:gd name="T83" fmla="*/ 40 h 81"/>
                <a:gd name="T84" fmla="*/ 126 w 136"/>
                <a:gd name="T85" fmla="*/ 40 h 81"/>
                <a:gd name="T86" fmla="*/ 121 w 136"/>
                <a:gd name="T87" fmla="*/ 43 h 81"/>
                <a:gd name="T88" fmla="*/ 119 w 136"/>
                <a:gd name="T89" fmla="*/ 44 h 81"/>
                <a:gd name="T90" fmla="*/ 114 w 136"/>
                <a:gd name="T91" fmla="*/ 37 h 81"/>
                <a:gd name="T92" fmla="*/ 113 w 136"/>
                <a:gd name="T93" fmla="*/ 30 h 81"/>
                <a:gd name="T94" fmla="*/ 115 w 136"/>
                <a:gd name="T95" fmla="*/ 25 h 81"/>
                <a:gd name="T96" fmla="*/ 118 w 136"/>
                <a:gd name="T97" fmla="*/ 11 h 81"/>
                <a:gd name="T98" fmla="*/ 117 w 136"/>
                <a:gd name="T99" fmla="*/ 7 h 81"/>
                <a:gd name="T100" fmla="*/ 111 w 136"/>
                <a:gd name="T101" fmla="*/ 7 h 81"/>
                <a:gd name="T102" fmla="*/ 98 w 136"/>
                <a:gd name="T103" fmla="*/ 16 h 81"/>
                <a:gd name="T104" fmla="*/ 95 w 136"/>
                <a:gd name="T105" fmla="*/ 23 h 81"/>
                <a:gd name="T106" fmla="*/ 96 w 136"/>
                <a:gd name="T107" fmla="*/ 27 h 81"/>
                <a:gd name="T108" fmla="*/ 93 w 136"/>
                <a:gd name="T109" fmla="*/ 34 h 81"/>
                <a:gd name="T110" fmla="*/ 91 w 136"/>
                <a:gd name="T111" fmla="*/ 35 h 81"/>
                <a:gd name="T112" fmla="*/ 89 w 136"/>
                <a:gd name="T113" fmla="*/ 41 h 81"/>
                <a:gd name="T114" fmla="*/ 90 w 136"/>
                <a:gd name="T115" fmla="*/ 44 h 81"/>
                <a:gd name="T116" fmla="*/ 87 w 136"/>
                <a:gd name="T117" fmla="*/ 4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 h="81">
                  <a:moveTo>
                    <a:pt x="87" y="49"/>
                  </a:moveTo>
                  <a:cubicBezTo>
                    <a:pt x="82" y="48"/>
                    <a:pt x="77" y="47"/>
                    <a:pt x="72" y="46"/>
                  </a:cubicBezTo>
                  <a:cubicBezTo>
                    <a:pt x="72" y="45"/>
                    <a:pt x="70" y="44"/>
                    <a:pt x="71" y="43"/>
                  </a:cubicBezTo>
                  <a:cubicBezTo>
                    <a:pt x="74" y="39"/>
                    <a:pt x="70" y="34"/>
                    <a:pt x="72" y="30"/>
                  </a:cubicBezTo>
                  <a:cubicBezTo>
                    <a:pt x="71" y="26"/>
                    <a:pt x="71" y="22"/>
                    <a:pt x="71" y="19"/>
                  </a:cubicBezTo>
                  <a:cubicBezTo>
                    <a:pt x="70" y="15"/>
                    <a:pt x="68" y="14"/>
                    <a:pt x="64" y="13"/>
                  </a:cubicBezTo>
                  <a:cubicBezTo>
                    <a:pt x="61" y="12"/>
                    <a:pt x="61" y="12"/>
                    <a:pt x="61" y="9"/>
                  </a:cubicBezTo>
                  <a:cubicBezTo>
                    <a:pt x="61" y="4"/>
                    <a:pt x="59" y="2"/>
                    <a:pt x="55" y="1"/>
                  </a:cubicBezTo>
                  <a:cubicBezTo>
                    <a:pt x="52" y="1"/>
                    <a:pt x="48" y="0"/>
                    <a:pt x="45" y="2"/>
                  </a:cubicBezTo>
                  <a:cubicBezTo>
                    <a:pt x="41" y="6"/>
                    <a:pt x="36" y="7"/>
                    <a:pt x="31" y="10"/>
                  </a:cubicBezTo>
                  <a:cubicBezTo>
                    <a:pt x="30" y="11"/>
                    <a:pt x="28" y="13"/>
                    <a:pt x="27" y="14"/>
                  </a:cubicBezTo>
                  <a:cubicBezTo>
                    <a:pt x="28" y="18"/>
                    <a:pt x="25" y="19"/>
                    <a:pt x="22" y="21"/>
                  </a:cubicBezTo>
                  <a:cubicBezTo>
                    <a:pt x="19" y="22"/>
                    <a:pt x="17" y="24"/>
                    <a:pt x="16" y="26"/>
                  </a:cubicBezTo>
                  <a:cubicBezTo>
                    <a:pt x="15" y="27"/>
                    <a:pt x="15" y="28"/>
                    <a:pt x="16" y="29"/>
                  </a:cubicBezTo>
                  <a:cubicBezTo>
                    <a:pt x="17" y="30"/>
                    <a:pt x="19" y="31"/>
                    <a:pt x="21" y="32"/>
                  </a:cubicBezTo>
                  <a:cubicBezTo>
                    <a:pt x="22" y="33"/>
                    <a:pt x="23" y="33"/>
                    <a:pt x="22" y="34"/>
                  </a:cubicBezTo>
                  <a:cubicBezTo>
                    <a:pt x="22" y="34"/>
                    <a:pt x="21" y="35"/>
                    <a:pt x="20" y="34"/>
                  </a:cubicBezTo>
                  <a:cubicBezTo>
                    <a:pt x="17" y="34"/>
                    <a:pt x="13" y="33"/>
                    <a:pt x="9" y="33"/>
                  </a:cubicBezTo>
                  <a:cubicBezTo>
                    <a:pt x="6" y="33"/>
                    <a:pt x="3" y="36"/>
                    <a:pt x="1" y="40"/>
                  </a:cubicBezTo>
                  <a:cubicBezTo>
                    <a:pt x="0" y="43"/>
                    <a:pt x="1" y="45"/>
                    <a:pt x="4" y="47"/>
                  </a:cubicBezTo>
                  <a:cubicBezTo>
                    <a:pt x="6" y="48"/>
                    <a:pt x="8" y="50"/>
                    <a:pt x="10" y="52"/>
                  </a:cubicBezTo>
                  <a:cubicBezTo>
                    <a:pt x="16" y="55"/>
                    <a:pt x="21" y="59"/>
                    <a:pt x="28" y="56"/>
                  </a:cubicBezTo>
                  <a:cubicBezTo>
                    <a:pt x="29" y="55"/>
                    <a:pt x="30" y="55"/>
                    <a:pt x="31" y="56"/>
                  </a:cubicBezTo>
                  <a:cubicBezTo>
                    <a:pt x="35" y="58"/>
                    <a:pt x="40" y="58"/>
                    <a:pt x="44" y="58"/>
                  </a:cubicBezTo>
                  <a:cubicBezTo>
                    <a:pt x="44" y="58"/>
                    <a:pt x="45" y="59"/>
                    <a:pt x="45" y="59"/>
                  </a:cubicBezTo>
                  <a:cubicBezTo>
                    <a:pt x="45" y="59"/>
                    <a:pt x="44" y="60"/>
                    <a:pt x="44" y="60"/>
                  </a:cubicBezTo>
                  <a:cubicBezTo>
                    <a:pt x="37" y="61"/>
                    <a:pt x="30" y="62"/>
                    <a:pt x="23" y="63"/>
                  </a:cubicBezTo>
                  <a:cubicBezTo>
                    <a:pt x="21" y="63"/>
                    <a:pt x="19" y="65"/>
                    <a:pt x="19" y="68"/>
                  </a:cubicBezTo>
                  <a:cubicBezTo>
                    <a:pt x="18" y="72"/>
                    <a:pt x="20" y="76"/>
                    <a:pt x="24" y="78"/>
                  </a:cubicBezTo>
                  <a:cubicBezTo>
                    <a:pt x="26" y="79"/>
                    <a:pt x="28" y="80"/>
                    <a:pt x="30" y="80"/>
                  </a:cubicBezTo>
                  <a:cubicBezTo>
                    <a:pt x="33" y="80"/>
                    <a:pt x="37" y="80"/>
                    <a:pt x="40" y="80"/>
                  </a:cubicBezTo>
                  <a:cubicBezTo>
                    <a:pt x="46" y="81"/>
                    <a:pt x="52" y="80"/>
                    <a:pt x="57" y="76"/>
                  </a:cubicBezTo>
                  <a:cubicBezTo>
                    <a:pt x="59" y="75"/>
                    <a:pt x="61" y="74"/>
                    <a:pt x="63" y="74"/>
                  </a:cubicBezTo>
                  <a:cubicBezTo>
                    <a:pt x="68" y="74"/>
                    <a:pt x="73" y="74"/>
                    <a:pt x="78" y="72"/>
                  </a:cubicBezTo>
                  <a:cubicBezTo>
                    <a:pt x="79" y="72"/>
                    <a:pt x="80" y="72"/>
                    <a:pt x="81" y="72"/>
                  </a:cubicBezTo>
                  <a:cubicBezTo>
                    <a:pt x="85" y="74"/>
                    <a:pt x="88" y="75"/>
                    <a:pt x="92" y="76"/>
                  </a:cubicBezTo>
                  <a:cubicBezTo>
                    <a:pt x="94" y="78"/>
                    <a:pt x="97" y="78"/>
                    <a:pt x="100" y="77"/>
                  </a:cubicBezTo>
                  <a:cubicBezTo>
                    <a:pt x="102" y="77"/>
                    <a:pt x="104" y="77"/>
                    <a:pt x="106" y="76"/>
                  </a:cubicBezTo>
                  <a:cubicBezTo>
                    <a:pt x="110" y="76"/>
                    <a:pt x="112" y="74"/>
                    <a:pt x="115" y="72"/>
                  </a:cubicBezTo>
                  <a:cubicBezTo>
                    <a:pt x="120" y="67"/>
                    <a:pt x="124" y="62"/>
                    <a:pt x="130" y="58"/>
                  </a:cubicBezTo>
                  <a:cubicBezTo>
                    <a:pt x="131" y="56"/>
                    <a:pt x="132" y="54"/>
                    <a:pt x="133" y="52"/>
                  </a:cubicBezTo>
                  <a:cubicBezTo>
                    <a:pt x="136" y="48"/>
                    <a:pt x="134" y="43"/>
                    <a:pt x="129" y="40"/>
                  </a:cubicBezTo>
                  <a:cubicBezTo>
                    <a:pt x="129" y="40"/>
                    <a:pt x="127" y="40"/>
                    <a:pt x="126" y="40"/>
                  </a:cubicBezTo>
                  <a:cubicBezTo>
                    <a:pt x="124" y="40"/>
                    <a:pt x="122" y="42"/>
                    <a:pt x="121" y="43"/>
                  </a:cubicBezTo>
                  <a:cubicBezTo>
                    <a:pt x="120" y="45"/>
                    <a:pt x="119" y="45"/>
                    <a:pt x="119" y="44"/>
                  </a:cubicBezTo>
                  <a:cubicBezTo>
                    <a:pt x="117" y="42"/>
                    <a:pt x="112" y="41"/>
                    <a:pt x="114" y="37"/>
                  </a:cubicBezTo>
                  <a:cubicBezTo>
                    <a:pt x="112" y="35"/>
                    <a:pt x="110" y="33"/>
                    <a:pt x="113" y="30"/>
                  </a:cubicBezTo>
                  <a:cubicBezTo>
                    <a:pt x="115" y="29"/>
                    <a:pt x="115" y="27"/>
                    <a:pt x="115" y="25"/>
                  </a:cubicBezTo>
                  <a:cubicBezTo>
                    <a:pt x="115" y="20"/>
                    <a:pt x="116" y="15"/>
                    <a:pt x="118" y="11"/>
                  </a:cubicBezTo>
                  <a:cubicBezTo>
                    <a:pt x="119" y="10"/>
                    <a:pt x="118" y="8"/>
                    <a:pt x="117" y="7"/>
                  </a:cubicBezTo>
                  <a:cubicBezTo>
                    <a:pt x="115" y="5"/>
                    <a:pt x="113" y="5"/>
                    <a:pt x="111" y="7"/>
                  </a:cubicBezTo>
                  <a:cubicBezTo>
                    <a:pt x="106" y="10"/>
                    <a:pt x="102" y="13"/>
                    <a:pt x="98" y="16"/>
                  </a:cubicBezTo>
                  <a:cubicBezTo>
                    <a:pt x="95" y="18"/>
                    <a:pt x="95" y="20"/>
                    <a:pt x="95" y="23"/>
                  </a:cubicBezTo>
                  <a:cubicBezTo>
                    <a:pt x="95" y="24"/>
                    <a:pt x="95" y="26"/>
                    <a:pt x="96" y="27"/>
                  </a:cubicBezTo>
                  <a:cubicBezTo>
                    <a:pt x="97" y="31"/>
                    <a:pt x="95" y="32"/>
                    <a:pt x="93" y="34"/>
                  </a:cubicBezTo>
                  <a:cubicBezTo>
                    <a:pt x="92" y="34"/>
                    <a:pt x="92" y="34"/>
                    <a:pt x="91" y="35"/>
                  </a:cubicBezTo>
                  <a:cubicBezTo>
                    <a:pt x="88" y="36"/>
                    <a:pt x="88" y="39"/>
                    <a:pt x="89" y="41"/>
                  </a:cubicBezTo>
                  <a:cubicBezTo>
                    <a:pt x="89" y="42"/>
                    <a:pt x="90" y="43"/>
                    <a:pt x="90" y="44"/>
                  </a:cubicBezTo>
                  <a:cubicBezTo>
                    <a:pt x="91" y="46"/>
                    <a:pt x="89" y="49"/>
                    <a:pt x="87" y="4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9"/>
            <p:cNvSpPr>
              <a:spLocks/>
            </p:cNvSpPr>
            <p:nvPr/>
          </p:nvSpPr>
          <p:spPr bwMode="auto">
            <a:xfrm>
              <a:off x="10157675" y="2237464"/>
              <a:ext cx="250017" cy="149467"/>
            </a:xfrm>
            <a:custGeom>
              <a:avLst/>
              <a:gdLst>
                <a:gd name="T0" fmla="*/ 60 w 117"/>
                <a:gd name="T1" fmla="*/ 69 h 70"/>
                <a:gd name="T2" fmla="*/ 84 w 117"/>
                <a:gd name="T3" fmla="*/ 59 h 70"/>
                <a:gd name="T4" fmla="*/ 88 w 117"/>
                <a:gd name="T5" fmla="*/ 56 h 70"/>
                <a:gd name="T6" fmla="*/ 103 w 117"/>
                <a:gd name="T7" fmla="*/ 49 h 70"/>
                <a:gd name="T8" fmla="*/ 108 w 117"/>
                <a:gd name="T9" fmla="*/ 45 h 70"/>
                <a:gd name="T10" fmla="*/ 113 w 117"/>
                <a:gd name="T11" fmla="*/ 40 h 70"/>
                <a:gd name="T12" fmla="*/ 114 w 117"/>
                <a:gd name="T13" fmla="*/ 37 h 70"/>
                <a:gd name="T14" fmla="*/ 117 w 117"/>
                <a:gd name="T15" fmla="*/ 25 h 70"/>
                <a:gd name="T16" fmla="*/ 117 w 117"/>
                <a:gd name="T17" fmla="*/ 24 h 70"/>
                <a:gd name="T18" fmla="*/ 116 w 117"/>
                <a:gd name="T19" fmla="*/ 23 h 70"/>
                <a:gd name="T20" fmla="*/ 110 w 117"/>
                <a:gd name="T21" fmla="*/ 19 h 70"/>
                <a:gd name="T22" fmla="*/ 108 w 117"/>
                <a:gd name="T23" fmla="*/ 12 h 70"/>
                <a:gd name="T24" fmla="*/ 105 w 117"/>
                <a:gd name="T25" fmla="*/ 5 h 70"/>
                <a:gd name="T26" fmla="*/ 102 w 117"/>
                <a:gd name="T27" fmla="*/ 4 h 70"/>
                <a:gd name="T28" fmla="*/ 96 w 117"/>
                <a:gd name="T29" fmla="*/ 3 h 70"/>
                <a:gd name="T30" fmla="*/ 88 w 117"/>
                <a:gd name="T31" fmla="*/ 3 h 70"/>
                <a:gd name="T32" fmla="*/ 71 w 117"/>
                <a:gd name="T33" fmla="*/ 7 h 70"/>
                <a:gd name="T34" fmla="*/ 65 w 117"/>
                <a:gd name="T35" fmla="*/ 7 h 70"/>
                <a:gd name="T36" fmla="*/ 54 w 117"/>
                <a:gd name="T37" fmla="*/ 12 h 70"/>
                <a:gd name="T38" fmla="*/ 51 w 117"/>
                <a:gd name="T39" fmla="*/ 12 h 70"/>
                <a:gd name="T40" fmla="*/ 48 w 117"/>
                <a:gd name="T41" fmla="*/ 8 h 70"/>
                <a:gd name="T42" fmla="*/ 44 w 117"/>
                <a:gd name="T43" fmla="*/ 9 h 70"/>
                <a:gd name="T44" fmla="*/ 43 w 117"/>
                <a:gd name="T45" fmla="*/ 15 h 70"/>
                <a:gd name="T46" fmla="*/ 39 w 117"/>
                <a:gd name="T47" fmla="*/ 21 h 70"/>
                <a:gd name="T48" fmla="*/ 36 w 117"/>
                <a:gd name="T49" fmla="*/ 22 h 70"/>
                <a:gd name="T50" fmla="*/ 37 w 117"/>
                <a:gd name="T51" fmla="*/ 22 h 70"/>
                <a:gd name="T52" fmla="*/ 35 w 117"/>
                <a:gd name="T53" fmla="*/ 23 h 70"/>
                <a:gd name="T54" fmla="*/ 36 w 117"/>
                <a:gd name="T55" fmla="*/ 22 h 70"/>
                <a:gd name="T56" fmla="*/ 36 w 117"/>
                <a:gd name="T57" fmla="*/ 22 h 70"/>
                <a:gd name="T58" fmla="*/ 34 w 117"/>
                <a:gd name="T59" fmla="*/ 14 h 70"/>
                <a:gd name="T60" fmla="*/ 30 w 117"/>
                <a:gd name="T61" fmla="*/ 6 h 70"/>
                <a:gd name="T62" fmla="*/ 27 w 117"/>
                <a:gd name="T63" fmla="*/ 3 h 70"/>
                <a:gd name="T64" fmla="*/ 16 w 117"/>
                <a:gd name="T65" fmla="*/ 3 h 70"/>
                <a:gd name="T66" fmla="*/ 17 w 117"/>
                <a:gd name="T67" fmla="*/ 4 h 70"/>
                <a:gd name="T68" fmla="*/ 16 w 117"/>
                <a:gd name="T69" fmla="*/ 3 h 70"/>
                <a:gd name="T70" fmla="*/ 16 w 117"/>
                <a:gd name="T71" fmla="*/ 3 h 70"/>
                <a:gd name="T72" fmla="*/ 16 w 117"/>
                <a:gd name="T73" fmla="*/ 3 h 70"/>
                <a:gd name="T74" fmla="*/ 9 w 117"/>
                <a:gd name="T75" fmla="*/ 6 h 70"/>
                <a:gd name="T76" fmla="*/ 1 w 117"/>
                <a:gd name="T77" fmla="*/ 18 h 70"/>
                <a:gd name="T78" fmla="*/ 4 w 117"/>
                <a:gd name="T79" fmla="*/ 22 h 70"/>
                <a:gd name="T80" fmla="*/ 9 w 117"/>
                <a:gd name="T81" fmla="*/ 21 h 70"/>
                <a:gd name="T82" fmla="*/ 20 w 117"/>
                <a:gd name="T83" fmla="*/ 23 h 70"/>
                <a:gd name="T84" fmla="*/ 20 w 117"/>
                <a:gd name="T85" fmla="*/ 25 h 70"/>
                <a:gd name="T86" fmla="*/ 15 w 117"/>
                <a:gd name="T87" fmla="*/ 30 h 70"/>
                <a:gd name="T88" fmla="*/ 4 w 117"/>
                <a:gd name="T89" fmla="*/ 32 h 70"/>
                <a:gd name="T90" fmla="*/ 2 w 117"/>
                <a:gd name="T91" fmla="*/ 34 h 70"/>
                <a:gd name="T92" fmla="*/ 4 w 117"/>
                <a:gd name="T93" fmla="*/ 37 h 70"/>
                <a:gd name="T94" fmla="*/ 12 w 117"/>
                <a:gd name="T95" fmla="*/ 39 h 70"/>
                <a:gd name="T96" fmla="*/ 16 w 117"/>
                <a:gd name="T97" fmla="*/ 41 h 70"/>
                <a:gd name="T98" fmla="*/ 20 w 117"/>
                <a:gd name="T99" fmla="*/ 47 h 70"/>
                <a:gd name="T100" fmla="*/ 19 w 117"/>
                <a:gd name="T101" fmla="*/ 50 h 70"/>
                <a:gd name="T102" fmla="*/ 17 w 117"/>
                <a:gd name="T103" fmla="*/ 51 h 70"/>
                <a:gd name="T104" fmla="*/ 13 w 117"/>
                <a:gd name="T105" fmla="*/ 56 h 70"/>
                <a:gd name="T106" fmla="*/ 18 w 117"/>
                <a:gd name="T107" fmla="*/ 60 h 70"/>
                <a:gd name="T108" fmla="*/ 23 w 117"/>
                <a:gd name="T109" fmla="*/ 61 h 70"/>
                <a:gd name="T110" fmla="*/ 38 w 117"/>
                <a:gd name="T111" fmla="*/ 65 h 70"/>
                <a:gd name="T112" fmla="*/ 54 w 117"/>
                <a:gd name="T113" fmla="*/ 69 h 70"/>
                <a:gd name="T114" fmla="*/ 60 w 117"/>
                <a:gd name="T11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 h="70">
                  <a:moveTo>
                    <a:pt x="60" y="69"/>
                  </a:moveTo>
                  <a:cubicBezTo>
                    <a:pt x="68" y="66"/>
                    <a:pt x="76" y="61"/>
                    <a:pt x="84" y="59"/>
                  </a:cubicBezTo>
                  <a:cubicBezTo>
                    <a:pt x="86" y="58"/>
                    <a:pt x="87" y="57"/>
                    <a:pt x="88" y="56"/>
                  </a:cubicBezTo>
                  <a:cubicBezTo>
                    <a:pt x="92" y="52"/>
                    <a:pt x="97" y="50"/>
                    <a:pt x="103" y="49"/>
                  </a:cubicBezTo>
                  <a:cubicBezTo>
                    <a:pt x="105" y="48"/>
                    <a:pt x="107" y="47"/>
                    <a:pt x="108" y="45"/>
                  </a:cubicBezTo>
                  <a:cubicBezTo>
                    <a:pt x="110" y="43"/>
                    <a:pt x="112" y="42"/>
                    <a:pt x="113" y="40"/>
                  </a:cubicBezTo>
                  <a:cubicBezTo>
                    <a:pt x="114" y="39"/>
                    <a:pt x="115" y="37"/>
                    <a:pt x="114" y="37"/>
                  </a:cubicBezTo>
                  <a:cubicBezTo>
                    <a:pt x="112" y="32"/>
                    <a:pt x="114" y="29"/>
                    <a:pt x="117" y="25"/>
                  </a:cubicBezTo>
                  <a:cubicBezTo>
                    <a:pt x="117" y="25"/>
                    <a:pt x="117" y="24"/>
                    <a:pt x="117" y="24"/>
                  </a:cubicBezTo>
                  <a:cubicBezTo>
                    <a:pt x="117" y="23"/>
                    <a:pt x="116" y="23"/>
                    <a:pt x="116" y="23"/>
                  </a:cubicBezTo>
                  <a:cubicBezTo>
                    <a:pt x="114" y="21"/>
                    <a:pt x="112" y="20"/>
                    <a:pt x="110" y="19"/>
                  </a:cubicBezTo>
                  <a:cubicBezTo>
                    <a:pt x="107" y="17"/>
                    <a:pt x="109" y="14"/>
                    <a:pt x="108" y="12"/>
                  </a:cubicBezTo>
                  <a:cubicBezTo>
                    <a:pt x="107" y="10"/>
                    <a:pt x="106" y="8"/>
                    <a:pt x="105" y="5"/>
                  </a:cubicBezTo>
                  <a:cubicBezTo>
                    <a:pt x="104" y="4"/>
                    <a:pt x="103" y="4"/>
                    <a:pt x="102" y="4"/>
                  </a:cubicBezTo>
                  <a:cubicBezTo>
                    <a:pt x="100" y="5"/>
                    <a:pt x="98" y="5"/>
                    <a:pt x="96" y="3"/>
                  </a:cubicBezTo>
                  <a:cubicBezTo>
                    <a:pt x="93" y="0"/>
                    <a:pt x="90" y="1"/>
                    <a:pt x="88" y="3"/>
                  </a:cubicBezTo>
                  <a:cubicBezTo>
                    <a:pt x="83" y="8"/>
                    <a:pt x="78" y="9"/>
                    <a:pt x="71" y="7"/>
                  </a:cubicBezTo>
                  <a:cubicBezTo>
                    <a:pt x="69" y="7"/>
                    <a:pt x="66" y="8"/>
                    <a:pt x="65" y="7"/>
                  </a:cubicBezTo>
                  <a:cubicBezTo>
                    <a:pt x="59" y="5"/>
                    <a:pt x="56" y="8"/>
                    <a:pt x="54" y="12"/>
                  </a:cubicBezTo>
                  <a:cubicBezTo>
                    <a:pt x="54" y="12"/>
                    <a:pt x="52" y="12"/>
                    <a:pt x="51" y="12"/>
                  </a:cubicBezTo>
                  <a:cubicBezTo>
                    <a:pt x="50" y="11"/>
                    <a:pt x="49" y="9"/>
                    <a:pt x="48" y="8"/>
                  </a:cubicBezTo>
                  <a:cubicBezTo>
                    <a:pt x="47" y="7"/>
                    <a:pt x="45" y="8"/>
                    <a:pt x="44" y="9"/>
                  </a:cubicBezTo>
                  <a:cubicBezTo>
                    <a:pt x="43" y="11"/>
                    <a:pt x="43" y="13"/>
                    <a:pt x="43" y="15"/>
                  </a:cubicBezTo>
                  <a:cubicBezTo>
                    <a:pt x="44" y="18"/>
                    <a:pt x="42" y="20"/>
                    <a:pt x="39" y="21"/>
                  </a:cubicBezTo>
                  <a:cubicBezTo>
                    <a:pt x="38" y="21"/>
                    <a:pt x="37" y="22"/>
                    <a:pt x="36" y="22"/>
                  </a:cubicBezTo>
                  <a:cubicBezTo>
                    <a:pt x="36" y="22"/>
                    <a:pt x="37" y="22"/>
                    <a:pt x="37" y="22"/>
                  </a:cubicBezTo>
                  <a:cubicBezTo>
                    <a:pt x="36" y="23"/>
                    <a:pt x="36" y="23"/>
                    <a:pt x="35" y="23"/>
                  </a:cubicBezTo>
                  <a:cubicBezTo>
                    <a:pt x="36" y="23"/>
                    <a:pt x="36" y="22"/>
                    <a:pt x="36" y="22"/>
                  </a:cubicBezTo>
                  <a:cubicBezTo>
                    <a:pt x="36" y="22"/>
                    <a:pt x="36" y="22"/>
                    <a:pt x="36" y="22"/>
                  </a:cubicBezTo>
                  <a:cubicBezTo>
                    <a:pt x="34" y="20"/>
                    <a:pt x="34" y="17"/>
                    <a:pt x="34" y="14"/>
                  </a:cubicBezTo>
                  <a:cubicBezTo>
                    <a:pt x="34" y="11"/>
                    <a:pt x="33" y="8"/>
                    <a:pt x="30" y="6"/>
                  </a:cubicBezTo>
                  <a:cubicBezTo>
                    <a:pt x="29" y="5"/>
                    <a:pt x="28" y="4"/>
                    <a:pt x="27" y="3"/>
                  </a:cubicBezTo>
                  <a:cubicBezTo>
                    <a:pt x="23" y="0"/>
                    <a:pt x="22" y="0"/>
                    <a:pt x="16" y="3"/>
                  </a:cubicBezTo>
                  <a:cubicBezTo>
                    <a:pt x="17" y="4"/>
                    <a:pt x="17" y="4"/>
                    <a:pt x="17" y="4"/>
                  </a:cubicBezTo>
                  <a:cubicBezTo>
                    <a:pt x="16" y="3"/>
                    <a:pt x="16" y="3"/>
                    <a:pt x="16" y="3"/>
                  </a:cubicBezTo>
                  <a:cubicBezTo>
                    <a:pt x="16" y="3"/>
                    <a:pt x="16" y="3"/>
                    <a:pt x="16" y="3"/>
                  </a:cubicBezTo>
                  <a:cubicBezTo>
                    <a:pt x="16" y="3"/>
                    <a:pt x="16" y="3"/>
                    <a:pt x="16" y="3"/>
                  </a:cubicBezTo>
                  <a:cubicBezTo>
                    <a:pt x="14" y="4"/>
                    <a:pt x="11" y="4"/>
                    <a:pt x="9" y="6"/>
                  </a:cubicBezTo>
                  <a:cubicBezTo>
                    <a:pt x="6" y="10"/>
                    <a:pt x="3" y="14"/>
                    <a:pt x="1" y="18"/>
                  </a:cubicBezTo>
                  <a:cubicBezTo>
                    <a:pt x="0" y="19"/>
                    <a:pt x="2" y="22"/>
                    <a:pt x="4" y="22"/>
                  </a:cubicBezTo>
                  <a:cubicBezTo>
                    <a:pt x="6" y="22"/>
                    <a:pt x="7" y="22"/>
                    <a:pt x="9" y="21"/>
                  </a:cubicBezTo>
                  <a:cubicBezTo>
                    <a:pt x="13" y="20"/>
                    <a:pt x="16" y="21"/>
                    <a:pt x="20" y="23"/>
                  </a:cubicBezTo>
                  <a:cubicBezTo>
                    <a:pt x="21" y="23"/>
                    <a:pt x="21" y="24"/>
                    <a:pt x="20" y="25"/>
                  </a:cubicBezTo>
                  <a:cubicBezTo>
                    <a:pt x="19" y="27"/>
                    <a:pt x="18" y="30"/>
                    <a:pt x="15" y="30"/>
                  </a:cubicBezTo>
                  <a:cubicBezTo>
                    <a:pt x="11" y="30"/>
                    <a:pt x="7" y="31"/>
                    <a:pt x="4" y="32"/>
                  </a:cubicBezTo>
                  <a:cubicBezTo>
                    <a:pt x="3" y="32"/>
                    <a:pt x="2" y="34"/>
                    <a:pt x="2" y="34"/>
                  </a:cubicBezTo>
                  <a:cubicBezTo>
                    <a:pt x="3" y="35"/>
                    <a:pt x="3" y="37"/>
                    <a:pt x="4" y="37"/>
                  </a:cubicBezTo>
                  <a:cubicBezTo>
                    <a:pt x="7" y="38"/>
                    <a:pt x="9" y="38"/>
                    <a:pt x="12" y="39"/>
                  </a:cubicBezTo>
                  <a:cubicBezTo>
                    <a:pt x="14" y="39"/>
                    <a:pt x="15" y="40"/>
                    <a:pt x="16" y="41"/>
                  </a:cubicBezTo>
                  <a:cubicBezTo>
                    <a:pt x="18" y="43"/>
                    <a:pt x="19" y="45"/>
                    <a:pt x="20" y="47"/>
                  </a:cubicBezTo>
                  <a:cubicBezTo>
                    <a:pt x="21" y="48"/>
                    <a:pt x="20" y="49"/>
                    <a:pt x="19" y="50"/>
                  </a:cubicBezTo>
                  <a:cubicBezTo>
                    <a:pt x="19" y="51"/>
                    <a:pt x="18" y="51"/>
                    <a:pt x="17" y="51"/>
                  </a:cubicBezTo>
                  <a:cubicBezTo>
                    <a:pt x="14" y="52"/>
                    <a:pt x="13" y="53"/>
                    <a:pt x="13" y="56"/>
                  </a:cubicBezTo>
                  <a:cubicBezTo>
                    <a:pt x="13" y="58"/>
                    <a:pt x="15" y="60"/>
                    <a:pt x="18" y="60"/>
                  </a:cubicBezTo>
                  <a:cubicBezTo>
                    <a:pt x="20" y="60"/>
                    <a:pt x="22" y="61"/>
                    <a:pt x="23" y="61"/>
                  </a:cubicBezTo>
                  <a:cubicBezTo>
                    <a:pt x="29" y="60"/>
                    <a:pt x="34" y="60"/>
                    <a:pt x="38" y="65"/>
                  </a:cubicBezTo>
                  <a:cubicBezTo>
                    <a:pt x="44" y="66"/>
                    <a:pt x="49" y="68"/>
                    <a:pt x="54" y="69"/>
                  </a:cubicBezTo>
                  <a:cubicBezTo>
                    <a:pt x="56" y="70"/>
                    <a:pt x="58" y="69"/>
                    <a:pt x="60" y="6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0"/>
            <p:cNvSpPr>
              <a:spLocks/>
            </p:cNvSpPr>
            <p:nvPr/>
          </p:nvSpPr>
          <p:spPr bwMode="auto">
            <a:xfrm>
              <a:off x="8489084" y="1568940"/>
              <a:ext cx="164866" cy="188419"/>
            </a:xfrm>
            <a:custGeom>
              <a:avLst/>
              <a:gdLst>
                <a:gd name="T0" fmla="*/ 74 w 77"/>
                <a:gd name="T1" fmla="*/ 17 h 88"/>
                <a:gd name="T2" fmla="*/ 76 w 77"/>
                <a:gd name="T3" fmla="*/ 11 h 88"/>
                <a:gd name="T4" fmla="*/ 71 w 77"/>
                <a:gd name="T5" fmla="*/ 7 h 88"/>
                <a:gd name="T6" fmla="*/ 60 w 77"/>
                <a:gd name="T7" fmla="*/ 6 h 88"/>
                <a:gd name="T8" fmla="*/ 54 w 77"/>
                <a:gd name="T9" fmla="*/ 5 h 88"/>
                <a:gd name="T10" fmla="*/ 54 w 77"/>
                <a:gd name="T11" fmla="*/ 4 h 88"/>
                <a:gd name="T12" fmla="*/ 54 w 77"/>
                <a:gd name="T13" fmla="*/ 4 h 88"/>
                <a:gd name="T14" fmla="*/ 54 w 77"/>
                <a:gd name="T15" fmla="*/ 5 h 88"/>
                <a:gd name="T16" fmla="*/ 51 w 77"/>
                <a:gd name="T17" fmla="*/ 1 h 88"/>
                <a:gd name="T18" fmla="*/ 47 w 77"/>
                <a:gd name="T19" fmla="*/ 0 h 88"/>
                <a:gd name="T20" fmla="*/ 39 w 77"/>
                <a:gd name="T21" fmla="*/ 2 h 88"/>
                <a:gd name="T22" fmla="*/ 35 w 77"/>
                <a:gd name="T23" fmla="*/ 4 h 88"/>
                <a:gd name="T24" fmla="*/ 27 w 77"/>
                <a:gd name="T25" fmla="*/ 12 h 88"/>
                <a:gd name="T26" fmla="*/ 26 w 77"/>
                <a:gd name="T27" fmla="*/ 16 h 88"/>
                <a:gd name="T28" fmla="*/ 28 w 77"/>
                <a:gd name="T29" fmla="*/ 21 h 88"/>
                <a:gd name="T30" fmla="*/ 27 w 77"/>
                <a:gd name="T31" fmla="*/ 35 h 88"/>
                <a:gd name="T32" fmla="*/ 22 w 77"/>
                <a:gd name="T33" fmla="*/ 36 h 88"/>
                <a:gd name="T34" fmla="*/ 17 w 77"/>
                <a:gd name="T35" fmla="*/ 26 h 88"/>
                <a:gd name="T36" fmla="*/ 12 w 77"/>
                <a:gd name="T37" fmla="*/ 23 h 88"/>
                <a:gd name="T38" fmla="*/ 1 w 77"/>
                <a:gd name="T39" fmla="*/ 33 h 88"/>
                <a:gd name="T40" fmla="*/ 0 w 77"/>
                <a:gd name="T41" fmla="*/ 45 h 88"/>
                <a:gd name="T42" fmla="*/ 3 w 77"/>
                <a:gd name="T43" fmla="*/ 49 h 88"/>
                <a:gd name="T44" fmla="*/ 10 w 77"/>
                <a:gd name="T45" fmla="*/ 57 h 88"/>
                <a:gd name="T46" fmla="*/ 15 w 77"/>
                <a:gd name="T47" fmla="*/ 77 h 88"/>
                <a:gd name="T48" fmla="*/ 20 w 77"/>
                <a:gd name="T49" fmla="*/ 86 h 88"/>
                <a:gd name="T50" fmla="*/ 25 w 77"/>
                <a:gd name="T51" fmla="*/ 87 h 88"/>
                <a:gd name="T52" fmla="*/ 33 w 77"/>
                <a:gd name="T53" fmla="*/ 81 h 88"/>
                <a:gd name="T54" fmla="*/ 42 w 77"/>
                <a:gd name="T55" fmla="*/ 78 h 88"/>
                <a:gd name="T56" fmla="*/ 51 w 77"/>
                <a:gd name="T57" fmla="*/ 74 h 88"/>
                <a:gd name="T58" fmla="*/ 54 w 77"/>
                <a:gd name="T59" fmla="*/ 70 h 88"/>
                <a:gd name="T60" fmla="*/ 62 w 77"/>
                <a:gd name="T61" fmla="*/ 57 h 88"/>
                <a:gd name="T62" fmla="*/ 65 w 77"/>
                <a:gd name="T63" fmla="*/ 47 h 88"/>
                <a:gd name="T64" fmla="*/ 62 w 77"/>
                <a:gd name="T65" fmla="*/ 39 h 88"/>
                <a:gd name="T66" fmla="*/ 56 w 77"/>
                <a:gd name="T67" fmla="*/ 33 h 88"/>
                <a:gd name="T68" fmla="*/ 56 w 77"/>
                <a:gd name="T69" fmla="*/ 30 h 88"/>
                <a:gd name="T70" fmla="*/ 65 w 77"/>
                <a:gd name="T71" fmla="*/ 27 h 88"/>
                <a:gd name="T72" fmla="*/ 69 w 77"/>
                <a:gd name="T73" fmla="*/ 22 h 88"/>
                <a:gd name="T74" fmla="*/ 74 w 77"/>
                <a:gd name="T75" fmla="*/ 1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88">
                  <a:moveTo>
                    <a:pt x="74" y="17"/>
                  </a:moveTo>
                  <a:cubicBezTo>
                    <a:pt x="76" y="16"/>
                    <a:pt x="77" y="13"/>
                    <a:pt x="76" y="11"/>
                  </a:cubicBezTo>
                  <a:cubicBezTo>
                    <a:pt x="75" y="9"/>
                    <a:pt x="74" y="8"/>
                    <a:pt x="71" y="7"/>
                  </a:cubicBezTo>
                  <a:cubicBezTo>
                    <a:pt x="68" y="7"/>
                    <a:pt x="64" y="7"/>
                    <a:pt x="60" y="6"/>
                  </a:cubicBezTo>
                  <a:cubicBezTo>
                    <a:pt x="58" y="6"/>
                    <a:pt x="56" y="5"/>
                    <a:pt x="54" y="5"/>
                  </a:cubicBezTo>
                  <a:cubicBezTo>
                    <a:pt x="54" y="5"/>
                    <a:pt x="54" y="5"/>
                    <a:pt x="54" y="4"/>
                  </a:cubicBezTo>
                  <a:cubicBezTo>
                    <a:pt x="54" y="4"/>
                    <a:pt x="54" y="4"/>
                    <a:pt x="54" y="4"/>
                  </a:cubicBezTo>
                  <a:cubicBezTo>
                    <a:pt x="54" y="5"/>
                    <a:pt x="54" y="5"/>
                    <a:pt x="54" y="5"/>
                  </a:cubicBezTo>
                  <a:cubicBezTo>
                    <a:pt x="53" y="4"/>
                    <a:pt x="52" y="2"/>
                    <a:pt x="51" y="1"/>
                  </a:cubicBezTo>
                  <a:cubicBezTo>
                    <a:pt x="50" y="1"/>
                    <a:pt x="48" y="0"/>
                    <a:pt x="47" y="0"/>
                  </a:cubicBezTo>
                  <a:cubicBezTo>
                    <a:pt x="44" y="0"/>
                    <a:pt x="41" y="1"/>
                    <a:pt x="39" y="2"/>
                  </a:cubicBezTo>
                  <a:cubicBezTo>
                    <a:pt x="37" y="2"/>
                    <a:pt x="35" y="3"/>
                    <a:pt x="35" y="4"/>
                  </a:cubicBezTo>
                  <a:cubicBezTo>
                    <a:pt x="33" y="8"/>
                    <a:pt x="30" y="10"/>
                    <a:pt x="27" y="12"/>
                  </a:cubicBezTo>
                  <a:cubicBezTo>
                    <a:pt x="26" y="13"/>
                    <a:pt x="26" y="15"/>
                    <a:pt x="26" y="16"/>
                  </a:cubicBezTo>
                  <a:cubicBezTo>
                    <a:pt x="27" y="18"/>
                    <a:pt x="27" y="19"/>
                    <a:pt x="28" y="21"/>
                  </a:cubicBezTo>
                  <a:cubicBezTo>
                    <a:pt x="31" y="26"/>
                    <a:pt x="30" y="31"/>
                    <a:pt x="27" y="35"/>
                  </a:cubicBezTo>
                  <a:cubicBezTo>
                    <a:pt x="26" y="37"/>
                    <a:pt x="23" y="37"/>
                    <a:pt x="22" y="36"/>
                  </a:cubicBezTo>
                  <a:cubicBezTo>
                    <a:pt x="20" y="33"/>
                    <a:pt x="19" y="30"/>
                    <a:pt x="17" y="26"/>
                  </a:cubicBezTo>
                  <a:cubicBezTo>
                    <a:pt x="16" y="24"/>
                    <a:pt x="14" y="23"/>
                    <a:pt x="12" y="23"/>
                  </a:cubicBezTo>
                  <a:cubicBezTo>
                    <a:pt x="6" y="24"/>
                    <a:pt x="2" y="27"/>
                    <a:pt x="1" y="33"/>
                  </a:cubicBezTo>
                  <a:cubicBezTo>
                    <a:pt x="1" y="37"/>
                    <a:pt x="0" y="41"/>
                    <a:pt x="0" y="45"/>
                  </a:cubicBezTo>
                  <a:cubicBezTo>
                    <a:pt x="0" y="47"/>
                    <a:pt x="1" y="48"/>
                    <a:pt x="3" y="49"/>
                  </a:cubicBezTo>
                  <a:cubicBezTo>
                    <a:pt x="7" y="50"/>
                    <a:pt x="9" y="53"/>
                    <a:pt x="10" y="57"/>
                  </a:cubicBezTo>
                  <a:cubicBezTo>
                    <a:pt x="12" y="63"/>
                    <a:pt x="15" y="70"/>
                    <a:pt x="15" y="77"/>
                  </a:cubicBezTo>
                  <a:cubicBezTo>
                    <a:pt x="15" y="80"/>
                    <a:pt x="17" y="84"/>
                    <a:pt x="20" y="86"/>
                  </a:cubicBezTo>
                  <a:cubicBezTo>
                    <a:pt x="21" y="88"/>
                    <a:pt x="24" y="88"/>
                    <a:pt x="25" y="87"/>
                  </a:cubicBezTo>
                  <a:cubicBezTo>
                    <a:pt x="28" y="85"/>
                    <a:pt x="30" y="82"/>
                    <a:pt x="33" y="81"/>
                  </a:cubicBezTo>
                  <a:cubicBezTo>
                    <a:pt x="36" y="79"/>
                    <a:pt x="39" y="79"/>
                    <a:pt x="42" y="78"/>
                  </a:cubicBezTo>
                  <a:cubicBezTo>
                    <a:pt x="45" y="77"/>
                    <a:pt x="48" y="75"/>
                    <a:pt x="51" y="74"/>
                  </a:cubicBezTo>
                  <a:cubicBezTo>
                    <a:pt x="52" y="73"/>
                    <a:pt x="53" y="72"/>
                    <a:pt x="54" y="70"/>
                  </a:cubicBezTo>
                  <a:cubicBezTo>
                    <a:pt x="56" y="65"/>
                    <a:pt x="58" y="61"/>
                    <a:pt x="62" y="57"/>
                  </a:cubicBezTo>
                  <a:cubicBezTo>
                    <a:pt x="65" y="54"/>
                    <a:pt x="66" y="50"/>
                    <a:pt x="65" y="47"/>
                  </a:cubicBezTo>
                  <a:cubicBezTo>
                    <a:pt x="64" y="44"/>
                    <a:pt x="63" y="42"/>
                    <a:pt x="62" y="39"/>
                  </a:cubicBezTo>
                  <a:cubicBezTo>
                    <a:pt x="61" y="36"/>
                    <a:pt x="59" y="34"/>
                    <a:pt x="56" y="33"/>
                  </a:cubicBezTo>
                  <a:cubicBezTo>
                    <a:pt x="54" y="32"/>
                    <a:pt x="55" y="31"/>
                    <a:pt x="56" y="30"/>
                  </a:cubicBezTo>
                  <a:cubicBezTo>
                    <a:pt x="59" y="29"/>
                    <a:pt x="62" y="28"/>
                    <a:pt x="65" y="27"/>
                  </a:cubicBezTo>
                  <a:cubicBezTo>
                    <a:pt x="67" y="26"/>
                    <a:pt x="69" y="24"/>
                    <a:pt x="69" y="22"/>
                  </a:cubicBezTo>
                  <a:cubicBezTo>
                    <a:pt x="69" y="19"/>
                    <a:pt x="72" y="18"/>
                    <a:pt x="74" y="1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p:cNvSpPr>
            <p:nvPr/>
          </p:nvSpPr>
          <p:spPr bwMode="auto">
            <a:xfrm>
              <a:off x="9319756" y="2982985"/>
              <a:ext cx="2718"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cubicBezTo>
                    <a:pt x="1"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32"/>
            <p:cNvSpPr>
              <a:spLocks/>
            </p:cNvSpPr>
            <p:nvPr/>
          </p:nvSpPr>
          <p:spPr bwMode="auto">
            <a:xfrm>
              <a:off x="9144019" y="2840765"/>
              <a:ext cx="184795" cy="184795"/>
            </a:xfrm>
            <a:custGeom>
              <a:avLst/>
              <a:gdLst>
                <a:gd name="T0" fmla="*/ 78 w 86"/>
                <a:gd name="T1" fmla="*/ 43 h 86"/>
                <a:gd name="T2" fmla="*/ 77 w 86"/>
                <a:gd name="T3" fmla="*/ 38 h 86"/>
                <a:gd name="T4" fmla="*/ 74 w 86"/>
                <a:gd name="T5" fmla="*/ 35 h 86"/>
                <a:gd name="T6" fmla="*/ 69 w 86"/>
                <a:gd name="T7" fmla="*/ 34 h 86"/>
                <a:gd name="T8" fmla="*/ 65 w 86"/>
                <a:gd name="T9" fmla="*/ 36 h 86"/>
                <a:gd name="T10" fmla="*/ 54 w 86"/>
                <a:gd name="T11" fmla="*/ 37 h 86"/>
                <a:gd name="T12" fmla="*/ 51 w 86"/>
                <a:gd name="T13" fmla="*/ 32 h 86"/>
                <a:gd name="T14" fmla="*/ 52 w 86"/>
                <a:gd name="T15" fmla="*/ 31 h 86"/>
                <a:gd name="T16" fmla="*/ 47 w 86"/>
                <a:gd name="T17" fmla="*/ 25 h 86"/>
                <a:gd name="T18" fmla="*/ 43 w 86"/>
                <a:gd name="T19" fmla="*/ 25 h 86"/>
                <a:gd name="T20" fmla="*/ 43 w 86"/>
                <a:gd name="T21" fmla="*/ 25 h 86"/>
                <a:gd name="T22" fmla="*/ 42 w 86"/>
                <a:gd name="T23" fmla="*/ 26 h 86"/>
                <a:gd name="T24" fmla="*/ 42 w 86"/>
                <a:gd name="T25" fmla="*/ 25 h 86"/>
                <a:gd name="T26" fmla="*/ 43 w 86"/>
                <a:gd name="T27" fmla="*/ 25 h 86"/>
                <a:gd name="T28" fmla="*/ 51 w 86"/>
                <a:gd name="T29" fmla="*/ 14 h 86"/>
                <a:gd name="T30" fmla="*/ 59 w 86"/>
                <a:gd name="T31" fmla="*/ 4 h 86"/>
                <a:gd name="T32" fmla="*/ 59 w 86"/>
                <a:gd name="T33" fmla="*/ 1 h 86"/>
                <a:gd name="T34" fmla="*/ 55 w 86"/>
                <a:gd name="T35" fmla="*/ 0 h 86"/>
                <a:gd name="T36" fmla="*/ 41 w 86"/>
                <a:gd name="T37" fmla="*/ 8 h 86"/>
                <a:gd name="T38" fmla="*/ 20 w 86"/>
                <a:gd name="T39" fmla="*/ 36 h 86"/>
                <a:gd name="T40" fmla="*/ 8 w 86"/>
                <a:gd name="T41" fmla="*/ 47 h 86"/>
                <a:gd name="T42" fmla="*/ 7 w 86"/>
                <a:gd name="T43" fmla="*/ 51 h 86"/>
                <a:gd name="T44" fmla="*/ 6 w 86"/>
                <a:gd name="T45" fmla="*/ 56 h 86"/>
                <a:gd name="T46" fmla="*/ 1 w 86"/>
                <a:gd name="T47" fmla="*/ 62 h 86"/>
                <a:gd name="T48" fmla="*/ 3 w 86"/>
                <a:gd name="T49" fmla="*/ 66 h 86"/>
                <a:gd name="T50" fmla="*/ 7 w 86"/>
                <a:gd name="T51" fmla="*/ 67 h 86"/>
                <a:gd name="T52" fmla="*/ 23 w 86"/>
                <a:gd name="T53" fmla="*/ 68 h 86"/>
                <a:gd name="T54" fmla="*/ 36 w 86"/>
                <a:gd name="T55" fmla="*/ 68 h 86"/>
                <a:gd name="T56" fmla="*/ 49 w 86"/>
                <a:gd name="T57" fmla="*/ 71 h 86"/>
                <a:gd name="T58" fmla="*/ 49 w 86"/>
                <a:gd name="T59" fmla="*/ 72 h 86"/>
                <a:gd name="T60" fmla="*/ 44 w 86"/>
                <a:gd name="T61" fmla="*/ 77 h 86"/>
                <a:gd name="T62" fmla="*/ 44 w 86"/>
                <a:gd name="T63" fmla="*/ 80 h 86"/>
                <a:gd name="T64" fmla="*/ 47 w 86"/>
                <a:gd name="T65" fmla="*/ 81 h 86"/>
                <a:gd name="T66" fmla="*/ 52 w 86"/>
                <a:gd name="T67" fmla="*/ 78 h 86"/>
                <a:gd name="T68" fmla="*/ 64 w 86"/>
                <a:gd name="T69" fmla="*/ 70 h 86"/>
                <a:gd name="T70" fmla="*/ 65 w 86"/>
                <a:gd name="T71" fmla="*/ 71 h 86"/>
                <a:gd name="T72" fmla="*/ 64 w 86"/>
                <a:gd name="T73" fmla="*/ 78 h 86"/>
                <a:gd name="T74" fmla="*/ 65 w 86"/>
                <a:gd name="T75" fmla="*/ 81 h 86"/>
                <a:gd name="T76" fmla="*/ 75 w 86"/>
                <a:gd name="T77" fmla="*/ 86 h 86"/>
                <a:gd name="T78" fmla="*/ 80 w 86"/>
                <a:gd name="T79" fmla="*/ 83 h 86"/>
                <a:gd name="T80" fmla="*/ 85 w 86"/>
                <a:gd name="T81" fmla="*/ 73 h 86"/>
                <a:gd name="T82" fmla="*/ 83 w 86"/>
                <a:gd name="T83" fmla="*/ 66 h 86"/>
                <a:gd name="T84" fmla="*/ 82 w 86"/>
                <a:gd name="T85" fmla="*/ 67 h 86"/>
                <a:gd name="T86" fmla="*/ 81 w 86"/>
                <a:gd name="T87" fmla="*/ 68 h 86"/>
                <a:gd name="T88" fmla="*/ 81 w 86"/>
                <a:gd name="T89" fmla="*/ 67 h 86"/>
                <a:gd name="T90" fmla="*/ 82 w 86"/>
                <a:gd name="T91" fmla="*/ 67 h 86"/>
                <a:gd name="T92" fmla="*/ 82 w 86"/>
                <a:gd name="T93" fmla="*/ 66 h 86"/>
                <a:gd name="T94" fmla="*/ 75 w 86"/>
                <a:gd name="T95" fmla="*/ 64 h 86"/>
                <a:gd name="T96" fmla="*/ 74 w 86"/>
                <a:gd name="T97" fmla="*/ 62 h 86"/>
                <a:gd name="T98" fmla="*/ 76 w 86"/>
                <a:gd name="T99" fmla="*/ 58 h 86"/>
                <a:gd name="T100" fmla="*/ 81 w 86"/>
                <a:gd name="T101" fmla="*/ 54 h 86"/>
                <a:gd name="T102" fmla="*/ 81 w 86"/>
                <a:gd name="T103" fmla="*/ 52 h 86"/>
                <a:gd name="T104" fmla="*/ 78 w 86"/>
                <a:gd name="T105" fmla="*/ 51 h 86"/>
                <a:gd name="T106" fmla="*/ 74 w 86"/>
                <a:gd name="T107" fmla="*/ 51 h 86"/>
                <a:gd name="T108" fmla="*/ 75 w 86"/>
                <a:gd name="T109" fmla="*/ 46 h 86"/>
                <a:gd name="T110" fmla="*/ 78 w 86"/>
                <a:gd name="T111"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6">
                  <a:moveTo>
                    <a:pt x="78" y="43"/>
                  </a:moveTo>
                  <a:cubicBezTo>
                    <a:pt x="78" y="41"/>
                    <a:pt x="78" y="40"/>
                    <a:pt x="77" y="38"/>
                  </a:cubicBezTo>
                  <a:cubicBezTo>
                    <a:pt x="76" y="37"/>
                    <a:pt x="75" y="36"/>
                    <a:pt x="74" y="35"/>
                  </a:cubicBezTo>
                  <a:cubicBezTo>
                    <a:pt x="72" y="34"/>
                    <a:pt x="71" y="33"/>
                    <a:pt x="69" y="34"/>
                  </a:cubicBezTo>
                  <a:cubicBezTo>
                    <a:pt x="68" y="35"/>
                    <a:pt x="66" y="35"/>
                    <a:pt x="65" y="36"/>
                  </a:cubicBezTo>
                  <a:cubicBezTo>
                    <a:pt x="61" y="38"/>
                    <a:pt x="58" y="38"/>
                    <a:pt x="54" y="37"/>
                  </a:cubicBezTo>
                  <a:cubicBezTo>
                    <a:pt x="52" y="36"/>
                    <a:pt x="51" y="35"/>
                    <a:pt x="51" y="32"/>
                  </a:cubicBezTo>
                  <a:cubicBezTo>
                    <a:pt x="51" y="32"/>
                    <a:pt x="52" y="31"/>
                    <a:pt x="52" y="31"/>
                  </a:cubicBezTo>
                  <a:cubicBezTo>
                    <a:pt x="52" y="28"/>
                    <a:pt x="50" y="26"/>
                    <a:pt x="47" y="25"/>
                  </a:cubicBezTo>
                  <a:cubicBezTo>
                    <a:pt x="46" y="25"/>
                    <a:pt x="44" y="25"/>
                    <a:pt x="43" y="25"/>
                  </a:cubicBezTo>
                  <a:cubicBezTo>
                    <a:pt x="43" y="25"/>
                    <a:pt x="43" y="25"/>
                    <a:pt x="43" y="25"/>
                  </a:cubicBezTo>
                  <a:cubicBezTo>
                    <a:pt x="42" y="26"/>
                    <a:pt x="42" y="26"/>
                    <a:pt x="42" y="26"/>
                  </a:cubicBezTo>
                  <a:cubicBezTo>
                    <a:pt x="42" y="25"/>
                    <a:pt x="42" y="25"/>
                    <a:pt x="42" y="25"/>
                  </a:cubicBezTo>
                  <a:cubicBezTo>
                    <a:pt x="43" y="25"/>
                    <a:pt x="43" y="25"/>
                    <a:pt x="43" y="25"/>
                  </a:cubicBezTo>
                  <a:cubicBezTo>
                    <a:pt x="45" y="21"/>
                    <a:pt x="48" y="17"/>
                    <a:pt x="51" y="14"/>
                  </a:cubicBezTo>
                  <a:cubicBezTo>
                    <a:pt x="55" y="11"/>
                    <a:pt x="56" y="7"/>
                    <a:pt x="59" y="4"/>
                  </a:cubicBezTo>
                  <a:cubicBezTo>
                    <a:pt x="59" y="3"/>
                    <a:pt x="59" y="2"/>
                    <a:pt x="59" y="1"/>
                  </a:cubicBezTo>
                  <a:cubicBezTo>
                    <a:pt x="59" y="0"/>
                    <a:pt x="56" y="0"/>
                    <a:pt x="55" y="0"/>
                  </a:cubicBezTo>
                  <a:cubicBezTo>
                    <a:pt x="49" y="1"/>
                    <a:pt x="44" y="4"/>
                    <a:pt x="41" y="8"/>
                  </a:cubicBezTo>
                  <a:cubicBezTo>
                    <a:pt x="33" y="16"/>
                    <a:pt x="26" y="26"/>
                    <a:pt x="20" y="36"/>
                  </a:cubicBezTo>
                  <a:cubicBezTo>
                    <a:pt x="17" y="41"/>
                    <a:pt x="14" y="45"/>
                    <a:pt x="8" y="47"/>
                  </a:cubicBezTo>
                  <a:cubicBezTo>
                    <a:pt x="6" y="48"/>
                    <a:pt x="6" y="50"/>
                    <a:pt x="7" y="51"/>
                  </a:cubicBezTo>
                  <a:cubicBezTo>
                    <a:pt x="9" y="53"/>
                    <a:pt x="8" y="55"/>
                    <a:pt x="6" y="56"/>
                  </a:cubicBezTo>
                  <a:cubicBezTo>
                    <a:pt x="4" y="58"/>
                    <a:pt x="3" y="60"/>
                    <a:pt x="1" y="62"/>
                  </a:cubicBezTo>
                  <a:cubicBezTo>
                    <a:pt x="0" y="63"/>
                    <a:pt x="1" y="66"/>
                    <a:pt x="3" y="66"/>
                  </a:cubicBezTo>
                  <a:cubicBezTo>
                    <a:pt x="4" y="66"/>
                    <a:pt x="6" y="67"/>
                    <a:pt x="7" y="67"/>
                  </a:cubicBezTo>
                  <a:cubicBezTo>
                    <a:pt x="13" y="67"/>
                    <a:pt x="18" y="66"/>
                    <a:pt x="23" y="68"/>
                  </a:cubicBezTo>
                  <a:cubicBezTo>
                    <a:pt x="28" y="69"/>
                    <a:pt x="32" y="69"/>
                    <a:pt x="36" y="68"/>
                  </a:cubicBezTo>
                  <a:cubicBezTo>
                    <a:pt x="41" y="67"/>
                    <a:pt x="45" y="70"/>
                    <a:pt x="49" y="71"/>
                  </a:cubicBezTo>
                  <a:cubicBezTo>
                    <a:pt x="49" y="71"/>
                    <a:pt x="49" y="72"/>
                    <a:pt x="49" y="72"/>
                  </a:cubicBezTo>
                  <a:cubicBezTo>
                    <a:pt x="47" y="74"/>
                    <a:pt x="46" y="75"/>
                    <a:pt x="44" y="77"/>
                  </a:cubicBezTo>
                  <a:cubicBezTo>
                    <a:pt x="44" y="78"/>
                    <a:pt x="44" y="79"/>
                    <a:pt x="44" y="80"/>
                  </a:cubicBezTo>
                  <a:cubicBezTo>
                    <a:pt x="45" y="80"/>
                    <a:pt x="46" y="81"/>
                    <a:pt x="47" y="81"/>
                  </a:cubicBezTo>
                  <a:cubicBezTo>
                    <a:pt x="49" y="81"/>
                    <a:pt x="51" y="80"/>
                    <a:pt x="52" y="78"/>
                  </a:cubicBezTo>
                  <a:cubicBezTo>
                    <a:pt x="55" y="74"/>
                    <a:pt x="61" y="73"/>
                    <a:pt x="64" y="70"/>
                  </a:cubicBezTo>
                  <a:cubicBezTo>
                    <a:pt x="64" y="70"/>
                    <a:pt x="65" y="70"/>
                    <a:pt x="65" y="71"/>
                  </a:cubicBezTo>
                  <a:cubicBezTo>
                    <a:pt x="65" y="73"/>
                    <a:pt x="64" y="76"/>
                    <a:pt x="64" y="78"/>
                  </a:cubicBezTo>
                  <a:cubicBezTo>
                    <a:pt x="64" y="79"/>
                    <a:pt x="64" y="81"/>
                    <a:pt x="65" y="81"/>
                  </a:cubicBezTo>
                  <a:cubicBezTo>
                    <a:pt x="68" y="83"/>
                    <a:pt x="71" y="85"/>
                    <a:pt x="75" y="86"/>
                  </a:cubicBezTo>
                  <a:cubicBezTo>
                    <a:pt x="77" y="86"/>
                    <a:pt x="80" y="85"/>
                    <a:pt x="80" y="83"/>
                  </a:cubicBezTo>
                  <a:cubicBezTo>
                    <a:pt x="82" y="80"/>
                    <a:pt x="83" y="76"/>
                    <a:pt x="85" y="73"/>
                  </a:cubicBezTo>
                  <a:cubicBezTo>
                    <a:pt x="86" y="70"/>
                    <a:pt x="84" y="68"/>
                    <a:pt x="83" y="66"/>
                  </a:cubicBezTo>
                  <a:cubicBezTo>
                    <a:pt x="82" y="67"/>
                    <a:pt x="82" y="67"/>
                    <a:pt x="82" y="67"/>
                  </a:cubicBezTo>
                  <a:cubicBezTo>
                    <a:pt x="82" y="67"/>
                    <a:pt x="81" y="67"/>
                    <a:pt x="81" y="68"/>
                  </a:cubicBezTo>
                  <a:cubicBezTo>
                    <a:pt x="81" y="67"/>
                    <a:pt x="81" y="67"/>
                    <a:pt x="81" y="67"/>
                  </a:cubicBezTo>
                  <a:cubicBezTo>
                    <a:pt x="82" y="67"/>
                    <a:pt x="82" y="67"/>
                    <a:pt x="82" y="67"/>
                  </a:cubicBezTo>
                  <a:cubicBezTo>
                    <a:pt x="82" y="66"/>
                    <a:pt x="82" y="66"/>
                    <a:pt x="82" y="66"/>
                  </a:cubicBezTo>
                  <a:cubicBezTo>
                    <a:pt x="80" y="64"/>
                    <a:pt x="78" y="64"/>
                    <a:pt x="75" y="64"/>
                  </a:cubicBezTo>
                  <a:cubicBezTo>
                    <a:pt x="74" y="64"/>
                    <a:pt x="74" y="63"/>
                    <a:pt x="74" y="62"/>
                  </a:cubicBezTo>
                  <a:cubicBezTo>
                    <a:pt x="75" y="61"/>
                    <a:pt x="75" y="59"/>
                    <a:pt x="76" y="58"/>
                  </a:cubicBezTo>
                  <a:cubicBezTo>
                    <a:pt x="78" y="57"/>
                    <a:pt x="79" y="55"/>
                    <a:pt x="81" y="54"/>
                  </a:cubicBezTo>
                  <a:cubicBezTo>
                    <a:pt x="81" y="53"/>
                    <a:pt x="81" y="53"/>
                    <a:pt x="81" y="52"/>
                  </a:cubicBezTo>
                  <a:cubicBezTo>
                    <a:pt x="81" y="51"/>
                    <a:pt x="80" y="51"/>
                    <a:pt x="78" y="51"/>
                  </a:cubicBezTo>
                  <a:cubicBezTo>
                    <a:pt x="77" y="51"/>
                    <a:pt x="75" y="52"/>
                    <a:pt x="74" y="51"/>
                  </a:cubicBezTo>
                  <a:cubicBezTo>
                    <a:pt x="73" y="49"/>
                    <a:pt x="74" y="48"/>
                    <a:pt x="75" y="46"/>
                  </a:cubicBezTo>
                  <a:cubicBezTo>
                    <a:pt x="76" y="45"/>
                    <a:pt x="77" y="44"/>
                    <a:pt x="78" y="4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3"/>
            <p:cNvSpPr>
              <a:spLocks/>
            </p:cNvSpPr>
            <p:nvPr/>
          </p:nvSpPr>
          <p:spPr bwMode="auto">
            <a:xfrm>
              <a:off x="8219138" y="1195727"/>
              <a:ext cx="218312" cy="115950"/>
            </a:xfrm>
            <a:custGeom>
              <a:avLst/>
              <a:gdLst>
                <a:gd name="T0" fmla="*/ 2 w 102"/>
                <a:gd name="T1" fmla="*/ 43 h 54"/>
                <a:gd name="T2" fmla="*/ 13 w 102"/>
                <a:gd name="T3" fmla="*/ 47 h 54"/>
                <a:gd name="T4" fmla="*/ 19 w 102"/>
                <a:gd name="T5" fmla="*/ 52 h 54"/>
                <a:gd name="T6" fmla="*/ 27 w 102"/>
                <a:gd name="T7" fmla="*/ 53 h 54"/>
                <a:gd name="T8" fmla="*/ 35 w 102"/>
                <a:gd name="T9" fmla="*/ 47 h 54"/>
                <a:gd name="T10" fmla="*/ 38 w 102"/>
                <a:gd name="T11" fmla="*/ 47 h 54"/>
                <a:gd name="T12" fmla="*/ 42 w 102"/>
                <a:gd name="T13" fmla="*/ 46 h 54"/>
                <a:gd name="T14" fmla="*/ 50 w 102"/>
                <a:gd name="T15" fmla="*/ 36 h 54"/>
                <a:gd name="T16" fmla="*/ 59 w 102"/>
                <a:gd name="T17" fmla="*/ 27 h 54"/>
                <a:gd name="T18" fmla="*/ 61 w 102"/>
                <a:gd name="T19" fmla="*/ 27 h 54"/>
                <a:gd name="T20" fmla="*/ 61 w 102"/>
                <a:gd name="T21" fmla="*/ 31 h 54"/>
                <a:gd name="T22" fmla="*/ 55 w 102"/>
                <a:gd name="T23" fmla="*/ 41 h 54"/>
                <a:gd name="T24" fmla="*/ 55 w 102"/>
                <a:gd name="T25" fmla="*/ 47 h 54"/>
                <a:gd name="T26" fmla="*/ 60 w 102"/>
                <a:gd name="T27" fmla="*/ 49 h 54"/>
                <a:gd name="T28" fmla="*/ 64 w 102"/>
                <a:gd name="T29" fmla="*/ 46 h 54"/>
                <a:gd name="T30" fmla="*/ 73 w 102"/>
                <a:gd name="T31" fmla="*/ 41 h 54"/>
                <a:gd name="T32" fmla="*/ 78 w 102"/>
                <a:gd name="T33" fmla="*/ 39 h 54"/>
                <a:gd name="T34" fmla="*/ 81 w 102"/>
                <a:gd name="T35" fmla="*/ 36 h 54"/>
                <a:gd name="T36" fmla="*/ 92 w 102"/>
                <a:gd name="T37" fmla="*/ 21 h 54"/>
                <a:gd name="T38" fmla="*/ 95 w 102"/>
                <a:gd name="T39" fmla="*/ 18 h 54"/>
                <a:gd name="T40" fmla="*/ 100 w 102"/>
                <a:gd name="T41" fmla="*/ 16 h 54"/>
                <a:gd name="T42" fmla="*/ 102 w 102"/>
                <a:gd name="T43" fmla="*/ 12 h 54"/>
                <a:gd name="T44" fmla="*/ 102 w 102"/>
                <a:gd name="T45" fmla="*/ 6 h 54"/>
                <a:gd name="T46" fmla="*/ 99 w 102"/>
                <a:gd name="T47" fmla="*/ 1 h 54"/>
                <a:gd name="T48" fmla="*/ 95 w 102"/>
                <a:gd name="T49" fmla="*/ 3 h 54"/>
                <a:gd name="T50" fmla="*/ 89 w 102"/>
                <a:gd name="T51" fmla="*/ 5 h 54"/>
                <a:gd name="T52" fmla="*/ 75 w 102"/>
                <a:gd name="T53" fmla="*/ 1 h 54"/>
                <a:gd name="T54" fmla="*/ 66 w 102"/>
                <a:gd name="T55" fmla="*/ 3 h 54"/>
                <a:gd name="T56" fmla="*/ 30 w 102"/>
                <a:gd name="T57" fmla="*/ 21 h 54"/>
                <a:gd name="T58" fmla="*/ 21 w 102"/>
                <a:gd name="T59" fmla="*/ 24 h 54"/>
                <a:gd name="T60" fmla="*/ 6 w 102"/>
                <a:gd name="T61" fmla="*/ 30 h 54"/>
                <a:gd name="T62" fmla="*/ 0 w 102"/>
                <a:gd name="T63" fmla="*/ 41 h 54"/>
                <a:gd name="T64" fmla="*/ 2 w 102"/>
                <a:gd name="T65"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 h="54">
                  <a:moveTo>
                    <a:pt x="2" y="43"/>
                  </a:moveTo>
                  <a:cubicBezTo>
                    <a:pt x="8" y="44"/>
                    <a:pt x="10" y="45"/>
                    <a:pt x="13" y="47"/>
                  </a:cubicBezTo>
                  <a:cubicBezTo>
                    <a:pt x="16" y="48"/>
                    <a:pt x="18" y="50"/>
                    <a:pt x="19" y="52"/>
                  </a:cubicBezTo>
                  <a:cubicBezTo>
                    <a:pt x="21" y="54"/>
                    <a:pt x="25" y="54"/>
                    <a:pt x="27" y="53"/>
                  </a:cubicBezTo>
                  <a:cubicBezTo>
                    <a:pt x="30" y="51"/>
                    <a:pt x="32" y="49"/>
                    <a:pt x="35" y="47"/>
                  </a:cubicBezTo>
                  <a:cubicBezTo>
                    <a:pt x="35" y="47"/>
                    <a:pt x="37" y="47"/>
                    <a:pt x="38" y="47"/>
                  </a:cubicBezTo>
                  <a:cubicBezTo>
                    <a:pt x="39" y="48"/>
                    <a:pt x="41" y="48"/>
                    <a:pt x="42" y="46"/>
                  </a:cubicBezTo>
                  <a:cubicBezTo>
                    <a:pt x="45" y="43"/>
                    <a:pt x="47" y="39"/>
                    <a:pt x="50" y="36"/>
                  </a:cubicBezTo>
                  <a:cubicBezTo>
                    <a:pt x="52" y="33"/>
                    <a:pt x="56" y="30"/>
                    <a:pt x="59" y="27"/>
                  </a:cubicBezTo>
                  <a:cubicBezTo>
                    <a:pt x="59" y="27"/>
                    <a:pt x="60" y="27"/>
                    <a:pt x="61" y="27"/>
                  </a:cubicBezTo>
                  <a:cubicBezTo>
                    <a:pt x="63" y="26"/>
                    <a:pt x="63" y="28"/>
                    <a:pt x="61" y="31"/>
                  </a:cubicBezTo>
                  <a:cubicBezTo>
                    <a:pt x="59" y="34"/>
                    <a:pt x="57" y="38"/>
                    <a:pt x="55" y="41"/>
                  </a:cubicBezTo>
                  <a:cubicBezTo>
                    <a:pt x="53" y="43"/>
                    <a:pt x="54" y="45"/>
                    <a:pt x="55" y="47"/>
                  </a:cubicBezTo>
                  <a:cubicBezTo>
                    <a:pt x="55" y="49"/>
                    <a:pt x="59" y="50"/>
                    <a:pt x="60" y="49"/>
                  </a:cubicBezTo>
                  <a:cubicBezTo>
                    <a:pt x="61" y="48"/>
                    <a:pt x="63" y="48"/>
                    <a:pt x="64" y="46"/>
                  </a:cubicBezTo>
                  <a:cubicBezTo>
                    <a:pt x="66" y="43"/>
                    <a:pt x="69" y="41"/>
                    <a:pt x="73" y="41"/>
                  </a:cubicBezTo>
                  <a:cubicBezTo>
                    <a:pt x="74" y="40"/>
                    <a:pt x="76" y="40"/>
                    <a:pt x="78" y="39"/>
                  </a:cubicBezTo>
                  <a:cubicBezTo>
                    <a:pt x="79" y="38"/>
                    <a:pt x="81" y="38"/>
                    <a:pt x="81" y="36"/>
                  </a:cubicBezTo>
                  <a:cubicBezTo>
                    <a:pt x="84" y="31"/>
                    <a:pt x="91" y="28"/>
                    <a:pt x="92" y="21"/>
                  </a:cubicBezTo>
                  <a:cubicBezTo>
                    <a:pt x="92" y="20"/>
                    <a:pt x="94" y="19"/>
                    <a:pt x="95" y="18"/>
                  </a:cubicBezTo>
                  <a:cubicBezTo>
                    <a:pt x="97" y="17"/>
                    <a:pt x="98" y="16"/>
                    <a:pt x="100" y="16"/>
                  </a:cubicBezTo>
                  <a:cubicBezTo>
                    <a:pt x="101" y="15"/>
                    <a:pt x="102" y="13"/>
                    <a:pt x="102" y="12"/>
                  </a:cubicBezTo>
                  <a:cubicBezTo>
                    <a:pt x="102" y="10"/>
                    <a:pt x="102" y="8"/>
                    <a:pt x="102" y="6"/>
                  </a:cubicBezTo>
                  <a:cubicBezTo>
                    <a:pt x="102" y="3"/>
                    <a:pt x="100" y="1"/>
                    <a:pt x="99" y="1"/>
                  </a:cubicBezTo>
                  <a:cubicBezTo>
                    <a:pt x="97" y="1"/>
                    <a:pt x="96" y="2"/>
                    <a:pt x="95" y="3"/>
                  </a:cubicBezTo>
                  <a:cubicBezTo>
                    <a:pt x="93" y="5"/>
                    <a:pt x="91" y="6"/>
                    <a:pt x="89" y="5"/>
                  </a:cubicBezTo>
                  <a:cubicBezTo>
                    <a:pt x="84" y="1"/>
                    <a:pt x="79" y="2"/>
                    <a:pt x="75" y="1"/>
                  </a:cubicBezTo>
                  <a:cubicBezTo>
                    <a:pt x="72" y="0"/>
                    <a:pt x="69" y="1"/>
                    <a:pt x="66" y="3"/>
                  </a:cubicBezTo>
                  <a:cubicBezTo>
                    <a:pt x="55" y="10"/>
                    <a:pt x="43" y="17"/>
                    <a:pt x="30" y="21"/>
                  </a:cubicBezTo>
                  <a:cubicBezTo>
                    <a:pt x="26" y="21"/>
                    <a:pt x="24" y="24"/>
                    <a:pt x="21" y="24"/>
                  </a:cubicBezTo>
                  <a:cubicBezTo>
                    <a:pt x="15" y="25"/>
                    <a:pt x="10" y="27"/>
                    <a:pt x="6" y="30"/>
                  </a:cubicBezTo>
                  <a:cubicBezTo>
                    <a:pt x="1" y="33"/>
                    <a:pt x="0" y="37"/>
                    <a:pt x="0" y="41"/>
                  </a:cubicBezTo>
                  <a:cubicBezTo>
                    <a:pt x="0" y="41"/>
                    <a:pt x="1" y="43"/>
                    <a:pt x="2" y="4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34"/>
            <p:cNvSpPr>
              <a:spLocks/>
            </p:cNvSpPr>
            <p:nvPr/>
          </p:nvSpPr>
          <p:spPr bwMode="auto">
            <a:xfrm>
              <a:off x="8602316" y="1346099"/>
              <a:ext cx="150372" cy="155808"/>
            </a:xfrm>
            <a:custGeom>
              <a:avLst/>
              <a:gdLst>
                <a:gd name="T0" fmla="*/ 8 w 70"/>
                <a:gd name="T1" fmla="*/ 1 h 73"/>
                <a:gd name="T2" fmla="*/ 5 w 70"/>
                <a:gd name="T3" fmla="*/ 7 h 73"/>
                <a:gd name="T4" fmla="*/ 1 w 70"/>
                <a:gd name="T5" fmla="*/ 17 h 73"/>
                <a:gd name="T6" fmla="*/ 0 w 70"/>
                <a:gd name="T7" fmla="*/ 20 h 73"/>
                <a:gd name="T8" fmla="*/ 1 w 70"/>
                <a:gd name="T9" fmla="*/ 35 h 73"/>
                <a:gd name="T10" fmla="*/ 3 w 70"/>
                <a:gd name="T11" fmla="*/ 37 h 73"/>
                <a:gd name="T12" fmla="*/ 5 w 70"/>
                <a:gd name="T13" fmla="*/ 39 h 73"/>
                <a:gd name="T14" fmla="*/ 12 w 70"/>
                <a:gd name="T15" fmla="*/ 46 h 73"/>
                <a:gd name="T16" fmla="*/ 26 w 70"/>
                <a:gd name="T17" fmla="*/ 47 h 73"/>
                <a:gd name="T18" fmla="*/ 28 w 70"/>
                <a:gd name="T19" fmla="*/ 48 h 73"/>
                <a:gd name="T20" fmla="*/ 26 w 70"/>
                <a:gd name="T21" fmla="*/ 50 h 73"/>
                <a:gd name="T22" fmla="*/ 20 w 70"/>
                <a:gd name="T23" fmla="*/ 52 h 73"/>
                <a:gd name="T24" fmla="*/ 15 w 70"/>
                <a:gd name="T25" fmla="*/ 58 h 73"/>
                <a:gd name="T26" fmla="*/ 14 w 70"/>
                <a:gd name="T27" fmla="*/ 64 h 73"/>
                <a:gd name="T28" fmla="*/ 18 w 70"/>
                <a:gd name="T29" fmla="*/ 69 h 73"/>
                <a:gd name="T30" fmla="*/ 30 w 70"/>
                <a:gd name="T31" fmla="*/ 72 h 73"/>
                <a:gd name="T32" fmla="*/ 41 w 70"/>
                <a:gd name="T33" fmla="*/ 67 h 73"/>
                <a:gd name="T34" fmla="*/ 42 w 70"/>
                <a:gd name="T35" fmla="*/ 64 h 73"/>
                <a:gd name="T36" fmla="*/ 51 w 70"/>
                <a:gd name="T37" fmla="*/ 58 h 73"/>
                <a:gd name="T38" fmla="*/ 55 w 70"/>
                <a:gd name="T39" fmla="*/ 49 h 73"/>
                <a:gd name="T40" fmla="*/ 61 w 70"/>
                <a:gd name="T41" fmla="*/ 41 h 73"/>
                <a:gd name="T42" fmla="*/ 62 w 70"/>
                <a:gd name="T43" fmla="*/ 39 h 73"/>
                <a:gd name="T44" fmla="*/ 70 w 70"/>
                <a:gd name="T45" fmla="*/ 26 h 73"/>
                <a:gd name="T46" fmla="*/ 70 w 70"/>
                <a:gd name="T47" fmla="*/ 23 h 73"/>
                <a:gd name="T48" fmla="*/ 67 w 70"/>
                <a:gd name="T49" fmla="*/ 17 h 73"/>
                <a:gd name="T50" fmla="*/ 63 w 70"/>
                <a:gd name="T51" fmla="*/ 15 h 73"/>
                <a:gd name="T52" fmla="*/ 54 w 70"/>
                <a:gd name="T53" fmla="*/ 12 h 73"/>
                <a:gd name="T54" fmla="*/ 41 w 70"/>
                <a:gd name="T55" fmla="*/ 12 h 73"/>
                <a:gd name="T56" fmla="*/ 37 w 70"/>
                <a:gd name="T57" fmla="*/ 20 h 73"/>
                <a:gd name="T58" fmla="*/ 37 w 70"/>
                <a:gd name="T59" fmla="*/ 31 h 73"/>
                <a:gd name="T60" fmla="*/ 37 w 70"/>
                <a:gd name="T61" fmla="*/ 32 h 73"/>
                <a:gd name="T62" fmla="*/ 35 w 70"/>
                <a:gd name="T63" fmla="*/ 31 h 73"/>
                <a:gd name="T64" fmla="*/ 30 w 70"/>
                <a:gd name="T65" fmla="*/ 19 h 73"/>
                <a:gd name="T66" fmla="*/ 28 w 70"/>
                <a:gd name="T67" fmla="*/ 18 h 73"/>
                <a:gd name="T68" fmla="*/ 25 w 70"/>
                <a:gd name="T69" fmla="*/ 19 h 73"/>
                <a:gd name="T70" fmla="*/ 18 w 70"/>
                <a:gd name="T71" fmla="*/ 33 h 73"/>
                <a:gd name="T72" fmla="*/ 19 w 70"/>
                <a:gd name="T73" fmla="*/ 34 h 73"/>
                <a:gd name="T74" fmla="*/ 18 w 70"/>
                <a:gd name="T75" fmla="*/ 34 h 73"/>
                <a:gd name="T76" fmla="*/ 18 w 70"/>
                <a:gd name="T77" fmla="*/ 33 h 73"/>
                <a:gd name="T78" fmla="*/ 18 w 70"/>
                <a:gd name="T79" fmla="*/ 33 h 73"/>
                <a:gd name="T80" fmla="*/ 17 w 70"/>
                <a:gd name="T81" fmla="*/ 25 h 73"/>
                <a:gd name="T82" fmla="*/ 18 w 70"/>
                <a:gd name="T83" fmla="*/ 21 h 73"/>
                <a:gd name="T84" fmla="*/ 16 w 70"/>
                <a:gd name="T85" fmla="*/ 9 h 73"/>
                <a:gd name="T86" fmla="*/ 15 w 70"/>
                <a:gd name="T87" fmla="*/ 6 h 73"/>
                <a:gd name="T88" fmla="*/ 13 w 70"/>
                <a:gd name="T89" fmla="*/ 1 h 73"/>
                <a:gd name="T90" fmla="*/ 8 w 70"/>
                <a:gd name="T91"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73">
                  <a:moveTo>
                    <a:pt x="8" y="1"/>
                  </a:moveTo>
                  <a:cubicBezTo>
                    <a:pt x="7" y="3"/>
                    <a:pt x="5" y="5"/>
                    <a:pt x="5" y="7"/>
                  </a:cubicBezTo>
                  <a:cubicBezTo>
                    <a:pt x="4" y="10"/>
                    <a:pt x="4" y="14"/>
                    <a:pt x="1" y="17"/>
                  </a:cubicBezTo>
                  <a:cubicBezTo>
                    <a:pt x="1" y="18"/>
                    <a:pt x="0" y="19"/>
                    <a:pt x="0" y="20"/>
                  </a:cubicBezTo>
                  <a:cubicBezTo>
                    <a:pt x="1" y="25"/>
                    <a:pt x="3" y="30"/>
                    <a:pt x="1" y="35"/>
                  </a:cubicBezTo>
                  <a:cubicBezTo>
                    <a:pt x="1" y="35"/>
                    <a:pt x="2" y="36"/>
                    <a:pt x="3" y="37"/>
                  </a:cubicBezTo>
                  <a:cubicBezTo>
                    <a:pt x="4" y="38"/>
                    <a:pt x="5" y="38"/>
                    <a:pt x="5" y="39"/>
                  </a:cubicBezTo>
                  <a:cubicBezTo>
                    <a:pt x="4" y="44"/>
                    <a:pt x="8" y="45"/>
                    <a:pt x="12" y="46"/>
                  </a:cubicBezTo>
                  <a:cubicBezTo>
                    <a:pt x="17" y="46"/>
                    <a:pt x="22" y="47"/>
                    <a:pt x="26" y="47"/>
                  </a:cubicBezTo>
                  <a:cubicBezTo>
                    <a:pt x="27" y="47"/>
                    <a:pt x="28" y="48"/>
                    <a:pt x="28" y="48"/>
                  </a:cubicBezTo>
                  <a:cubicBezTo>
                    <a:pt x="27" y="49"/>
                    <a:pt x="27" y="50"/>
                    <a:pt x="26" y="50"/>
                  </a:cubicBezTo>
                  <a:cubicBezTo>
                    <a:pt x="24" y="51"/>
                    <a:pt x="22" y="52"/>
                    <a:pt x="20" y="52"/>
                  </a:cubicBezTo>
                  <a:cubicBezTo>
                    <a:pt x="17" y="53"/>
                    <a:pt x="15" y="55"/>
                    <a:pt x="15" y="58"/>
                  </a:cubicBezTo>
                  <a:cubicBezTo>
                    <a:pt x="15" y="60"/>
                    <a:pt x="14" y="62"/>
                    <a:pt x="14" y="64"/>
                  </a:cubicBezTo>
                  <a:cubicBezTo>
                    <a:pt x="14" y="66"/>
                    <a:pt x="16" y="68"/>
                    <a:pt x="18" y="69"/>
                  </a:cubicBezTo>
                  <a:cubicBezTo>
                    <a:pt x="22" y="70"/>
                    <a:pt x="26" y="71"/>
                    <a:pt x="30" y="72"/>
                  </a:cubicBezTo>
                  <a:cubicBezTo>
                    <a:pt x="34" y="73"/>
                    <a:pt x="39" y="71"/>
                    <a:pt x="41" y="67"/>
                  </a:cubicBezTo>
                  <a:cubicBezTo>
                    <a:pt x="42" y="66"/>
                    <a:pt x="42" y="65"/>
                    <a:pt x="42" y="64"/>
                  </a:cubicBezTo>
                  <a:cubicBezTo>
                    <a:pt x="44" y="60"/>
                    <a:pt x="47" y="59"/>
                    <a:pt x="51" y="58"/>
                  </a:cubicBezTo>
                  <a:cubicBezTo>
                    <a:pt x="52" y="55"/>
                    <a:pt x="53" y="52"/>
                    <a:pt x="55" y="49"/>
                  </a:cubicBezTo>
                  <a:cubicBezTo>
                    <a:pt x="56" y="46"/>
                    <a:pt x="59" y="43"/>
                    <a:pt x="61" y="41"/>
                  </a:cubicBezTo>
                  <a:cubicBezTo>
                    <a:pt x="62" y="40"/>
                    <a:pt x="62" y="40"/>
                    <a:pt x="62" y="39"/>
                  </a:cubicBezTo>
                  <a:cubicBezTo>
                    <a:pt x="65" y="35"/>
                    <a:pt x="67" y="30"/>
                    <a:pt x="70" y="26"/>
                  </a:cubicBezTo>
                  <a:cubicBezTo>
                    <a:pt x="70" y="25"/>
                    <a:pt x="70" y="24"/>
                    <a:pt x="70" y="23"/>
                  </a:cubicBezTo>
                  <a:cubicBezTo>
                    <a:pt x="69" y="21"/>
                    <a:pt x="68" y="19"/>
                    <a:pt x="67" y="17"/>
                  </a:cubicBezTo>
                  <a:cubicBezTo>
                    <a:pt x="66" y="16"/>
                    <a:pt x="65" y="15"/>
                    <a:pt x="63" y="15"/>
                  </a:cubicBezTo>
                  <a:cubicBezTo>
                    <a:pt x="59" y="17"/>
                    <a:pt x="56" y="14"/>
                    <a:pt x="54" y="12"/>
                  </a:cubicBezTo>
                  <a:cubicBezTo>
                    <a:pt x="50" y="11"/>
                    <a:pt x="45" y="11"/>
                    <a:pt x="41" y="12"/>
                  </a:cubicBezTo>
                  <a:cubicBezTo>
                    <a:pt x="39" y="14"/>
                    <a:pt x="37" y="17"/>
                    <a:pt x="37" y="20"/>
                  </a:cubicBezTo>
                  <a:cubicBezTo>
                    <a:pt x="37" y="24"/>
                    <a:pt x="37" y="27"/>
                    <a:pt x="37" y="31"/>
                  </a:cubicBezTo>
                  <a:cubicBezTo>
                    <a:pt x="37" y="31"/>
                    <a:pt x="37" y="32"/>
                    <a:pt x="37" y="32"/>
                  </a:cubicBezTo>
                  <a:cubicBezTo>
                    <a:pt x="36" y="33"/>
                    <a:pt x="36" y="32"/>
                    <a:pt x="35" y="31"/>
                  </a:cubicBezTo>
                  <a:cubicBezTo>
                    <a:pt x="33" y="27"/>
                    <a:pt x="32" y="23"/>
                    <a:pt x="30" y="19"/>
                  </a:cubicBezTo>
                  <a:cubicBezTo>
                    <a:pt x="30" y="19"/>
                    <a:pt x="28" y="18"/>
                    <a:pt x="28" y="18"/>
                  </a:cubicBezTo>
                  <a:cubicBezTo>
                    <a:pt x="27" y="18"/>
                    <a:pt x="25" y="19"/>
                    <a:pt x="25" y="19"/>
                  </a:cubicBezTo>
                  <a:cubicBezTo>
                    <a:pt x="22" y="24"/>
                    <a:pt x="20" y="29"/>
                    <a:pt x="18" y="33"/>
                  </a:cubicBezTo>
                  <a:cubicBezTo>
                    <a:pt x="18" y="33"/>
                    <a:pt x="18" y="34"/>
                    <a:pt x="19" y="34"/>
                  </a:cubicBezTo>
                  <a:cubicBezTo>
                    <a:pt x="18" y="34"/>
                    <a:pt x="18" y="34"/>
                    <a:pt x="18" y="34"/>
                  </a:cubicBezTo>
                  <a:cubicBezTo>
                    <a:pt x="18" y="33"/>
                    <a:pt x="18" y="33"/>
                    <a:pt x="18" y="33"/>
                  </a:cubicBezTo>
                  <a:cubicBezTo>
                    <a:pt x="18" y="33"/>
                    <a:pt x="18" y="33"/>
                    <a:pt x="18" y="33"/>
                  </a:cubicBezTo>
                  <a:cubicBezTo>
                    <a:pt x="16" y="31"/>
                    <a:pt x="15" y="28"/>
                    <a:pt x="17" y="25"/>
                  </a:cubicBezTo>
                  <a:cubicBezTo>
                    <a:pt x="17" y="24"/>
                    <a:pt x="18" y="22"/>
                    <a:pt x="18" y="21"/>
                  </a:cubicBezTo>
                  <a:cubicBezTo>
                    <a:pt x="16" y="17"/>
                    <a:pt x="16" y="13"/>
                    <a:pt x="16" y="9"/>
                  </a:cubicBezTo>
                  <a:cubicBezTo>
                    <a:pt x="16" y="8"/>
                    <a:pt x="16" y="7"/>
                    <a:pt x="15" y="6"/>
                  </a:cubicBezTo>
                  <a:cubicBezTo>
                    <a:pt x="15" y="4"/>
                    <a:pt x="14" y="3"/>
                    <a:pt x="13" y="1"/>
                  </a:cubicBezTo>
                  <a:cubicBezTo>
                    <a:pt x="12" y="0"/>
                    <a:pt x="8" y="0"/>
                    <a:pt x="8"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35"/>
            <p:cNvSpPr>
              <a:spLocks/>
            </p:cNvSpPr>
            <p:nvPr/>
          </p:nvSpPr>
          <p:spPr bwMode="auto">
            <a:xfrm>
              <a:off x="8707396" y="1129599"/>
              <a:ext cx="126820" cy="166678"/>
            </a:xfrm>
            <a:custGeom>
              <a:avLst/>
              <a:gdLst>
                <a:gd name="T0" fmla="*/ 6 w 59"/>
                <a:gd name="T1" fmla="*/ 44 h 78"/>
                <a:gd name="T2" fmla="*/ 15 w 59"/>
                <a:gd name="T3" fmla="*/ 46 h 78"/>
                <a:gd name="T4" fmla="*/ 15 w 59"/>
                <a:gd name="T5" fmla="*/ 47 h 78"/>
                <a:gd name="T6" fmla="*/ 15 w 59"/>
                <a:gd name="T7" fmla="*/ 47 h 78"/>
                <a:gd name="T8" fmla="*/ 20 w 59"/>
                <a:gd name="T9" fmla="*/ 50 h 78"/>
                <a:gd name="T10" fmla="*/ 26 w 59"/>
                <a:gd name="T11" fmla="*/ 69 h 78"/>
                <a:gd name="T12" fmla="*/ 28 w 59"/>
                <a:gd name="T13" fmla="*/ 76 h 78"/>
                <a:gd name="T14" fmla="*/ 37 w 59"/>
                <a:gd name="T15" fmla="*/ 76 h 78"/>
                <a:gd name="T16" fmla="*/ 45 w 59"/>
                <a:gd name="T17" fmla="*/ 65 h 78"/>
                <a:gd name="T18" fmla="*/ 54 w 59"/>
                <a:gd name="T19" fmla="*/ 49 h 78"/>
                <a:gd name="T20" fmla="*/ 57 w 59"/>
                <a:gd name="T21" fmla="*/ 44 h 78"/>
                <a:gd name="T22" fmla="*/ 56 w 59"/>
                <a:gd name="T23" fmla="*/ 32 h 78"/>
                <a:gd name="T24" fmla="*/ 54 w 59"/>
                <a:gd name="T25" fmla="*/ 27 h 78"/>
                <a:gd name="T26" fmla="*/ 55 w 59"/>
                <a:gd name="T27" fmla="*/ 24 h 78"/>
                <a:gd name="T28" fmla="*/ 45 w 59"/>
                <a:gd name="T29" fmla="*/ 17 h 78"/>
                <a:gd name="T30" fmla="*/ 42 w 59"/>
                <a:gd name="T31" fmla="*/ 18 h 78"/>
                <a:gd name="T32" fmla="*/ 42 w 59"/>
                <a:gd name="T33" fmla="*/ 18 h 78"/>
                <a:gd name="T34" fmla="*/ 41 w 59"/>
                <a:gd name="T35" fmla="*/ 18 h 78"/>
                <a:gd name="T36" fmla="*/ 42 w 59"/>
                <a:gd name="T37" fmla="*/ 18 h 78"/>
                <a:gd name="T38" fmla="*/ 42 w 59"/>
                <a:gd name="T39" fmla="*/ 9 h 78"/>
                <a:gd name="T40" fmla="*/ 33 w 59"/>
                <a:gd name="T41" fmla="*/ 0 h 78"/>
                <a:gd name="T42" fmla="*/ 23 w 59"/>
                <a:gd name="T43" fmla="*/ 0 h 78"/>
                <a:gd name="T44" fmla="*/ 20 w 59"/>
                <a:gd name="T45" fmla="*/ 1 h 78"/>
                <a:gd name="T46" fmla="*/ 16 w 59"/>
                <a:gd name="T47" fmla="*/ 12 h 78"/>
                <a:gd name="T48" fmla="*/ 15 w 59"/>
                <a:gd name="T49" fmla="*/ 17 h 78"/>
                <a:gd name="T50" fmla="*/ 18 w 59"/>
                <a:gd name="T51" fmla="*/ 22 h 78"/>
                <a:gd name="T52" fmla="*/ 18 w 59"/>
                <a:gd name="T53" fmla="*/ 21 h 78"/>
                <a:gd name="T54" fmla="*/ 19 w 59"/>
                <a:gd name="T55" fmla="*/ 21 h 78"/>
                <a:gd name="T56" fmla="*/ 19 w 59"/>
                <a:gd name="T57" fmla="*/ 21 h 78"/>
                <a:gd name="T58" fmla="*/ 19 w 59"/>
                <a:gd name="T59" fmla="*/ 21 h 78"/>
                <a:gd name="T60" fmla="*/ 19 w 59"/>
                <a:gd name="T61" fmla="*/ 22 h 78"/>
                <a:gd name="T62" fmla="*/ 18 w 59"/>
                <a:gd name="T63" fmla="*/ 22 h 78"/>
                <a:gd name="T64" fmla="*/ 19 w 59"/>
                <a:gd name="T65" fmla="*/ 28 h 78"/>
                <a:gd name="T66" fmla="*/ 18 w 59"/>
                <a:gd name="T67" fmla="*/ 32 h 78"/>
                <a:gd name="T68" fmla="*/ 14 w 59"/>
                <a:gd name="T69" fmla="*/ 34 h 78"/>
                <a:gd name="T70" fmla="*/ 9 w 59"/>
                <a:gd name="T71" fmla="*/ 31 h 78"/>
                <a:gd name="T72" fmla="*/ 4 w 59"/>
                <a:gd name="T73" fmla="*/ 32 h 78"/>
                <a:gd name="T74" fmla="*/ 1 w 59"/>
                <a:gd name="T75" fmla="*/ 36 h 78"/>
                <a:gd name="T76" fmla="*/ 6 w 59"/>
                <a:gd name="T77" fmla="*/ 4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 h="78">
                  <a:moveTo>
                    <a:pt x="6" y="44"/>
                  </a:moveTo>
                  <a:cubicBezTo>
                    <a:pt x="9" y="44"/>
                    <a:pt x="12" y="45"/>
                    <a:pt x="15" y="46"/>
                  </a:cubicBezTo>
                  <a:cubicBezTo>
                    <a:pt x="15" y="47"/>
                    <a:pt x="15" y="47"/>
                    <a:pt x="15" y="47"/>
                  </a:cubicBezTo>
                  <a:cubicBezTo>
                    <a:pt x="15" y="47"/>
                    <a:pt x="15" y="47"/>
                    <a:pt x="15" y="47"/>
                  </a:cubicBezTo>
                  <a:cubicBezTo>
                    <a:pt x="17" y="48"/>
                    <a:pt x="18" y="49"/>
                    <a:pt x="20" y="50"/>
                  </a:cubicBezTo>
                  <a:cubicBezTo>
                    <a:pt x="27" y="55"/>
                    <a:pt x="30" y="61"/>
                    <a:pt x="26" y="69"/>
                  </a:cubicBezTo>
                  <a:cubicBezTo>
                    <a:pt x="24" y="71"/>
                    <a:pt x="26" y="74"/>
                    <a:pt x="28" y="76"/>
                  </a:cubicBezTo>
                  <a:cubicBezTo>
                    <a:pt x="31" y="78"/>
                    <a:pt x="35" y="78"/>
                    <a:pt x="37" y="76"/>
                  </a:cubicBezTo>
                  <a:cubicBezTo>
                    <a:pt x="41" y="74"/>
                    <a:pt x="44" y="70"/>
                    <a:pt x="45" y="65"/>
                  </a:cubicBezTo>
                  <a:cubicBezTo>
                    <a:pt x="46" y="59"/>
                    <a:pt x="49" y="53"/>
                    <a:pt x="54" y="49"/>
                  </a:cubicBezTo>
                  <a:cubicBezTo>
                    <a:pt x="56" y="48"/>
                    <a:pt x="57" y="46"/>
                    <a:pt x="57" y="44"/>
                  </a:cubicBezTo>
                  <a:cubicBezTo>
                    <a:pt x="59" y="40"/>
                    <a:pt x="59" y="36"/>
                    <a:pt x="56" y="32"/>
                  </a:cubicBezTo>
                  <a:cubicBezTo>
                    <a:pt x="54" y="31"/>
                    <a:pt x="53" y="29"/>
                    <a:pt x="54" y="27"/>
                  </a:cubicBezTo>
                  <a:cubicBezTo>
                    <a:pt x="55" y="26"/>
                    <a:pt x="55" y="25"/>
                    <a:pt x="55" y="24"/>
                  </a:cubicBezTo>
                  <a:cubicBezTo>
                    <a:pt x="55" y="17"/>
                    <a:pt x="52" y="14"/>
                    <a:pt x="45" y="17"/>
                  </a:cubicBezTo>
                  <a:cubicBezTo>
                    <a:pt x="44" y="17"/>
                    <a:pt x="43" y="18"/>
                    <a:pt x="42" y="18"/>
                  </a:cubicBezTo>
                  <a:cubicBezTo>
                    <a:pt x="42" y="18"/>
                    <a:pt x="42" y="18"/>
                    <a:pt x="42" y="18"/>
                  </a:cubicBezTo>
                  <a:cubicBezTo>
                    <a:pt x="42" y="19"/>
                    <a:pt x="41" y="19"/>
                    <a:pt x="41" y="18"/>
                  </a:cubicBezTo>
                  <a:cubicBezTo>
                    <a:pt x="41" y="18"/>
                    <a:pt x="41" y="18"/>
                    <a:pt x="42" y="18"/>
                  </a:cubicBezTo>
                  <a:cubicBezTo>
                    <a:pt x="42" y="15"/>
                    <a:pt x="43" y="12"/>
                    <a:pt x="42" y="9"/>
                  </a:cubicBezTo>
                  <a:cubicBezTo>
                    <a:pt x="42" y="4"/>
                    <a:pt x="38" y="0"/>
                    <a:pt x="33" y="0"/>
                  </a:cubicBezTo>
                  <a:cubicBezTo>
                    <a:pt x="30" y="0"/>
                    <a:pt x="26" y="1"/>
                    <a:pt x="23" y="0"/>
                  </a:cubicBezTo>
                  <a:cubicBezTo>
                    <a:pt x="22" y="0"/>
                    <a:pt x="21" y="1"/>
                    <a:pt x="20" y="1"/>
                  </a:cubicBezTo>
                  <a:cubicBezTo>
                    <a:pt x="17" y="4"/>
                    <a:pt x="14" y="7"/>
                    <a:pt x="16" y="12"/>
                  </a:cubicBezTo>
                  <a:cubicBezTo>
                    <a:pt x="16" y="13"/>
                    <a:pt x="15" y="15"/>
                    <a:pt x="15" y="17"/>
                  </a:cubicBezTo>
                  <a:cubicBezTo>
                    <a:pt x="14" y="20"/>
                    <a:pt x="14" y="20"/>
                    <a:pt x="18" y="22"/>
                  </a:cubicBezTo>
                  <a:cubicBezTo>
                    <a:pt x="18" y="22"/>
                    <a:pt x="18" y="22"/>
                    <a:pt x="18" y="21"/>
                  </a:cubicBezTo>
                  <a:cubicBezTo>
                    <a:pt x="18" y="21"/>
                    <a:pt x="19" y="21"/>
                    <a:pt x="19" y="21"/>
                  </a:cubicBezTo>
                  <a:cubicBezTo>
                    <a:pt x="19" y="21"/>
                    <a:pt x="19" y="21"/>
                    <a:pt x="19" y="21"/>
                  </a:cubicBezTo>
                  <a:cubicBezTo>
                    <a:pt x="20" y="21"/>
                    <a:pt x="20" y="21"/>
                    <a:pt x="19" y="21"/>
                  </a:cubicBezTo>
                  <a:cubicBezTo>
                    <a:pt x="19" y="21"/>
                    <a:pt x="19" y="22"/>
                    <a:pt x="19" y="22"/>
                  </a:cubicBezTo>
                  <a:cubicBezTo>
                    <a:pt x="18" y="22"/>
                    <a:pt x="18" y="22"/>
                    <a:pt x="18" y="22"/>
                  </a:cubicBezTo>
                  <a:cubicBezTo>
                    <a:pt x="19" y="24"/>
                    <a:pt x="19" y="26"/>
                    <a:pt x="19" y="28"/>
                  </a:cubicBezTo>
                  <a:cubicBezTo>
                    <a:pt x="19" y="29"/>
                    <a:pt x="19" y="31"/>
                    <a:pt x="18" y="32"/>
                  </a:cubicBezTo>
                  <a:cubicBezTo>
                    <a:pt x="17" y="34"/>
                    <a:pt x="16" y="35"/>
                    <a:pt x="14" y="34"/>
                  </a:cubicBezTo>
                  <a:cubicBezTo>
                    <a:pt x="12" y="33"/>
                    <a:pt x="11" y="32"/>
                    <a:pt x="9" y="31"/>
                  </a:cubicBezTo>
                  <a:cubicBezTo>
                    <a:pt x="7" y="30"/>
                    <a:pt x="5" y="31"/>
                    <a:pt x="4" y="32"/>
                  </a:cubicBezTo>
                  <a:cubicBezTo>
                    <a:pt x="3" y="33"/>
                    <a:pt x="2" y="34"/>
                    <a:pt x="1" y="36"/>
                  </a:cubicBezTo>
                  <a:cubicBezTo>
                    <a:pt x="0" y="40"/>
                    <a:pt x="2" y="43"/>
                    <a:pt x="6" y="4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36"/>
            <p:cNvSpPr>
              <a:spLocks/>
            </p:cNvSpPr>
            <p:nvPr/>
          </p:nvSpPr>
          <p:spPr bwMode="auto">
            <a:xfrm>
              <a:off x="8308818" y="3783764"/>
              <a:ext cx="302557" cy="113232"/>
            </a:xfrm>
            <a:custGeom>
              <a:avLst/>
              <a:gdLst>
                <a:gd name="T0" fmla="*/ 139 w 141"/>
                <a:gd name="T1" fmla="*/ 47 h 53"/>
                <a:gd name="T2" fmla="*/ 140 w 141"/>
                <a:gd name="T3" fmla="*/ 41 h 53"/>
                <a:gd name="T4" fmla="*/ 135 w 141"/>
                <a:gd name="T5" fmla="*/ 37 h 53"/>
                <a:gd name="T6" fmla="*/ 102 w 141"/>
                <a:gd name="T7" fmla="*/ 23 h 53"/>
                <a:gd name="T8" fmla="*/ 91 w 141"/>
                <a:gd name="T9" fmla="*/ 19 h 53"/>
                <a:gd name="T10" fmla="*/ 80 w 141"/>
                <a:gd name="T11" fmla="*/ 13 h 53"/>
                <a:gd name="T12" fmla="*/ 74 w 141"/>
                <a:gd name="T13" fmla="*/ 10 h 53"/>
                <a:gd name="T14" fmla="*/ 57 w 141"/>
                <a:gd name="T15" fmla="*/ 5 h 53"/>
                <a:gd name="T16" fmla="*/ 45 w 141"/>
                <a:gd name="T17" fmla="*/ 2 h 53"/>
                <a:gd name="T18" fmla="*/ 37 w 141"/>
                <a:gd name="T19" fmla="*/ 1 h 53"/>
                <a:gd name="T20" fmla="*/ 14 w 141"/>
                <a:gd name="T21" fmla="*/ 6 h 53"/>
                <a:gd name="T22" fmla="*/ 0 w 141"/>
                <a:gd name="T23" fmla="*/ 20 h 53"/>
                <a:gd name="T24" fmla="*/ 1 w 141"/>
                <a:gd name="T25" fmla="*/ 21 h 53"/>
                <a:gd name="T26" fmla="*/ 7 w 141"/>
                <a:gd name="T27" fmla="*/ 20 h 53"/>
                <a:gd name="T28" fmla="*/ 31 w 141"/>
                <a:gd name="T29" fmla="*/ 10 h 53"/>
                <a:gd name="T30" fmla="*/ 37 w 141"/>
                <a:gd name="T31" fmla="*/ 12 h 53"/>
                <a:gd name="T32" fmla="*/ 43 w 141"/>
                <a:gd name="T33" fmla="*/ 17 h 53"/>
                <a:gd name="T34" fmla="*/ 54 w 141"/>
                <a:gd name="T35" fmla="*/ 19 h 53"/>
                <a:gd name="T36" fmla="*/ 62 w 141"/>
                <a:gd name="T37" fmla="*/ 21 h 53"/>
                <a:gd name="T38" fmla="*/ 78 w 141"/>
                <a:gd name="T39" fmla="*/ 25 h 53"/>
                <a:gd name="T40" fmla="*/ 84 w 141"/>
                <a:gd name="T41" fmla="*/ 30 h 53"/>
                <a:gd name="T42" fmla="*/ 97 w 141"/>
                <a:gd name="T43" fmla="*/ 38 h 53"/>
                <a:gd name="T44" fmla="*/ 98 w 141"/>
                <a:gd name="T45" fmla="*/ 39 h 53"/>
                <a:gd name="T46" fmla="*/ 99 w 141"/>
                <a:gd name="T47" fmla="*/ 43 h 53"/>
                <a:gd name="T48" fmla="*/ 98 w 141"/>
                <a:gd name="T49" fmla="*/ 45 h 53"/>
                <a:gd name="T50" fmla="*/ 100 w 141"/>
                <a:gd name="T51" fmla="*/ 50 h 53"/>
                <a:gd name="T52" fmla="*/ 114 w 141"/>
                <a:gd name="T53" fmla="*/ 50 h 53"/>
                <a:gd name="T54" fmla="*/ 139 w 141"/>
                <a:gd name="T55"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1" h="53">
                  <a:moveTo>
                    <a:pt x="139" y="47"/>
                  </a:moveTo>
                  <a:cubicBezTo>
                    <a:pt x="141" y="46"/>
                    <a:pt x="141" y="43"/>
                    <a:pt x="140" y="41"/>
                  </a:cubicBezTo>
                  <a:cubicBezTo>
                    <a:pt x="138" y="40"/>
                    <a:pt x="137" y="38"/>
                    <a:pt x="135" y="37"/>
                  </a:cubicBezTo>
                  <a:cubicBezTo>
                    <a:pt x="124" y="32"/>
                    <a:pt x="113" y="27"/>
                    <a:pt x="102" y="23"/>
                  </a:cubicBezTo>
                  <a:cubicBezTo>
                    <a:pt x="98" y="22"/>
                    <a:pt x="95" y="20"/>
                    <a:pt x="91" y="19"/>
                  </a:cubicBezTo>
                  <a:cubicBezTo>
                    <a:pt x="88" y="16"/>
                    <a:pt x="84" y="14"/>
                    <a:pt x="80" y="13"/>
                  </a:cubicBezTo>
                  <a:cubicBezTo>
                    <a:pt x="78" y="13"/>
                    <a:pt x="75" y="12"/>
                    <a:pt x="74" y="10"/>
                  </a:cubicBezTo>
                  <a:cubicBezTo>
                    <a:pt x="69" y="6"/>
                    <a:pt x="63" y="4"/>
                    <a:pt x="57" y="5"/>
                  </a:cubicBezTo>
                  <a:cubicBezTo>
                    <a:pt x="53" y="5"/>
                    <a:pt x="49" y="4"/>
                    <a:pt x="45" y="2"/>
                  </a:cubicBezTo>
                  <a:cubicBezTo>
                    <a:pt x="42" y="1"/>
                    <a:pt x="39" y="0"/>
                    <a:pt x="37" y="1"/>
                  </a:cubicBezTo>
                  <a:cubicBezTo>
                    <a:pt x="29" y="3"/>
                    <a:pt x="22" y="3"/>
                    <a:pt x="14" y="6"/>
                  </a:cubicBezTo>
                  <a:cubicBezTo>
                    <a:pt x="7" y="9"/>
                    <a:pt x="4" y="15"/>
                    <a:pt x="0" y="20"/>
                  </a:cubicBezTo>
                  <a:cubicBezTo>
                    <a:pt x="0" y="20"/>
                    <a:pt x="0" y="21"/>
                    <a:pt x="1" y="21"/>
                  </a:cubicBezTo>
                  <a:cubicBezTo>
                    <a:pt x="3" y="21"/>
                    <a:pt x="6" y="21"/>
                    <a:pt x="7" y="20"/>
                  </a:cubicBezTo>
                  <a:cubicBezTo>
                    <a:pt x="15" y="16"/>
                    <a:pt x="24" y="15"/>
                    <a:pt x="31" y="10"/>
                  </a:cubicBezTo>
                  <a:cubicBezTo>
                    <a:pt x="33" y="10"/>
                    <a:pt x="36" y="10"/>
                    <a:pt x="37" y="12"/>
                  </a:cubicBezTo>
                  <a:cubicBezTo>
                    <a:pt x="38" y="15"/>
                    <a:pt x="40" y="16"/>
                    <a:pt x="43" y="17"/>
                  </a:cubicBezTo>
                  <a:cubicBezTo>
                    <a:pt x="47" y="18"/>
                    <a:pt x="51" y="18"/>
                    <a:pt x="54" y="19"/>
                  </a:cubicBezTo>
                  <a:cubicBezTo>
                    <a:pt x="57" y="19"/>
                    <a:pt x="60" y="20"/>
                    <a:pt x="62" y="21"/>
                  </a:cubicBezTo>
                  <a:cubicBezTo>
                    <a:pt x="67" y="24"/>
                    <a:pt x="72" y="25"/>
                    <a:pt x="78" y="25"/>
                  </a:cubicBezTo>
                  <a:cubicBezTo>
                    <a:pt x="81" y="26"/>
                    <a:pt x="83" y="27"/>
                    <a:pt x="84" y="30"/>
                  </a:cubicBezTo>
                  <a:cubicBezTo>
                    <a:pt x="86" y="35"/>
                    <a:pt x="91" y="38"/>
                    <a:pt x="97" y="38"/>
                  </a:cubicBezTo>
                  <a:cubicBezTo>
                    <a:pt x="97" y="38"/>
                    <a:pt x="98" y="39"/>
                    <a:pt x="98" y="39"/>
                  </a:cubicBezTo>
                  <a:cubicBezTo>
                    <a:pt x="100" y="40"/>
                    <a:pt x="100" y="41"/>
                    <a:pt x="99" y="43"/>
                  </a:cubicBezTo>
                  <a:cubicBezTo>
                    <a:pt x="99" y="44"/>
                    <a:pt x="98" y="45"/>
                    <a:pt x="98" y="45"/>
                  </a:cubicBezTo>
                  <a:cubicBezTo>
                    <a:pt x="96" y="48"/>
                    <a:pt x="97" y="50"/>
                    <a:pt x="100" y="50"/>
                  </a:cubicBezTo>
                  <a:cubicBezTo>
                    <a:pt x="104" y="50"/>
                    <a:pt x="107" y="50"/>
                    <a:pt x="114" y="50"/>
                  </a:cubicBezTo>
                  <a:cubicBezTo>
                    <a:pt x="121" y="53"/>
                    <a:pt x="130" y="49"/>
                    <a:pt x="139" y="4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7"/>
            <p:cNvSpPr>
              <a:spLocks/>
            </p:cNvSpPr>
            <p:nvPr/>
          </p:nvSpPr>
          <p:spPr bwMode="auto">
            <a:xfrm>
              <a:off x="8606845" y="3879785"/>
              <a:ext cx="175737" cy="75186"/>
            </a:xfrm>
            <a:custGeom>
              <a:avLst/>
              <a:gdLst>
                <a:gd name="T0" fmla="*/ 6 w 82"/>
                <a:gd name="T1" fmla="*/ 28 h 35"/>
                <a:gd name="T2" fmla="*/ 16 w 82"/>
                <a:gd name="T3" fmla="*/ 28 h 35"/>
                <a:gd name="T4" fmla="*/ 27 w 82"/>
                <a:gd name="T5" fmla="*/ 29 h 35"/>
                <a:gd name="T6" fmla="*/ 35 w 82"/>
                <a:gd name="T7" fmla="*/ 35 h 35"/>
                <a:gd name="T8" fmla="*/ 38 w 82"/>
                <a:gd name="T9" fmla="*/ 35 h 35"/>
                <a:gd name="T10" fmla="*/ 40 w 82"/>
                <a:gd name="T11" fmla="*/ 33 h 35"/>
                <a:gd name="T12" fmla="*/ 51 w 82"/>
                <a:gd name="T13" fmla="*/ 28 h 35"/>
                <a:gd name="T14" fmla="*/ 56 w 82"/>
                <a:gd name="T15" fmla="*/ 27 h 35"/>
                <a:gd name="T16" fmla="*/ 75 w 82"/>
                <a:gd name="T17" fmla="*/ 26 h 35"/>
                <a:gd name="T18" fmla="*/ 79 w 82"/>
                <a:gd name="T19" fmla="*/ 25 h 35"/>
                <a:gd name="T20" fmla="*/ 82 w 82"/>
                <a:gd name="T21" fmla="*/ 22 h 35"/>
                <a:gd name="T22" fmla="*/ 80 w 82"/>
                <a:gd name="T23" fmla="*/ 19 h 35"/>
                <a:gd name="T24" fmla="*/ 63 w 82"/>
                <a:gd name="T25" fmla="*/ 7 h 35"/>
                <a:gd name="T26" fmla="*/ 57 w 82"/>
                <a:gd name="T27" fmla="*/ 5 h 35"/>
                <a:gd name="T28" fmla="*/ 35 w 82"/>
                <a:gd name="T29" fmla="*/ 4 h 35"/>
                <a:gd name="T30" fmla="*/ 27 w 82"/>
                <a:gd name="T31" fmla="*/ 2 h 35"/>
                <a:gd name="T32" fmla="*/ 24 w 82"/>
                <a:gd name="T33" fmla="*/ 1 h 35"/>
                <a:gd name="T34" fmla="*/ 17 w 82"/>
                <a:gd name="T35" fmla="*/ 4 h 35"/>
                <a:gd name="T36" fmla="*/ 18 w 82"/>
                <a:gd name="T37" fmla="*/ 8 h 35"/>
                <a:gd name="T38" fmla="*/ 23 w 82"/>
                <a:gd name="T39" fmla="*/ 17 h 35"/>
                <a:gd name="T40" fmla="*/ 20 w 82"/>
                <a:gd name="T41" fmla="*/ 19 h 35"/>
                <a:gd name="T42" fmla="*/ 14 w 82"/>
                <a:gd name="T43" fmla="*/ 20 h 35"/>
                <a:gd name="T44" fmla="*/ 1 w 82"/>
                <a:gd name="T45" fmla="*/ 22 h 35"/>
                <a:gd name="T46" fmla="*/ 0 w 82"/>
                <a:gd name="T47" fmla="*/ 24 h 35"/>
                <a:gd name="T48" fmla="*/ 6 w 82"/>
                <a:gd name="T49"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2" h="35">
                  <a:moveTo>
                    <a:pt x="6" y="28"/>
                  </a:moveTo>
                  <a:cubicBezTo>
                    <a:pt x="9" y="28"/>
                    <a:pt x="13" y="28"/>
                    <a:pt x="16" y="28"/>
                  </a:cubicBezTo>
                  <a:cubicBezTo>
                    <a:pt x="20" y="28"/>
                    <a:pt x="23" y="28"/>
                    <a:pt x="27" y="29"/>
                  </a:cubicBezTo>
                  <a:cubicBezTo>
                    <a:pt x="31" y="30"/>
                    <a:pt x="32" y="33"/>
                    <a:pt x="35" y="35"/>
                  </a:cubicBezTo>
                  <a:cubicBezTo>
                    <a:pt x="36" y="35"/>
                    <a:pt x="37" y="35"/>
                    <a:pt x="38" y="35"/>
                  </a:cubicBezTo>
                  <a:cubicBezTo>
                    <a:pt x="39" y="34"/>
                    <a:pt x="40" y="33"/>
                    <a:pt x="40" y="33"/>
                  </a:cubicBezTo>
                  <a:cubicBezTo>
                    <a:pt x="43" y="29"/>
                    <a:pt x="46" y="27"/>
                    <a:pt x="51" y="28"/>
                  </a:cubicBezTo>
                  <a:cubicBezTo>
                    <a:pt x="53" y="28"/>
                    <a:pt x="55" y="28"/>
                    <a:pt x="56" y="27"/>
                  </a:cubicBezTo>
                  <a:cubicBezTo>
                    <a:pt x="62" y="24"/>
                    <a:pt x="69" y="24"/>
                    <a:pt x="75" y="26"/>
                  </a:cubicBezTo>
                  <a:cubicBezTo>
                    <a:pt x="76" y="26"/>
                    <a:pt x="78" y="26"/>
                    <a:pt x="79" y="25"/>
                  </a:cubicBezTo>
                  <a:cubicBezTo>
                    <a:pt x="80" y="24"/>
                    <a:pt x="81" y="23"/>
                    <a:pt x="82" y="22"/>
                  </a:cubicBezTo>
                  <a:cubicBezTo>
                    <a:pt x="82" y="21"/>
                    <a:pt x="81" y="20"/>
                    <a:pt x="80" y="19"/>
                  </a:cubicBezTo>
                  <a:cubicBezTo>
                    <a:pt x="74" y="16"/>
                    <a:pt x="69" y="11"/>
                    <a:pt x="63" y="7"/>
                  </a:cubicBezTo>
                  <a:cubicBezTo>
                    <a:pt x="61" y="6"/>
                    <a:pt x="59" y="5"/>
                    <a:pt x="57" y="5"/>
                  </a:cubicBezTo>
                  <a:cubicBezTo>
                    <a:pt x="50" y="3"/>
                    <a:pt x="42" y="1"/>
                    <a:pt x="35" y="4"/>
                  </a:cubicBezTo>
                  <a:cubicBezTo>
                    <a:pt x="32" y="5"/>
                    <a:pt x="29" y="4"/>
                    <a:pt x="27" y="2"/>
                  </a:cubicBezTo>
                  <a:cubicBezTo>
                    <a:pt x="26" y="2"/>
                    <a:pt x="25" y="1"/>
                    <a:pt x="24" y="1"/>
                  </a:cubicBezTo>
                  <a:cubicBezTo>
                    <a:pt x="22" y="0"/>
                    <a:pt x="19" y="1"/>
                    <a:pt x="17" y="4"/>
                  </a:cubicBezTo>
                  <a:cubicBezTo>
                    <a:pt x="16" y="5"/>
                    <a:pt x="16" y="7"/>
                    <a:pt x="18" y="8"/>
                  </a:cubicBezTo>
                  <a:cubicBezTo>
                    <a:pt x="22" y="10"/>
                    <a:pt x="22" y="14"/>
                    <a:pt x="23" y="17"/>
                  </a:cubicBezTo>
                  <a:cubicBezTo>
                    <a:pt x="23" y="19"/>
                    <a:pt x="23" y="20"/>
                    <a:pt x="20" y="19"/>
                  </a:cubicBezTo>
                  <a:cubicBezTo>
                    <a:pt x="17" y="17"/>
                    <a:pt x="16" y="20"/>
                    <a:pt x="14" y="20"/>
                  </a:cubicBezTo>
                  <a:cubicBezTo>
                    <a:pt x="10" y="21"/>
                    <a:pt x="5" y="21"/>
                    <a:pt x="1" y="22"/>
                  </a:cubicBezTo>
                  <a:cubicBezTo>
                    <a:pt x="1" y="22"/>
                    <a:pt x="0" y="23"/>
                    <a:pt x="0" y="24"/>
                  </a:cubicBezTo>
                  <a:cubicBezTo>
                    <a:pt x="1" y="27"/>
                    <a:pt x="3" y="29"/>
                    <a:pt x="6" y="2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8"/>
            <p:cNvSpPr>
              <a:spLocks/>
            </p:cNvSpPr>
            <p:nvPr/>
          </p:nvSpPr>
          <p:spPr bwMode="auto">
            <a:xfrm>
              <a:off x="8983682" y="1674020"/>
              <a:ext cx="92398" cy="80621"/>
            </a:xfrm>
            <a:custGeom>
              <a:avLst/>
              <a:gdLst>
                <a:gd name="T0" fmla="*/ 2 w 43"/>
                <a:gd name="T1" fmla="*/ 15 h 38"/>
                <a:gd name="T2" fmla="*/ 2 w 43"/>
                <a:gd name="T3" fmla="*/ 25 h 38"/>
                <a:gd name="T4" fmla="*/ 12 w 43"/>
                <a:gd name="T5" fmla="*/ 36 h 38"/>
                <a:gd name="T6" fmla="*/ 22 w 43"/>
                <a:gd name="T7" fmla="*/ 35 h 38"/>
                <a:gd name="T8" fmla="*/ 28 w 43"/>
                <a:gd name="T9" fmla="*/ 37 h 38"/>
                <a:gd name="T10" fmla="*/ 40 w 43"/>
                <a:gd name="T11" fmla="*/ 38 h 38"/>
                <a:gd name="T12" fmla="*/ 43 w 43"/>
                <a:gd name="T13" fmla="*/ 35 h 38"/>
                <a:gd name="T14" fmla="*/ 40 w 43"/>
                <a:gd name="T15" fmla="*/ 18 h 38"/>
                <a:gd name="T16" fmla="*/ 28 w 43"/>
                <a:gd name="T17" fmla="*/ 7 h 38"/>
                <a:gd name="T18" fmla="*/ 11 w 43"/>
                <a:gd name="T19" fmla="*/ 1 h 38"/>
                <a:gd name="T20" fmla="*/ 6 w 43"/>
                <a:gd name="T21" fmla="*/ 3 h 38"/>
                <a:gd name="T22" fmla="*/ 2 w 43"/>
                <a:gd name="T23" fmla="*/ 9 h 38"/>
                <a:gd name="T24" fmla="*/ 2 w 43"/>
                <a:gd name="T25"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38">
                  <a:moveTo>
                    <a:pt x="2" y="15"/>
                  </a:moveTo>
                  <a:cubicBezTo>
                    <a:pt x="3" y="18"/>
                    <a:pt x="3" y="21"/>
                    <a:pt x="2" y="25"/>
                  </a:cubicBezTo>
                  <a:cubicBezTo>
                    <a:pt x="0" y="31"/>
                    <a:pt x="7" y="36"/>
                    <a:pt x="12" y="36"/>
                  </a:cubicBezTo>
                  <a:cubicBezTo>
                    <a:pt x="15" y="36"/>
                    <a:pt x="19" y="35"/>
                    <a:pt x="22" y="35"/>
                  </a:cubicBezTo>
                  <a:cubicBezTo>
                    <a:pt x="24" y="34"/>
                    <a:pt x="27" y="35"/>
                    <a:pt x="28" y="37"/>
                  </a:cubicBezTo>
                  <a:cubicBezTo>
                    <a:pt x="32" y="37"/>
                    <a:pt x="36" y="38"/>
                    <a:pt x="40" y="38"/>
                  </a:cubicBezTo>
                  <a:cubicBezTo>
                    <a:pt x="41" y="38"/>
                    <a:pt x="43" y="36"/>
                    <a:pt x="43" y="35"/>
                  </a:cubicBezTo>
                  <a:cubicBezTo>
                    <a:pt x="43" y="29"/>
                    <a:pt x="42" y="23"/>
                    <a:pt x="40" y="18"/>
                  </a:cubicBezTo>
                  <a:cubicBezTo>
                    <a:pt x="39" y="12"/>
                    <a:pt x="35" y="8"/>
                    <a:pt x="28" y="7"/>
                  </a:cubicBezTo>
                  <a:cubicBezTo>
                    <a:pt x="22" y="5"/>
                    <a:pt x="17" y="4"/>
                    <a:pt x="11" y="1"/>
                  </a:cubicBezTo>
                  <a:cubicBezTo>
                    <a:pt x="10" y="0"/>
                    <a:pt x="7" y="1"/>
                    <a:pt x="6" y="3"/>
                  </a:cubicBezTo>
                  <a:cubicBezTo>
                    <a:pt x="5" y="5"/>
                    <a:pt x="3" y="7"/>
                    <a:pt x="2" y="9"/>
                  </a:cubicBezTo>
                  <a:cubicBezTo>
                    <a:pt x="2" y="11"/>
                    <a:pt x="1" y="13"/>
                    <a:pt x="2" y="1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Oval 39"/>
            <p:cNvSpPr>
              <a:spLocks noChangeArrowheads="1"/>
            </p:cNvSpPr>
            <p:nvPr/>
          </p:nvSpPr>
          <p:spPr bwMode="auto">
            <a:xfrm>
              <a:off x="8988212" y="1693043"/>
              <a:ext cx="906" cy="906"/>
            </a:xfrm>
            <a:prstGeom prst="ellipse">
              <a:avLst/>
            </a:pr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40"/>
            <p:cNvSpPr>
              <a:spLocks/>
            </p:cNvSpPr>
            <p:nvPr/>
          </p:nvSpPr>
          <p:spPr bwMode="auto">
            <a:xfrm>
              <a:off x="8829687" y="1214750"/>
              <a:ext cx="72469" cy="92398"/>
            </a:xfrm>
            <a:custGeom>
              <a:avLst/>
              <a:gdLst>
                <a:gd name="T0" fmla="*/ 1 w 34"/>
                <a:gd name="T1" fmla="*/ 38 h 43"/>
                <a:gd name="T2" fmla="*/ 6 w 34"/>
                <a:gd name="T3" fmla="*/ 42 h 43"/>
                <a:gd name="T4" fmla="*/ 23 w 34"/>
                <a:gd name="T5" fmla="*/ 42 h 43"/>
                <a:gd name="T6" fmla="*/ 27 w 34"/>
                <a:gd name="T7" fmla="*/ 40 h 43"/>
                <a:gd name="T8" fmla="*/ 31 w 34"/>
                <a:gd name="T9" fmla="*/ 32 h 43"/>
                <a:gd name="T10" fmla="*/ 31 w 34"/>
                <a:gd name="T11" fmla="*/ 32 h 43"/>
                <a:gd name="T12" fmla="*/ 31 w 34"/>
                <a:gd name="T13" fmla="*/ 31 h 43"/>
                <a:gd name="T14" fmla="*/ 31 w 34"/>
                <a:gd name="T15" fmla="*/ 32 h 43"/>
                <a:gd name="T16" fmla="*/ 31 w 34"/>
                <a:gd name="T17" fmla="*/ 20 h 43"/>
                <a:gd name="T18" fmla="*/ 23 w 34"/>
                <a:gd name="T19" fmla="*/ 6 h 43"/>
                <a:gd name="T20" fmla="*/ 21 w 34"/>
                <a:gd name="T21" fmla="*/ 2 h 43"/>
                <a:gd name="T22" fmla="*/ 13 w 34"/>
                <a:gd name="T23" fmla="*/ 1 h 43"/>
                <a:gd name="T24" fmla="*/ 3 w 34"/>
                <a:gd name="T25" fmla="*/ 22 h 43"/>
                <a:gd name="T26" fmla="*/ 0 w 34"/>
                <a:gd name="T27" fmla="*/ 30 h 43"/>
                <a:gd name="T28" fmla="*/ 1 w 34"/>
                <a:gd name="T29" fmla="*/ 3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43">
                  <a:moveTo>
                    <a:pt x="1" y="38"/>
                  </a:moveTo>
                  <a:cubicBezTo>
                    <a:pt x="2" y="40"/>
                    <a:pt x="3" y="41"/>
                    <a:pt x="6" y="42"/>
                  </a:cubicBezTo>
                  <a:cubicBezTo>
                    <a:pt x="12" y="43"/>
                    <a:pt x="18" y="43"/>
                    <a:pt x="23" y="42"/>
                  </a:cubicBezTo>
                  <a:cubicBezTo>
                    <a:pt x="25" y="42"/>
                    <a:pt x="26" y="41"/>
                    <a:pt x="27" y="40"/>
                  </a:cubicBezTo>
                  <a:cubicBezTo>
                    <a:pt x="29" y="37"/>
                    <a:pt x="29" y="34"/>
                    <a:pt x="31" y="32"/>
                  </a:cubicBezTo>
                  <a:cubicBezTo>
                    <a:pt x="31" y="32"/>
                    <a:pt x="31" y="32"/>
                    <a:pt x="31" y="32"/>
                  </a:cubicBezTo>
                  <a:cubicBezTo>
                    <a:pt x="31" y="32"/>
                    <a:pt x="31" y="31"/>
                    <a:pt x="31" y="31"/>
                  </a:cubicBezTo>
                  <a:cubicBezTo>
                    <a:pt x="31" y="32"/>
                    <a:pt x="31" y="32"/>
                    <a:pt x="31" y="32"/>
                  </a:cubicBezTo>
                  <a:cubicBezTo>
                    <a:pt x="34" y="28"/>
                    <a:pt x="34" y="24"/>
                    <a:pt x="31" y="20"/>
                  </a:cubicBezTo>
                  <a:cubicBezTo>
                    <a:pt x="28" y="16"/>
                    <a:pt x="25" y="11"/>
                    <a:pt x="23" y="6"/>
                  </a:cubicBezTo>
                  <a:cubicBezTo>
                    <a:pt x="23" y="5"/>
                    <a:pt x="22" y="4"/>
                    <a:pt x="21" y="2"/>
                  </a:cubicBezTo>
                  <a:cubicBezTo>
                    <a:pt x="19" y="0"/>
                    <a:pt x="15" y="0"/>
                    <a:pt x="13" y="1"/>
                  </a:cubicBezTo>
                  <a:cubicBezTo>
                    <a:pt x="7" y="7"/>
                    <a:pt x="3" y="13"/>
                    <a:pt x="3" y="22"/>
                  </a:cubicBezTo>
                  <a:cubicBezTo>
                    <a:pt x="3" y="25"/>
                    <a:pt x="1" y="27"/>
                    <a:pt x="0" y="30"/>
                  </a:cubicBezTo>
                  <a:cubicBezTo>
                    <a:pt x="0" y="32"/>
                    <a:pt x="1" y="35"/>
                    <a:pt x="1" y="3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1"/>
            <p:cNvSpPr>
              <a:spLocks/>
            </p:cNvSpPr>
            <p:nvPr/>
          </p:nvSpPr>
          <p:spPr bwMode="auto">
            <a:xfrm>
              <a:off x="8710113" y="1476543"/>
              <a:ext cx="67939" cy="75186"/>
            </a:xfrm>
            <a:custGeom>
              <a:avLst/>
              <a:gdLst>
                <a:gd name="T0" fmla="*/ 3 w 32"/>
                <a:gd name="T1" fmla="*/ 13 h 35"/>
                <a:gd name="T2" fmla="*/ 3 w 32"/>
                <a:gd name="T3" fmla="*/ 22 h 35"/>
                <a:gd name="T4" fmla="*/ 15 w 32"/>
                <a:gd name="T5" fmla="*/ 32 h 35"/>
                <a:gd name="T6" fmla="*/ 18 w 32"/>
                <a:gd name="T7" fmla="*/ 34 h 35"/>
                <a:gd name="T8" fmla="*/ 26 w 32"/>
                <a:gd name="T9" fmla="*/ 31 h 35"/>
                <a:gd name="T10" fmla="*/ 31 w 32"/>
                <a:gd name="T11" fmla="*/ 19 h 35"/>
                <a:gd name="T12" fmla="*/ 32 w 32"/>
                <a:gd name="T13" fmla="*/ 13 h 35"/>
                <a:gd name="T14" fmla="*/ 27 w 32"/>
                <a:gd name="T15" fmla="*/ 2 h 35"/>
                <a:gd name="T16" fmla="*/ 19 w 32"/>
                <a:gd name="T17" fmla="*/ 0 h 35"/>
                <a:gd name="T18" fmla="*/ 14 w 32"/>
                <a:gd name="T19" fmla="*/ 1 h 35"/>
                <a:gd name="T20" fmla="*/ 3 w 32"/>
                <a:gd name="T2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5">
                  <a:moveTo>
                    <a:pt x="3" y="13"/>
                  </a:moveTo>
                  <a:cubicBezTo>
                    <a:pt x="0" y="15"/>
                    <a:pt x="0" y="20"/>
                    <a:pt x="3" y="22"/>
                  </a:cubicBezTo>
                  <a:cubicBezTo>
                    <a:pt x="7" y="26"/>
                    <a:pt x="11" y="29"/>
                    <a:pt x="15" y="32"/>
                  </a:cubicBezTo>
                  <a:cubicBezTo>
                    <a:pt x="16" y="33"/>
                    <a:pt x="17" y="33"/>
                    <a:pt x="18" y="34"/>
                  </a:cubicBezTo>
                  <a:cubicBezTo>
                    <a:pt x="21" y="35"/>
                    <a:pt x="25" y="34"/>
                    <a:pt x="26" y="31"/>
                  </a:cubicBezTo>
                  <a:cubicBezTo>
                    <a:pt x="28" y="27"/>
                    <a:pt x="30" y="23"/>
                    <a:pt x="31" y="19"/>
                  </a:cubicBezTo>
                  <a:cubicBezTo>
                    <a:pt x="32" y="17"/>
                    <a:pt x="32" y="15"/>
                    <a:pt x="32" y="13"/>
                  </a:cubicBezTo>
                  <a:cubicBezTo>
                    <a:pt x="32" y="9"/>
                    <a:pt x="30" y="5"/>
                    <a:pt x="27" y="2"/>
                  </a:cubicBezTo>
                  <a:cubicBezTo>
                    <a:pt x="25" y="0"/>
                    <a:pt x="22" y="0"/>
                    <a:pt x="19" y="0"/>
                  </a:cubicBezTo>
                  <a:cubicBezTo>
                    <a:pt x="18" y="0"/>
                    <a:pt x="16" y="1"/>
                    <a:pt x="14" y="1"/>
                  </a:cubicBezTo>
                  <a:cubicBezTo>
                    <a:pt x="12" y="5"/>
                    <a:pt x="7" y="9"/>
                    <a:pt x="3" y="1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42"/>
            <p:cNvSpPr>
              <a:spLocks/>
            </p:cNvSpPr>
            <p:nvPr/>
          </p:nvSpPr>
          <p:spPr bwMode="auto">
            <a:xfrm>
              <a:off x="8740007" y="1476543"/>
              <a:ext cx="1812" cy="1812"/>
            </a:xfrm>
            <a:custGeom>
              <a:avLst/>
              <a:gdLst>
                <a:gd name="T0" fmla="*/ 0 w 1"/>
                <a:gd name="T1" fmla="*/ 1 h 1"/>
                <a:gd name="T2" fmla="*/ 1 w 1"/>
                <a:gd name="T3" fmla="*/ 0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0"/>
                    <a:pt x="1" y="0"/>
                    <a:pt x="1" y="0"/>
                  </a:cubicBezTo>
                  <a:cubicBezTo>
                    <a:pt x="1" y="0"/>
                    <a:pt x="0" y="0"/>
                    <a:pt x="0" y="0"/>
                  </a:cubicBezTo>
                  <a:cubicBezTo>
                    <a:pt x="0" y="0"/>
                    <a:pt x="0" y="0"/>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43"/>
            <p:cNvSpPr>
              <a:spLocks/>
            </p:cNvSpPr>
            <p:nvPr/>
          </p:nvSpPr>
          <p:spPr bwMode="auto">
            <a:xfrm>
              <a:off x="8547059" y="1144093"/>
              <a:ext cx="83339" cy="56163"/>
            </a:xfrm>
            <a:custGeom>
              <a:avLst/>
              <a:gdLst>
                <a:gd name="T0" fmla="*/ 1 w 39"/>
                <a:gd name="T1" fmla="*/ 10 h 26"/>
                <a:gd name="T2" fmla="*/ 12 w 39"/>
                <a:gd name="T3" fmla="*/ 16 h 26"/>
                <a:gd name="T4" fmla="*/ 21 w 39"/>
                <a:gd name="T5" fmla="*/ 22 h 26"/>
                <a:gd name="T6" fmla="*/ 38 w 39"/>
                <a:gd name="T7" fmla="*/ 15 h 26"/>
                <a:gd name="T8" fmla="*/ 38 w 39"/>
                <a:gd name="T9" fmla="*/ 9 h 26"/>
                <a:gd name="T10" fmla="*/ 39 w 39"/>
                <a:gd name="T11" fmla="*/ 8 h 26"/>
                <a:gd name="T12" fmla="*/ 31 w 39"/>
                <a:gd name="T13" fmla="*/ 0 h 26"/>
                <a:gd name="T14" fmla="*/ 16 w 39"/>
                <a:gd name="T15" fmla="*/ 2 h 26"/>
                <a:gd name="T16" fmla="*/ 5 w 39"/>
                <a:gd name="T17" fmla="*/ 3 h 26"/>
                <a:gd name="T18" fmla="*/ 1 w 39"/>
                <a:gd name="T19" fmla="*/ 5 h 26"/>
                <a:gd name="T20" fmla="*/ 0 w 39"/>
                <a:gd name="T21" fmla="*/ 8 h 26"/>
                <a:gd name="T22" fmla="*/ 1 w 39"/>
                <a:gd name="T2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26">
                  <a:moveTo>
                    <a:pt x="1" y="10"/>
                  </a:moveTo>
                  <a:cubicBezTo>
                    <a:pt x="6" y="11"/>
                    <a:pt x="10" y="12"/>
                    <a:pt x="12" y="16"/>
                  </a:cubicBezTo>
                  <a:cubicBezTo>
                    <a:pt x="17" y="16"/>
                    <a:pt x="18" y="20"/>
                    <a:pt x="21" y="22"/>
                  </a:cubicBezTo>
                  <a:cubicBezTo>
                    <a:pt x="28" y="26"/>
                    <a:pt x="37" y="22"/>
                    <a:pt x="38" y="15"/>
                  </a:cubicBezTo>
                  <a:cubicBezTo>
                    <a:pt x="38" y="13"/>
                    <a:pt x="38" y="11"/>
                    <a:pt x="38" y="9"/>
                  </a:cubicBezTo>
                  <a:cubicBezTo>
                    <a:pt x="39" y="9"/>
                    <a:pt x="39" y="8"/>
                    <a:pt x="39" y="8"/>
                  </a:cubicBezTo>
                  <a:cubicBezTo>
                    <a:pt x="39" y="2"/>
                    <a:pt x="36" y="0"/>
                    <a:pt x="31" y="0"/>
                  </a:cubicBezTo>
                  <a:cubicBezTo>
                    <a:pt x="26" y="1"/>
                    <a:pt x="21" y="2"/>
                    <a:pt x="16" y="2"/>
                  </a:cubicBezTo>
                  <a:cubicBezTo>
                    <a:pt x="13" y="1"/>
                    <a:pt x="9" y="2"/>
                    <a:pt x="5" y="3"/>
                  </a:cubicBezTo>
                  <a:cubicBezTo>
                    <a:pt x="4" y="3"/>
                    <a:pt x="2" y="4"/>
                    <a:pt x="1" y="5"/>
                  </a:cubicBezTo>
                  <a:cubicBezTo>
                    <a:pt x="0" y="6"/>
                    <a:pt x="0" y="7"/>
                    <a:pt x="0" y="8"/>
                  </a:cubicBezTo>
                  <a:cubicBezTo>
                    <a:pt x="0" y="9"/>
                    <a:pt x="1" y="10"/>
                    <a:pt x="1" y="1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44"/>
            <p:cNvSpPr>
              <a:spLocks/>
            </p:cNvSpPr>
            <p:nvPr/>
          </p:nvSpPr>
          <p:spPr bwMode="auto">
            <a:xfrm>
              <a:off x="8922084" y="2018246"/>
              <a:ext cx="66128" cy="60693"/>
            </a:xfrm>
            <a:custGeom>
              <a:avLst/>
              <a:gdLst>
                <a:gd name="T0" fmla="*/ 1 w 31"/>
                <a:gd name="T1" fmla="*/ 19 h 28"/>
                <a:gd name="T2" fmla="*/ 8 w 31"/>
                <a:gd name="T3" fmla="*/ 28 h 28"/>
                <a:gd name="T4" fmla="*/ 28 w 31"/>
                <a:gd name="T5" fmla="*/ 17 h 28"/>
                <a:gd name="T6" fmla="*/ 31 w 31"/>
                <a:gd name="T7" fmla="*/ 9 h 28"/>
                <a:gd name="T8" fmla="*/ 27 w 31"/>
                <a:gd name="T9" fmla="*/ 3 h 28"/>
                <a:gd name="T10" fmla="*/ 15 w 31"/>
                <a:gd name="T11" fmla="*/ 2 h 28"/>
                <a:gd name="T12" fmla="*/ 2 w 31"/>
                <a:gd name="T13" fmla="*/ 18 h 28"/>
                <a:gd name="T14" fmla="*/ 1 w 31"/>
                <a:gd name="T15" fmla="*/ 19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8">
                  <a:moveTo>
                    <a:pt x="1" y="19"/>
                  </a:moveTo>
                  <a:cubicBezTo>
                    <a:pt x="0" y="24"/>
                    <a:pt x="3" y="28"/>
                    <a:pt x="8" y="28"/>
                  </a:cubicBezTo>
                  <a:cubicBezTo>
                    <a:pt x="17" y="28"/>
                    <a:pt x="24" y="25"/>
                    <a:pt x="28" y="17"/>
                  </a:cubicBezTo>
                  <a:cubicBezTo>
                    <a:pt x="29" y="14"/>
                    <a:pt x="30" y="12"/>
                    <a:pt x="31" y="9"/>
                  </a:cubicBezTo>
                  <a:cubicBezTo>
                    <a:pt x="31" y="7"/>
                    <a:pt x="30" y="4"/>
                    <a:pt x="27" y="3"/>
                  </a:cubicBezTo>
                  <a:cubicBezTo>
                    <a:pt x="23" y="0"/>
                    <a:pt x="19" y="0"/>
                    <a:pt x="15" y="2"/>
                  </a:cubicBezTo>
                  <a:cubicBezTo>
                    <a:pt x="9" y="6"/>
                    <a:pt x="5" y="12"/>
                    <a:pt x="2" y="18"/>
                  </a:cubicBezTo>
                  <a:cubicBezTo>
                    <a:pt x="1" y="18"/>
                    <a:pt x="1" y="19"/>
                    <a:pt x="1" y="1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45"/>
            <p:cNvSpPr>
              <a:spLocks/>
            </p:cNvSpPr>
            <p:nvPr/>
          </p:nvSpPr>
          <p:spPr bwMode="auto">
            <a:xfrm>
              <a:off x="7225411" y="2532774"/>
              <a:ext cx="38952" cy="98739"/>
            </a:xfrm>
            <a:custGeom>
              <a:avLst/>
              <a:gdLst>
                <a:gd name="T0" fmla="*/ 8 w 18"/>
                <a:gd name="T1" fmla="*/ 0 h 46"/>
                <a:gd name="T2" fmla="*/ 2 w 18"/>
                <a:gd name="T3" fmla="*/ 2 h 46"/>
                <a:gd name="T4" fmla="*/ 0 w 18"/>
                <a:gd name="T5" fmla="*/ 10 h 46"/>
                <a:gd name="T6" fmla="*/ 1 w 18"/>
                <a:gd name="T7" fmla="*/ 19 h 46"/>
                <a:gd name="T8" fmla="*/ 0 w 18"/>
                <a:gd name="T9" fmla="*/ 19 h 46"/>
                <a:gd name="T10" fmla="*/ 1 w 18"/>
                <a:gd name="T11" fmla="*/ 26 h 46"/>
                <a:gd name="T12" fmla="*/ 6 w 18"/>
                <a:gd name="T13" fmla="*/ 44 h 46"/>
                <a:gd name="T14" fmla="*/ 9 w 18"/>
                <a:gd name="T15" fmla="*/ 46 h 46"/>
                <a:gd name="T16" fmla="*/ 10 w 18"/>
                <a:gd name="T17" fmla="*/ 46 h 46"/>
                <a:gd name="T18" fmla="*/ 11 w 18"/>
                <a:gd name="T19" fmla="*/ 45 h 46"/>
                <a:gd name="T20" fmla="*/ 13 w 18"/>
                <a:gd name="T21" fmla="*/ 21 h 46"/>
                <a:gd name="T22" fmla="*/ 18 w 18"/>
                <a:gd name="T23" fmla="*/ 7 h 46"/>
                <a:gd name="T24" fmla="*/ 17 w 18"/>
                <a:gd name="T25" fmla="*/ 5 h 46"/>
                <a:gd name="T26" fmla="*/ 8 w 18"/>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46">
                  <a:moveTo>
                    <a:pt x="8" y="0"/>
                  </a:moveTo>
                  <a:cubicBezTo>
                    <a:pt x="7" y="0"/>
                    <a:pt x="4" y="1"/>
                    <a:pt x="2" y="2"/>
                  </a:cubicBezTo>
                  <a:cubicBezTo>
                    <a:pt x="1" y="4"/>
                    <a:pt x="0" y="7"/>
                    <a:pt x="0" y="10"/>
                  </a:cubicBezTo>
                  <a:cubicBezTo>
                    <a:pt x="0" y="13"/>
                    <a:pt x="0" y="16"/>
                    <a:pt x="1" y="19"/>
                  </a:cubicBezTo>
                  <a:cubicBezTo>
                    <a:pt x="0" y="19"/>
                    <a:pt x="0" y="19"/>
                    <a:pt x="0" y="19"/>
                  </a:cubicBezTo>
                  <a:cubicBezTo>
                    <a:pt x="0" y="21"/>
                    <a:pt x="1" y="24"/>
                    <a:pt x="1" y="26"/>
                  </a:cubicBezTo>
                  <a:cubicBezTo>
                    <a:pt x="1" y="33"/>
                    <a:pt x="3" y="39"/>
                    <a:pt x="6" y="44"/>
                  </a:cubicBezTo>
                  <a:cubicBezTo>
                    <a:pt x="7" y="45"/>
                    <a:pt x="8" y="46"/>
                    <a:pt x="9" y="46"/>
                  </a:cubicBezTo>
                  <a:cubicBezTo>
                    <a:pt x="9" y="46"/>
                    <a:pt x="10" y="46"/>
                    <a:pt x="10" y="46"/>
                  </a:cubicBezTo>
                  <a:cubicBezTo>
                    <a:pt x="11" y="46"/>
                    <a:pt x="11" y="45"/>
                    <a:pt x="11" y="45"/>
                  </a:cubicBezTo>
                  <a:cubicBezTo>
                    <a:pt x="8" y="36"/>
                    <a:pt x="10" y="29"/>
                    <a:pt x="13" y="21"/>
                  </a:cubicBezTo>
                  <a:cubicBezTo>
                    <a:pt x="15" y="16"/>
                    <a:pt x="17" y="12"/>
                    <a:pt x="18" y="7"/>
                  </a:cubicBezTo>
                  <a:cubicBezTo>
                    <a:pt x="18" y="7"/>
                    <a:pt x="18" y="5"/>
                    <a:pt x="17" y="5"/>
                  </a:cubicBezTo>
                  <a:cubicBezTo>
                    <a:pt x="14" y="3"/>
                    <a:pt x="11" y="2"/>
                    <a:pt x="8"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46"/>
            <p:cNvSpPr>
              <a:spLocks/>
            </p:cNvSpPr>
            <p:nvPr/>
          </p:nvSpPr>
          <p:spPr bwMode="auto">
            <a:xfrm>
              <a:off x="8825157" y="1316206"/>
              <a:ext cx="70657" cy="40764"/>
            </a:xfrm>
            <a:custGeom>
              <a:avLst/>
              <a:gdLst>
                <a:gd name="T0" fmla="*/ 25 w 33"/>
                <a:gd name="T1" fmla="*/ 19 h 19"/>
                <a:gd name="T2" fmla="*/ 32 w 33"/>
                <a:gd name="T3" fmla="*/ 16 h 19"/>
                <a:gd name="T4" fmla="*/ 32 w 33"/>
                <a:gd name="T5" fmla="*/ 12 h 19"/>
                <a:gd name="T6" fmla="*/ 10 w 33"/>
                <a:gd name="T7" fmla="*/ 0 h 19"/>
                <a:gd name="T8" fmla="*/ 1 w 33"/>
                <a:gd name="T9" fmla="*/ 6 h 19"/>
                <a:gd name="T10" fmla="*/ 2 w 33"/>
                <a:gd name="T11" fmla="*/ 11 h 19"/>
                <a:gd name="T12" fmla="*/ 23 w 33"/>
                <a:gd name="T13" fmla="*/ 19 h 19"/>
                <a:gd name="T14" fmla="*/ 25 w 3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9">
                  <a:moveTo>
                    <a:pt x="25" y="19"/>
                  </a:moveTo>
                  <a:cubicBezTo>
                    <a:pt x="28" y="19"/>
                    <a:pt x="30" y="18"/>
                    <a:pt x="32" y="16"/>
                  </a:cubicBezTo>
                  <a:cubicBezTo>
                    <a:pt x="33" y="15"/>
                    <a:pt x="33" y="12"/>
                    <a:pt x="32" y="12"/>
                  </a:cubicBezTo>
                  <a:cubicBezTo>
                    <a:pt x="26" y="6"/>
                    <a:pt x="19" y="1"/>
                    <a:pt x="10" y="0"/>
                  </a:cubicBezTo>
                  <a:cubicBezTo>
                    <a:pt x="6" y="0"/>
                    <a:pt x="2" y="2"/>
                    <a:pt x="1" y="6"/>
                  </a:cubicBezTo>
                  <a:cubicBezTo>
                    <a:pt x="0" y="8"/>
                    <a:pt x="1" y="10"/>
                    <a:pt x="2" y="11"/>
                  </a:cubicBezTo>
                  <a:cubicBezTo>
                    <a:pt x="9" y="16"/>
                    <a:pt x="16" y="18"/>
                    <a:pt x="23" y="19"/>
                  </a:cubicBezTo>
                  <a:cubicBezTo>
                    <a:pt x="24" y="19"/>
                    <a:pt x="24" y="19"/>
                    <a:pt x="25" y="1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7"/>
            <p:cNvSpPr>
              <a:spLocks/>
            </p:cNvSpPr>
            <p:nvPr/>
          </p:nvSpPr>
          <p:spPr bwMode="auto">
            <a:xfrm>
              <a:off x="9026258" y="2890588"/>
              <a:ext cx="64316" cy="38046"/>
            </a:xfrm>
            <a:custGeom>
              <a:avLst/>
              <a:gdLst>
                <a:gd name="T0" fmla="*/ 3 w 30"/>
                <a:gd name="T1" fmla="*/ 0 h 18"/>
                <a:gd name="T2" fmla="*/ 1 w 30"/>
                <a:gd name="T3" fmla="*/ 1 h 18"/>
                <a:gd name="T4" fmla="*/ 1 w 30"/>
                <a:gd name="T5" fmla="*/ 5 h 18"/>
                <a:gd name="T6" fmla="*/ 3 w 30"/>
                <a:gd name="T7" fmla="*/ 7 h 18"/>
                <a:gd name="T8" fmla="*/ 13 w 30"/>
                <a:gd name="T9" fmla="*/ 15 h 18"/>
                <a:gd name="T10" fmla="*/ 26 w 30"/>
                <a:gd name="T11" fmla="*/ 18 h 18"/>
                <a:gd name="T12" fmla="*/ 27 w 30"/>
                <a:gd name="T13" fmla="*/ 18 h 18"/>
                <a:gd name="T14" fmla="*/ 29 w 30"/>
                <a:gd name="T15" fmla="*/ 16 h 18"/>
                <a:gd name="T16" fmla="*/ 29 w 30"/>
                <a:gd name="T17" fmla="*/ 15 h 18"/>
                <a:gd name="T18" fmla="*/ 3 w 30"/>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8">
                  <a:moveTo>
                    <a:pt x="3" y="0"/>
                  </a:moveTo>
                  <a:cubicBezTo>
                    <a:pt x="3" y="1"/>
                    <a:pt x="2" y="1"/>
                    <a:pt x="1" y="1"/>
                  </a:cubicBezTo>
                  <a:cubicBezTo>
                    <a:pt x="0" y="2"/>
                    <a:pt x="0" y="4"/>
                    <a:pt x="1" y="5"/>
                  </a:cubicBezTo>
                  <a:cubicBezTo>
                    <a:pt x="2" y="6"/>
                    <a:pt x="3" y="6"/>
                    <a:pt x="3" y="7"/>
                  </a:cubicBezTo>
                  <a:cubicBezTo>
                    <a:pt x="6" y="10"/>
                    <a:pt x="9" y="13"/>
                    <a:pt x="13" y="15"/>
                  </a:cubicBezTo>
                  <a:cubicBezTo>
                    <a:pt x="17" y="16"/>
                    <a:pt x="22" y="17"/>
                    <a:pt x="26" y="18"/>
                  </a:cubicBezTo>
                  <a:cubicBezTo>
                    <a:pt x="26" y="18"/>
                    <a:pt x="27" y="18"/>
                    <a:pt x="27" y="18"/>
                  </a:cubicBezTo>
                  <a:cubicBezTo>
                    <a:pt x="28" y="18"/>
                    <a:pt x="29" y="17"/>
                    <a:pt x="29" y="16"/>
                  </a:cubicBezTo>
                  <a:cubicBezTo>
                    <a:pt x="30" y="16"/>
                    <a:pt x="30" y="15"/>
                    <a:pt x="29" y="15"/>
                  </a:cubicBezTo>
                  <a:cubicBezTo>
                    <a:pt x="23" y="6"/>
                    <a:pt x="14" y="2"/>
                    <a:pt x="3"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8"/>
            <p:cNvSpPr>
              <a:spLocks/>
            </p:cNvSpPr>
            <p:nvPr/>
          </p:nvSpPr>
          <p:spPr bwMode="auto">
            <a:xfrm>
              <a:off x="8261713" y="1309865"/>
              <a:ext cx="62504" cy="39858"/>
            </a:xfrm>
            <a:custGeom>
              <a:avLst/>
              <a:gdLst>
                <a:gd name="T0" fmla="*/ 29 w 29"/>
                <a:gd name="T1" fmla="*/ 2 h 19"/>
                <a:gd name="T2" fmla="*/ 28 w 29"/>
                <a:gd name="T3" fmla="*/ 1 h 19"/>
                <a:gd name="T4" fmla="*/ 25 w 29"/>
                <a:gd name="T5" fmla="*/ 0 h 19"/>
                <a:gd name="T6" fmla="*/ 2 w 29"/>
                <a:gd name="T7" fmla="*/ 11 h 19"/>
                <a:gd name="T8" fmla="*/ 3 w 29"/>
                <a:gd name="T9" fmla="*/ 17 h 19"/>
                <a:gd name="T10" fmla="*/ 9 w 29"/>
                <a:gd name="T11" fmla="*/ 18 h 19"/>
                <a:gd name="T12" fmla="*/ 29 w 29"/>
                <a:gd name="T13" fmla="*/ 4 h 19"/>
                <a:gd name="T14" fmla="*/ 29 w 29"/>
                <a:gd name="T15" fmla="*/ 2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9">
                  <a:moveTo>
                    <a:pt x="29" y="2"/>
                  </a:moveTo>
                  <a:cubicBezTo>
                    <a:pt x="29" y="2"/>
                    <a:pt x="29" y="1"/>
                    <a:pt x="28" y="1"/>
                  </a:cubicBezTo>
                  <a:cubicBezTo>
                    <a:pt x="27" y="1"/>
                    <a:pt x="26" y="0"/>
                    <a:pt x="25" y="0"/>
                  </a:cubicBezTo>
                  <a:cubicBezTo>
                    <a:pt x="17" y="2"/>
                    <a:pt x="9" y="6"/>
                    <a:pt x="2" y="11"/>
                  </a:cubicBezTo>
                  <a:cubicBezTo>
                    <a:pt x="0" y="12"/>
                    <a:pt x="1" y="15"/>
                    <a:pt x="3" y="17"/>
                  </a:cubicBezTo>
                  <a:cubicBezTo>
                    <a:pt x="5" y="18"/>
                    <a:pt x="8" y="19"/>
                    <a:pt x="9" y="18"/>
                  </a:cubicBezTo>
                  <a:cubicBezTo>
                    <a:pt x="16" y="13"/>
                    <a:pt x="22" y="8"/>
                    <a:pt x="29" y="4"/>
                  </a:cubicBezTo>
                  <a:cubicBezTo>
                    <a:pt x="29" y="3"/>
                    <a:pt x="29" y="3"/>
                    <a:pt x="29"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0"/>
            <p:cNvSpPr>
              <a:spLocks/>
            </p:cNvSpPr>
            <p:nvPr/>
          </p:nvSpPr>
          <p:spPr bwMode="auto">
            <a:xfrm>
              <a:off x="9016293" y="3030090"/>
              <a:ext cx="1812" cy="1812"/>
            </a:xfrm>
            <a:custGeom>
              <a:avLst/>
              <a:gdLst>
                <a:gd name="T0" fmla="*/ 0 w 1"/>
                <a:gd name="T1" fmla="*/ 0 h 1"/>
                <a:gd name="T2" fmla="*/ 0 w 1"/>
                <a:gd name="T3" fmla="*/ 0 h 1"/>
                <a:gd name="T4" fmla="*/ 0 w 1"/>
                <a:gd name="T5" fmla="*/ 0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0"/>
                    <a:pt x="0" y="0"/>
                    <a:pt x="0" y="0"/>
                  </a:cubicBezTo>
                  <a:cubicBezTo>
                    <a:pt x="0" y="0"/>
                    <a:pt x="0" y="1"/>
                    <a:pt x="1" y="1"/>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51"/>
            <p:cNvSpPr>
              <a:spLocks/>
            </p:cNvSpPr>
            <p:nvPr/>
          </p:nvSpPr>
          <p:spPr bwMode="auto">
            <a:xfrm>
              <a:off x="9005423" y="3006538"/>
              <a:ext cx="48916" cy="38046"/>
            </a:xfrm>
            <a:custGeom>
              <a:avLst/>
              <a:gdLst>
                <a:gd name="T0" fmla="*/ 15 w 23"/>
                <a:gd name="T1" fmla="*/ 18 h 18"/>
                <a:gd name="T2" fmla="*/ 22 w 23"/>
                <a:gd name="T3" fmla="*/ 17 h 18"/>
                <a:gd name="T4" fmla="*/ 15 w 23"/>
                <a:gd name="T5" fmla="*/ 7 h 18"/>
                <a:gd name="T6" fmla="*/ 3 w 23"/>
                <a:gd name="T7" fmla="*/ 0 h 18"/>
                <a:gd name="T8" fmla="*/ 0 w 23"/>
                <a:gd name="T9" fmla="*/ 1 h 18"/>
                <a:gd name="T10" fmla="*/ 0 w 23"/>
                <a:gd name="T11" fmla="*/ 2 h 18"/>
                <a:gd name="T12" fmla="*/ 5 w 23"/>
                <a:gd name="T13" fmla="*/ 11 h 18"/>
                <a:gd name="T14" fmla="*/ 11 w 23"/>
                <a:gd name="T15" fmla="*/ 13 h 18"/>
                <a:gd name="T16" fmla="*/ 15 w 23"/>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8">
                  <a:moveTo>
                    <a:pt x="15" y="18"/>
                  </a:moveTo>
                  <a:cubicBezTo>
                    <a:pt x="17" y="17"/>
                    <a:pt x="19" y="17"/>
                    <a:pt x="22" y="17"/>
                  </a:cubicBezTo>
                  <a:cubicBezTo>
                    <a:pt x="22" y="8"/>
                    <a:pt x="23" y="10"/>
                    <a:pt x="15" y="7"/>
                  </a:cubicBezTo>
                  <a:cubicBezTo>
                    <a:pt x="11" y="5"/>
                    <a:pt x="6" y="4"/>
                    <a:pt x="3" y="0"/>
                  </a:cubicBezTo>
                  <a:cubicBezTo>
                    <a:pt x="3" y="0"/>
                    <a:pt x="1" y="0"/>
                    <a:pt x="0" y="1"/>
                  </a:cubicBezTo>
                  <a:cubicBezTo>
                    <a:pt x="0" y="1"/>
                    <a:pt x="0" y="2"/>
                    <a:pt x="0" y="2"/>
                  </a:cubicBezTo>
                  <a:cubicBezTo>
                    <a:pt x="2" y="5"/>
                    <a:pt x="3" y="8"/>
                    <a:pt x="5" y="11"/>
                  </a:cubicBezTo>
                  <a:cubicBezTo>
                    <a:pt x="7" y="12"/>
                    <a:pt x="9" y="12"/>
                    <a:pt x="11" y="13"/>
                  </a:cubicBezTo>
                  <a:cubicBezTo>
                    <a:pt x="13" y="14"/>
                    <a:pt x="15" y="15"/>
                    <a:pt x="15" y="1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Oval 52"/>
            <p:cNvSpPr>
              <a:spLocks noChangeArrowheads="1"/>
            </p:cNvSpPr>
            <p:nvPr/>
          </p:nvSpPr>
          <p:spPr bwMode="auto">
            <a:xfrm>
              <a:off x="9037128" y="3044584"/>
              <a:ext cx="906" cy="906"/>
            </a:xfrm>
            <a:prstGeom prst="ellipse">
              <a:avLst/>
            </a:pr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55"/>
            <p:cNvSpPr>
              <a:spLocks/>
            </p:cNvSpPr>
            <p:nvPr/>
          </p:nvSpPr>
          <p:spPr bwMode="auto">
            <a:xfrm>
              <a:off x="8716454" y="1261854"/>
              <a:ext cx="31705" cy="28082"/>
            </a:xfrm>
            <a:custGeom>
              <a:avLst/>
              <a:gdLst>
                <a:gd name="T0" fmla="*/ 1 w 15"/>
                <a:gd name="T1" fmla="*/ 7 h 13"/>
                <a:gd name="T2" fmla="*/ 10 w 15"/>
                <a:gd name="T3" fmla="*/ 13 h 13"/>
                <a:gd name="T4" fmla="*/ 15 w 15"/>
                <a:gd name="T5" fmla="*/ 8 h 13"/>
                <a:gd name="T6" fmla="*/ 6 w 15"/>
                <a:gd name="T7" fmla="*/ 0 h 13"/>
                <a:gd name="T8" fmla="*/ 1 w 15"/>
                <a:gd name="T9" fmla="*/ 7 h 13"/>
              </a:gdLst>
              <a:ahLst/>
              <a:cxnLst>
                <a:cxn ang="0">
                  <a:pos x="T0" y="T1"/>
                </a:cxn>
                <a:cxn ang="0">
                  <a:pos x="T2" y="T3"/>
                </a:cxn>
                <a:cxn ang="0">
                  <a:pos x="T4" y="T5"/>
                </a:cxn>
                <a:cxn ang="0">
                  <a:pos x="T6" y="T7"/>
                </a:cxn>
                <a:cxn ang="0">
                  <a:pos x="T8" y="T9"/>
                </a:cxn>
              </a:cxnLst>
              <a:rect l="0" t="0" r="r" b="b"/>
              <a:pathLst>
                <a:path w="15" h="13">
                  <a:moveTo>
                    <a:pt x="1" y="7"/>
                  </a:moveTo>
                  <a:cubicBezTo>
                    <a:pt x="3" y="10"/>
                    <a:pt x="6" y="13"/>
                    <a:pt x="10" y="13"/>
                  </a:cubicBezTo>
                  <a:cubicBezTo>
                    <a:pt x="13" y="13"/>
                    <a:pt x="15" y="11"/>
                    <a:pt x="15" y="8"/>
                  </a:cubicBezTo>
                  <a:cubicBezTo>
                    <a:pt x="14" y="4"/>
                    <a:pt x="11" y="0"/>
                    <a:pt x="6" y="0"/>
                  </a:cubicBezTo>
                  <a:cubicBezTo>
                    <a:pt x="3" y="0"/>
                    <a:pt x="0" y="4"/>
                    <a:pt x="1" y="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56"/>
            <p:cNvSpPr>
              <a:spLocks/>
            </p:cNvSpPr>
            <p:nvPr/>
          </p:nvSpPr>
          <p:spPr bwMode="auto">
            <a:xfrm>
              <a:off x="8482743" y="1176704"/>
              <a:ext cx="106891" cy="81527"/>
            </a:xfrm>
            <a:custGeom>
              <a:avLst/>
              <a:gdLst>
                <a:gd name="T0" fmla="*/ 8 w 50"/>
                <a:gd name="T1" fmla="*/ 15 h 38"/>
                <a:gd name="T2" fmla="*/ 7 w 50"/>
                <a:gd name="T3" fmla="*/ 15 h 38"/>
                <a:gd name="T4" fmla="*/ 8 w 50"/>
                <a:gd name="T5" fmla="*/ 15 h 38"/>
                <a:gd name="T6" fmla="*/ 6 w 50"/>
                <a:gd name="T7" fmla="*/ 21 h 38"/>
                <a:gd name="T8" fmla="*/ 7 w 50"/>
                <a:gd name="T9" fmla="*/ 28 h 38"/>
                <a:gd name="T10" fmla="*/ 12 w 50"/>
                <a:gd name="T11" fmla="*/ 35 h 38"/>
                <a:gd name="T12" fmla="*/ 17 w 50"/>
                <a:gd name="T13" fmla="*/ 37 h 38"/>
                <a:gd name="T14" fmla="*/ 24 w 50"/>
                <a:gd name="T15" fmla="*/ 38 h 38"/>
                <a:gd name="T16" fmla="*/ 34 w 50"/>
                <a:gd name="T17" fmla="*/ 34 h 38"/>
                <a:gd name="T18" fmla="*/ 38 w 50"/>
                <a:gd name="T19" fmla="*/ 26 h 38"/>
                <a:gd name="T20" fmla="*/ 43 w 50"/>
                <a:gd name="T21" fmla="*/ 21 h 38"/>
                <a:gd name="T22" fmla="*/ 49 w 50"/>
                <a:gd name="T23" fmla="*/ 18 h 38"/>
                <a:gd name="T24" fmla="*/ 50 w 50"/>
                <a:gd name="T25" fmla="*/ 15 h 38"/>
                <a:gd name="T26" fmla="*/ 47 w 50"/>
                <a:gd name="T27" fmla="*/ 13 h 38"/>
                <a:gd name="T28" fmla="*/ 27 w 50"/>
                <a:gd name="T29" fmla="*/ 9 h 38"/>
                <a:gd name="T30" fmla="*/ 11 w 50"/>
                <a:gd name="T31" fmla="*/ 12 h 38"/>
                <a:gd name="T32" fmla="*/ 11 w 50"/>
                <a:gd name="T33" fmla="*/ 12 h 38"/>
                <a:gd name="T34" fmla="*/ 11 w 50"/>
                <a:gd name="T35" fmla="*/ 12 h 38"/>
                <a:gd name="T36" fmla="*/ 11 w 50"/>
                <a:gd name="T37" fmla="*/ 12 h 38"/>
                <a:gd name="T38" fmla="*/ 9 w 50"/>
                <a:gd name="T39" fmla="*/ 14 h 38"/>
                <a:gd name="T40" fmla="*/ 11 w 50"/>
                <a:gd name="T41" fmla="*/ 12 h 38"/>
                <a:gd name="T42" fmla="*/ 10 w 50"/>
                <a:gd name="T43" fmla="*/ 3 h 38"/>
                <a:gd name="T44" fmla="*/ 5 w 50"/>
                <a:gd name="T45" fmla="*/ 1 h 38"/>
                <a:gd name="T46" fmla="*/ 1 w 50"/>
                <a:gd name="T47" fmla="*/ 5 h 38"/>
                <a:gd name="T48" fmla="*/ 1 w 50"/>
                <a:gd name="T49" fmla="*/ 12 h 38"/>
                <a:gd name="T50" fmla="*/ 8 w 50"/>
                <a:gd name="T51"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8">
                  <a:moveTo>
                    <a:pt x="8" y="15"/>
                  </a:moveTo>
                  <a:cubicBezTo>
                    <a:pt x="8" y="15"/>
                    <a:pt x="8" y="15"/>
                    <a:pt x="7" y="15"/>
                  </a:cubicBezTo>
                  <a:cubicBezTo>
                    <a:pt x="8" y="15"/>
                    <a:pt x="8" y="15"/>
                    <a:pt x="8" y="15"/>
                  </a:cubicBezTo>
                  <a:cubicBezTo>
                    <a:pt x="7" y="17"/>
                    <a:pt x="7" y="19"/>
                    <a:pt x="6" y="21"/>
                  </a:cubicBezTo>
                  <a:cubicBezTo>
                    <a:pt x="5" y="24"/>
                    <a:pt x="5" y="26"/>
                    <a:pt x="7" y="28"/>
                  </a:cubicBezTo>
                  <a:cubicBezTo>
                    <a:pt x="8" y="30"/>
                    <a:pt x="10" y="33"/>
                    <a:pt x="12" y="35"/>
                  </a:cubicBezTo>
                  <a:cubicBezTo>
                    <a:pt x="13" y="36"/>
                    <a:pt x="15" y="37"/>
                    <a:pt x="17" y="37"/>
                  </a:cubicBezTo>
                  <a:cubicBezTo>
                    <a:pt x="19" y="38"/>
                    <a:pt x="21" y="38"/>
                    <a:pt x="24" y="38"/>
                  </a:cubicBezTo>
                  <a:cubicBezTo>
                    <a:pt x="28" y="38"/>
                    <a:pt x="31" y="37"/>
                    <a:pt x="34" y="34"/>
                  </a:cubicBezTo>
                  <a:cubicBezTo>
                    <a:pt x="36" y="32"/>
                    <a:pt x="38" y="29"/>
                    <a:pt x="38" y="26"/>
                  </a:cubicBezTo>
                  <a:cubicBezTo>
                    <a:pt x="39" y="24"/>
                    <a:pt x="41" y="22"/>
                    <a:pt x="43" y="21"/>
                  </a:cubicBezTo>
                  <a:cubicBezTo>
                    <a:pt x="45" y="20"/>
                    <a:pt x="47" y="19"/>
                    <a:pt x="49" y="18"/>
                  </a:cubicBezTo>
                  <a:cubicBezTo>
                    <a:pt x="50" y="17"/>
                    <a:pt x="50" y="16"/>
                    <a:pt x="50" y="15"/>
                  </a:cubicBezTo>
                  <a:cubicBezTo>
                    <a:pt x="49" y="14"/>
                    <a:pt x="48" y="13"/>
                    <a:pt x="47" y="13"/>
                  </a:cubicBezTo>
                  <a:cubicBezTo>
                    <a:pt x="41" y="10"/>
                    <a:pt x="34" y="9"/>
                    <a:pt x="27" y="9"/>
                  </a:cubicBezTo>
                  <a:cubicBezTo>
                    <a:pt x="21" y="8"/>
                    <a:pt x="16" y="9"/>
                    <a:pt x="11" y="12"/>
                  </a:cubicBezTo>
                  <a:cubicBezTo>
                    <a:pt x="11" y="12"/>
                    <a:pt x="11" y="12"/>
                    <a:pt x="11" y="12"/>
                  </a:cubicBezTo>
                  <a:cubicBezTo>
                    <a:pt x="11" y="12"/>
                    <a:pt x="11" y="12"/>
                    <a:pt x="11" y="12"/>
                  </a:cubicBezTo>
                  <a:cubicBezTo>
                    <a:pt x="11" y="12"/>
                    <a:pt x="11" y="12"/>
                    <a:pt x="11" y="12"/>
                  </a:cubicBezTo>
                  <a:cubicBezTo>
                    <a:pt x="10" y="13"/>
                    <a:pt x="10" y="13"/>
                    <a:pt x="9" y="14"/>
                  </a:cubicBezTo>
                  <a:cubicBezTo>
                    <a:pt x="10" y="13"/>
                    <a:pt x="10" y="13"/>
                    <a:pt x="11" y="12"/>
                  </a:cubicBezTo>
                  <a:cubicBezTo>
                    <a:pt x="11" y="9"/>
                    <a:pt x="11" y="6"/>
                    <a:pt x="10" y="3"/>
                  </a:cubicBezTo>
                  <a:cubicBezTo>
                    <a:pt x="10" y="2"/>
                    <a:pt x="7" y="0"/>
                    <a:pt x="5" y="1"/>
                  </a:cubicBezTo>
                  <a:cubicBezTo>
                    <a:pt x="3" y="1"/>
                    <a:pt x="1" y="3"/>
                    <a:pt x="1" y="5"/>
                  </a:cubicBezTo>
                  <a:cubicBezTo>
                    <a:pt x="0" y="7"/>
                    <a:pt x="0" y="10"/>
                    <a:pt x="1" y="12"/>
                  </a:cubicBezTo>
                  <a:cubicBezTo>
                    <a:pt x="3" y="14"/>
                    <a:pt x="5" y="15"/>
                    <a:pt x="8" y="1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57"/>
            <p:cNvSpPr>
              <a:spLocks/>
            </p:cNvSpPr>
            <p:nvPr/>
          </p:nvSpPr>
          <p:spPr bwMode="auto">
            <a:xfrm>
              <a:off x="8605034" y="1564411"/>
              <a:ext cx="44387" cy="17211"/>
            </a:xfrm>
            <a:custGeom>
              <a:avLst/>
              <a:gdLst>
                <a:gd name="T0" fmla="*/ 14 w 21"/>
                <a:gd name="T1" fmla="*/ 7 h 8"/>
                <a:gd name="T2" fmla="*/ 20 w 21"/>
                <a:gd name="T3" fmla="*/ 5 h 8"/>
                <a:gd name="T4" fmla="*/ 21 w 21"/>
                <a:gd name="T5" fmla="*/ 2 h 8"/>
                <a:gd name="T6" fmla="*/ 20 w 21"/>
                <a:gd name="T7" fmla="*/ 1 h 8"/>
                <a:gd name="T8" fmla="*/ 7 w 21"/>
                <a:gd name="T9" fmla="*/ 1 h 8"/>
                <a:gd name="T10" fmla="*/ 0 w 21"/>
                <a:gd name="T11" fmla="*/ 6 h 8"/>
                <a:gd name="T12" fmla="*/ 14 w 2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21" h="8">
                  <a:moveTo>
                    <a:pt x="14" y="7"/>
                  </a:moveTo>
                  <a:cubicBezTo>
                    <a:pt x="16" y="7"/>
                    <a:pt x="18" y="6"/>
                    <a:pt x="20" y="5"/>
                  </a:cubicBezTo>
                  <a:cubicBezTo>
                    <a:pt x="21" y="4"/>
                    <a:pt x="21" y="3"/>
                    <a:pt x="21" y="2"/>
                  </a:cubicBezTo>
                  <a:cubicBezTo>
                    <a:pt x="21" y="2"/>
                    <a:pt x="20" y="1"/>
                    <a:pt x="20" y="1"/>
                  </a:cubicBezTo>
                  <a:cubicBezTo>
                    <a:pt x="15" y="0"/>
                    <a:pt x="11" y="1"/>
                    <a:pt x="7" y="1"/>
                  </a:cubicBezTo>
                  <a:cubicBezTo>
                    <a:pt x="3" y="1"/>
                    <a:pt x="1" y="3"/>
                    <a:pt x="0" y="6"/>
                  </a:cubicBezTo>
                  <a:cubicBezTo>
                    <a:pt x="5" y="8"/>
                    <a:pt x="10" y="8"/>
                    <a:pt x="14" y="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58"/>
            <p:cNvSpPr>
              <a:spLocks/>
            </p:cNvSpPr>
            <p:nvPr/>
          </p:nvSpPr>
          <p:spPr bwMode="auto">
            <a:xfrm>
              <a:off x="8545247" y="1440309"/>
              <a:ext cx="27176" cy="23552"/>
            </a:xfrm>
            <a:custGeom>
              <a:avLst/>
              <a:gdLst>
                <a:gd name="T0" fmla="*/ 4 w 13"/>
                <a:gd name="T1" fmla="*/ 11 h 11"/>
                <a:gd name="T2" fmla="*/ 11 w 13"/>
                <a:gd name="T3" fmla="*/ 8 h 11"/>
                <a:gd name="T4" fmla="*/ 11 w 13"/>
                <a:gd name="T5" fmla="*/ 1 h 11"/>
                <a:gd name="T6" fmla="*/ 9 w 13"/>
                <a:gd name="T7" fmla="*/ 0 h 11"/>
                <a:gd name="T8" fmla="*/ 1 w 13"/>
                <a:gd name="T9" fmla="*/ 7 h 11"/>
                <a:gd name="T10" fmla="*/ 4 w 13"/>
                <a:gd name="T11" fmla="*/ 11 h 11"/>
              </a:gdLst>
              <a:ahLst/>
              <a:cxnLst>
                <a:cxn ang="0">
                  <a:pos x="T0" y="T1"/>
                </a:cxn>
                <a:cxn ang="0">
                  <a:pos x="T2" y="T3"/>
                </a:cxn>
                <a:cxn ang="0">
                  <a:pos x="T4" y="T5"/>
                </a:cxn>
                <a:cxn ang="0">
                  <a:pos x="T6" y="T7"/>
                </a:cxn>
                <a:cxn ang="0">
                  <a:pos x="T8" y="T9"/>
                </a:cxn>
                <a:cxn ang="0">
                  <a:pos x="T10" y="T11"/>
                </a:cxn>
              </a:cxnLst>
              <a:rect l="0" t="0" r="r" b="b"/>
              <a:pathLst>
                <a:path w="13" h="11">
                  <a:moveTo>
                    <a:pt x="4" y="11"/>
                  </a:moveTo>
                  <a:cubicBezTo>
                    <a:pt x="7" y="11"/>
                    <a:pt x="10" y="10"/>
                    <a:pt x="11" y="8"/>
                  </a:cubicBezTo>
                  <a:cubicBezTo>
                    <a:pt x="13" y="6"/>
                    <a:pt x="13" y="3"/>
                    <a:pt x="11" y="1"/>
                  </a:cubicBezTo>
                  <a:cubicBezTo>
                    <a:pt x="11" y="0"/>
                    <a:pt x="10" y="0"/>
                    <a:pt x="9" y="0"/>
                  </a:cubicBezTo>
                  <a:cubicBezTo>
                    <a:pt x="5" y="1"/>
                    <a:pt x="2" y="4"/>
                    <a:pt x="1" y="7"/>
                  </a:cubicBezTo>
                  <a:cubicBezTo>
                    <a:pt x="0" y="8"/>
                    <a:pt x="3" y="11"/>
                    <a:pt x="4" y="1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59"/>
            <p:cNvSpPr>
              <a:spLocks/>
            </p:cNvSpPr>
            <p:nvPr/>
          </p:nvSpPr>
          <p:spPr bwMode="auto">
            <a:xfrm>
              <a:off x="6799658" y="2209382"/>
              <a:ext cx="31705" cy="23552"/>
            </a:xfrm>
            <a:custGeom>
              <a:avLst/>
              <a:gdLst>
                <a:gd name="T0" fmla="*/ 7 w 15"/>
                <a:gd name="T1" fmla="*/ 2 h 11"/>
                <a:gd name="T2" fmla="*/ 0 w 15"/>
                <a:gd name="T3" fmla="*/ 10 h 11"/>
                <a:gd name="T4" fmla="*/ 11 w 15"/>
                <a:gd name="T5" fmla="*/ 10 h 11"/>
                <a:gd name="T6" fmla="*/ 13 w 15"/>
                <a:gd name="T7" fmla="*/ 8 h 11"/>
                <a:gd name="T8" fmla="*/ 13 w 15"/>
                <a:gd name="T9" fmla="*/ 3 h 11"/>
                <a:gd name="T10" fmla="*/ 7 w 15"/>
                <a:gd name="T11" fmla="*/ 2 h 11"/>
              </a:gdLst>
              <a:ahLst/>
              <a:cxnLst>
                <a:cxn ang="0">
                  <a:pos x="T0" y="T1"/>
                </a:cxn>
                <a:cxn ang="0">
                  <a:pos x="T2" y="T3"/>
                </a:cxn>
                <a:cxn ang="0">
                  <a:pos x="T4" y="T5"/>
                </a:cxn>
                <a:cxn ang="0">
                  <a:pos x="T6" y="T7"/>
                </a:cxn>
                <a:cxn ang="0">
                  <a:pos x="T8" y="T9"/>
                </a:cxn>
                <a:cxn ang="0">
                  <a:pos x="T10" y="T11"/>
                </a:cxn>
              </a:cxnLst>
              <a:rect l="0" t="0" r="r" b="b"/>
              <a:pathLst>
                <a:path w="15" h="11">
                  <a:moveTo>
                    <a:pt x="7" y="2"/>
                  </a:moveTo>
                  <a:cubicBezTo>
                    <a:pt x="4" y="4"/>
                    <a:pt x="1" y="6"/>
                    <a:pt x="0" y="10"/>
                  </a:cubicBezTo>
                  <a:cubicBezTo>
                    <a:pt x="4" y="11"/>
                    <a:pt x="7" y="11"/>
                    <a:pt x="11" y="10"/>
                  </a:cubicBezTo>
                  <a:cubicBezTo>
                    <a:pt x="12" y="10"/>
                    <a:pt x="13" y="9"/>
                    <a:pt x="13" y="8"/>
                  </a:cubicBezTo>
                  <a:cubicBezTo>
                    <a:pt x="15" y="7"/>
                    <a:pt x="14" y="4"/>
                    <a:pt x="13" y="3"/>
                  </a:cubicBezTo>
                  <a:cubicBezTo>
                    <a:pt x="11" y="1"/>
                    <a:pt x="8" y="0"/>
                    <a:pt x="7"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60"/>
            <p:cNvSpPr>
              <a:spLocks/>
            </p:cNvSpPr>
            <p:nvPr/>
          </p:nvSpPr>
          <p:spPr bwMode="auto">
            <a:xfrm>
              <a:off x="6730813" y="2230217"/>
              <a:ext cx="81527" cy="67034"/>
            </a:xfrm>
            <a:custGeom>
              <a:avLst/>
              <a:gdLst>
                <a:gd name="T0" fmla="*/ 32 w 38"/>
                <a:gd name="T1" fmla="*/ 0 h 31"/>
                <a:gd name="T2" fmla="*/ 24 w 38"/>
                <a:gd name="T3" fmla="*/ 2 h 31"/>
                <a:gd name="T4" fmla="*/ 18 w 38"/>
                <a:gd name="T5" fmla="*/ 5 h 31"/>
                <a:gd name="T6" fmla="*/ 16 w 38"/>
                <a:gd name="T7" fmla="*/ 7 h 31"/>
                <a:gd name="T8" fmla="*/ 14 w 38"/>
                <a:gd name="T9" fmla="*/ 7 h 31"/>
                <a:gd name="T10" fmla="*/ 0 w 38"/>
                <a:gd name="T11" fmla="*/ 22 h 31"/>
                <a:gd name="T12" fmla="*/ 2 w 38"/>
                <a:gd name="T13" fmla="*/ 26 h 31"/>
                <a:gd name="T14" fmla="*/ 4 w 38"/>
                <a:gd name="T15" fmla="*/ 30 h 31"/>
                <a:gd name="T16" fmla="*/ 7 w 38"/>
                <a:gd name="T17" fmla="*/ 30 h 31"/>
                <a:gd name="T18" fmla="*/ 26 w 38"/>
                <a:gd name="T19" fmla="*/ 19 h 31"/>
                <a:gd name="T20" fmla="*/ 35 w 38"/>
                <a:gd name="T21" fmla="*/ 13 h 31"/>
                <a:gd name="T22" fmla="*/ 38 w 38"/>
                <a:gd name="T23" fmla="*/ 6 h 31"/>
                <a:gd name="T24" fmla="*/ 35 w 38"/>
                <a:gd name="T25" fmla="*/ 3 h 31"/>
                <a:gd name="T26" fmla="*/ 32 w 38"/>
                <a:gd name="T27" fmla="*/ 0 h 31"/>
                <a:gd name="T28" fmla="*/ 32 w 38"/>
                <a:gd name="T29" fmla="*/ 0 h 31"/>
                <a:gd name="T30" fmla="*/ 31 w 38"/>
                <a:gd name="T31" fmla="*/ 0 h 31"/>
                <a:gd name="T32" fmla="*/ 32 w 38"/>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31">
                  <a:moveTo>
                    <a:pt x="32" y="0"/>
                  </a:moveTo>
                  <a:cubicBezTo>
                    <a:pt x="30" y="1"/>
                    <a:pt x="27" y="3"/>
                    <a:pt x="24" y="2"/>
                  </a:cubicBezTo>
                  <a:cubicBezTo>
                    <a:pt x="21" y="2"/>
                    <a:pt x="19" y="2"/>
                    <a:pt x="18" y="5"/>
                  </a:cubicBezTo>
                  <a:cubicBezTo>
                    <a:pt x="17" y="6"/>
                    <a:pt x="16" y="7"/>
                    <a:pt x="16" y="7"/>
                  </a:cubicBezTo>
                  <a:cubicBezTo>
                    <a:pt x="15" y="7"/>
                    <a:pt x="14" y="7"/>
                    <a:pt x="14" y="7"/>
                  </a:cubicBezTo>
                  <a:cubicBezTo>
                    <a:pt x="3" y="9"/>
                    <a:pt x="0" y="11"/>
                    <a:pt x="0" y="22"/>
                  </a:cubicBezTo>
                  <a:cubicBezTo>
                    <a:pt x="0" y="24"/>
                    <a:pt x="1" y="25"/>
                    <a:pt x="2" y="26"/>
                  </a:cubicBezTo>
                  <a:cubicBezTo>
                    <a:pt x="3" y="27"/>
                    <a:pt x="3" y="29"/>
                    <a:pt x="4" y="30"/>
                  </a:cubicBezTo>
                  <a:cubicBezTo>
                    <a:pt x="5" y="30"/>
                    <a:pt x="7" y="31"/>
                    <a:pt x="7" y="30"/>
                  </a:cubicBezTo>
                  <a:cubicBezTo>
                    <a:pt x="13" y="25"/>
                    <a:pt x="19" y="21"/>
                    <a:pt x="26" y="19"/>
                  </a:cubicBezTo>
                  <a:cubicBezTo>
                    <a:pt x="30" y="18"/>
                    <a:pt x="32" y="14"/>
                    <a:pt x="35" y="13"/>
                  </a:cubicBezTo>
                  <a:cubicBezTo>
                    <a:pt x="38" y="12"/>
                    <a:pt x="38" y="9"/>
                    <a:pt x="38" y="6"/>
                  </a:cubicBezTo>
                  <a:cubicBezTo>
                    <a:pt x="38" y="4"/>
                    <a:pt x="36" y="4"/>
                    <a:pt x="35" y="3"/>
                  </a:cubicBezTo>
                  <a:cubicBezTo>
                    <a:pt x="34" y="2"/>
                    <a:pt x="33" y="1"/>
                    <a:pt x="32" y="0"/>
                  </a:cubicBezTo>
                  <a:cubicBezTo>
                    <a:pt x="32" y="0"/>
                    <a:pt x="32" y="0"/>
                    <a:pt x="32" y="0"/>
                  </a:cubicBezTo>
                  <a:cubicBezTo>
                    <a:pt x="32" y="0"/>
                    <a:pt x="32" y="0"/>
                    <a:pt x="31" y="0"/>
                  </a:cubicBezTo>
                  <a:lnTo>
                    <a:pt x="32" y="0"/>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2"/>
            <p:cNvSpPr>
              <a:spLocks/>
            </p:cNvSpPr>
            <p:nvPr/>
          </p:nvSpPr>
          <p:spPr bwMode="auto">
            <a:xfrm>
              <a:off x="8994553" y="2041798"/>
              <a:ext cx="23552" cy="19929"/>
            </a:xfrm>
            <a:custGeom>
              <a:avLst/>
              <a:gdLst>
                <a:gd name="T0" fmla="*/ 9 w 11"/>
                <a:gd name="T1" fmla="*/ 8 h 9"/>
                <a:gd name="T2" fmla="*/ 11 w 11"/>
                <a:gd name="T3" fmla="*/ 6 h 9"/>
                <a:gd name="T4" fmla="*/ 11 w 11"/>
                <a:gd name="T5" fmla="*/ 3 h 9"/>
                <a:gd name="T6" fmla="*/ 4 w 11"/>
                <a:gd name="T7" fmla="*/ 0 h 9"/>
                <a:gd name="T8" fmla="*/ 0 w 11"/>
                <a:gd name="T9" fmla="*/ 2 h 9"/>
                <a:gd name="T10" fmla="*/ 2 w 11"/>
                <a:gd name="T11" fmla="*/ 6 h 9"/>
                <a:gd name="T12" fmla="*/ 9 w 11"/>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9" y="8"/>
                  </a:moveTo>
                  <a:cubicBezTo>
                    <a:pt x="10" y="8"/>
                    <a:pt x="11" y="6"/>
                    <a:pt x="11" y="6"/>
                  </a:cubicBezTo>
                  <a:cubicBezTo>
                    <a:pt x="11" y="5"/>
                    <a:pt x="11" y="4"/>
                    <a:pt x="11" y="3"/>
                  </a:cubicBezTo>
                  <a:cubicBezTo>
                    <a:pt x="9" y="1"/>
                    <a:pt x="7" y="0"/>
                    <a:pt x="4" y="0"/>
                  </a:cubicBezTo>
                  <a:cubicBezTo>
                    <a:pt x="2" y="0"/>
                    <a:pt x="1" y="1"/>
                    <a:pt x="0" y="2"/>
                  </a:cubicBezTo>
                  <a:cubicBezTo>
                    <a:pt x="0" y="4"/>
                    <a:pt x="0" y="5"/>
                    <a:pt x="2" y="6"/>
                  </a:cubicBezTo>
                  <a:cubicBezTo>
                    <a:pt x="4" y="8"/>
                    <a:pt x="6" y="9"/>
                    <a:pt x="9" y="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66"/>
            <p:cNvSpPr>
              <a:spLocks/>
            </p:cNvSpPr>
            <p:nvPr/>
          </p:nvSpPr>
          <p:spPr bwMode="auto">
            <a:xfrm>
              <a:off x="9966539" y="1063471"/>
              <a:ext cx="21741" cy="19023"/>
            </a:xfrm>
            <a:custGeom>
              <a:avLst/>
              <a:gdLst>
                <a:gd name="T0" fmla="*/ 3 w 10"/>
                <a:gd name="T1" fmla="*/ 8 h 9"/>
                <a:gd name="T2" fmla="*/ 7 w 10"/>
                <a:gd name="T3" fmla="*/ 9 h 9"/>
                <a:gd name="T4" fmla="*/ 9 w 10"/>
                <a:gd name="T5" fmla="*/ 6 h 9"/>
                <a:gd name="T6" fmla="*/ 6 w 10"/>
                <a:gd name="T7" fmla="*/ 0 h 9"/>
                <a:gd name="T8" fmla="*/ 2 w 10"/>
                <a:gd name="T9" fmla="*/ 3 h 9"/>
                <a:gd name="T10" fmla="*/ 3 w 10"/>
                <a:gd name="T11" fmla="*/ 8 h 9"/>
              </a:gdLst>
              <a:ahLst/>
              <a:cxnLst>
                <a:cxn ang="0">
                  <a:pos x="T0" y="T1"/>
                </a:cxn>
                <a:cxn ang="0">
                  <a:pos x="T2" y="T3"/>
                </a:cxn>
                <a:cxn ang="0">
                  <a:pos x="T4" y="T5"/>
                </a:cxn>
                <a:cxn ang="0">
                  <a:pos x="T6" y="T7"/>
                </a:cxn>
                <a:cxn ang="0">
                  <a:pos x="T8" y="T9"/>
                </a:cxn>
                <a:cxn ang="0">
                  <a:pos x="T10" y="T11"/>
                </a:cxn>
              </a:cxnLst>
              <a:rect l="0" t="0" r="r" b="b"/>
              <a:pathLst>
                <a:path w="10" h="9">
                  <a:moveTo>
                    <a:pt x="3" y="8"/>
                  </a:moveTo>
                  <a:cubicBezTo>
                    <a:pt x="4" y="8"/>
                    <a:pt x="5" y="8"/>
                    <a:pt x="7" y="9"/>
                  </a:cubicBezTo>
                  <a:cubicBezTo>
                    <a:pt x="8" y="8"/>
                    <a:pt x="9" y="7"/>
                    <a:pt x="9" y="6"/>
                  </a:cubicBezTo>
                  <a:cubicBezTo>
                    <a:pt x="10" y="3"/>
                    <a:pt x="9" y="1"/>
                    <a:pt x="6" y="0"/>
                  </a:cubicBezTo>
                  <a:cubicBezTo>
                    <a:pt x="5" y="0"/>
                    <a:pt x="3" y="1"/>
                    <a:pt x="2" y="3"/>
                  </a:cubicBezTo>
                  <a:cubicBezTo>
                    <a:pt x="0" y="5"/>
                    <a:pt x="1" y="7"/>
                    <a:pt x="3" y="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68"/>
            <p:cNvSpPr>
              <a:spLocks/>
            </p:cNvSpPr>
            <p:nvPr/>
          </p:nvSpPr>
          <p:spPr bwMode="auto">
            <a:xfrm>
              <a:off x="8405745" y="1879650"/>
              <a:ext cx="21741" cy="20835"/>
            </a:xfrm>
            <a:custGeom>
              <a:avLst/>
              <a:gdLst>
                <a:gd name="T0" fmla="*/ 8 w 10"/>
                <a:gd name="T1" fmla="*/ 0 h 10"/>
                <a:gd name="T2" fmla="*/ 2 w 10"/>
                <a:gd name="T3" fmla="*/ 3 h 10"/>
                <a:gd name="T4" fmla="*/ 0 w 10"/>
                <a:gd name="T5" fmla="*/ 8 h 10"/>
                <a:gd name="T6" fmla="*/ 3 w 10"/>
                <a:gd name="T7" fmla="*/ 10 h 10"/>
                <a:gd name="T8" fmla="*/ 10 w 10"/>
                <a:gd name="T9" fmla="*/ 2 h 10"/>
                <a:gd name="T10" fmla="*/ 9 w 10"/>
                <a:gd name="T11" fmla="*/ 0 h 10"/>
                <a:gd name="T12" fmla="*/ 8 w 1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8" y="0"/>
                  </a:moveTo>
                  <a:cubicBezTo>
                    <a:pt x="6" y="1"/>
                    <a:pt x="4" y="2"/>
                    <a:pt x="2" y="3"/>
                  </a:cubicBezTo>
                  <a:cubicBezTo>
                    <a:pt x="0" y="4"/>
                    <a:pt x="0" y="6"/>
                    <a:pt x="0" y="8"/>
                  </a:cubicBezTo>
                  <a:cubicBezTo>
                    <a:pt x="1" y="9"/>
                    <a:pt x="2" y="10"/>
                    <a:pt x="3" y="10"/>
                  </a:cubicBezTo>
                  <a:cubicBezTo>
                    <a:pt x="6" y="8"/>
                    <a:pt x="9" y="5"/>
                    <a:pt x="10" y="2"/>
                  </a:cubicBezTo>
                  <a:cubicBezTo>
                    <a:pt x="9" y="1"/>
                    <a:pt x="9" y="1"/>
                    <a:pt x="9" y="0"/>
                  </a:cubicBezTo>
                  <a:cubicBezTo>
                    <a:pt x="9" y="0"/>
                    <a:pt x="8" y="0"/>
                    <a:pt x="8"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69"/>
            <p:cNvSpPr>
              <a:spLocks/>
            </p:cNvSpPr>
            <p:nvPr/>
          </p:nvSpPr>
          <p:spPr bwMode="auto">
            <a:xfrm>
              <a:off x="8682032" y="1356970"/>
              <a:ext cx="20835" cy="12682"/>
            </a:xfrm>
            <a:custGeom>
              <a:avLst/>
              <a:gdLst>
                <a:gd name="T0" fmla="*/ 10 w 10"/>
                <a:gd name="T1" fmla="*/ 1 h 6"/>
                <a:gd name="T2" fmla="*/ 9 w 10"/>
                <a:gd name="T3" fmla="*/ 0 h 6"/>
                <a:gd name="T4" fmla="*/ 0 w 10"/>
                <a:gd name="T5" fmla="*/ 2 h 6"/>
                <a:gd name="T6" fmla="*/ 0 w 10"/>
                <a:gd name="T7" fmla="*/ 4 h 6"/>
                <a:gd name="T8" fmla="*/ 4 w 10"/>
                <a:gd name="T9" fmla="*/ 6 h 6"/>
                <a:gd name="T10" fmla="*/ 10 w 10"/>
                <a:gd name="T11" fmla="*/ 3 h 6"/>
                <a:gd name="T12" fmla="*/ 10 w 10"/>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1"/>
                  </a:moveTo>
                  <a:cubicBezTo>
                    <a:pt x="10" y="1"/>
                    <a:pt x="9" y="1"/>
                    <a:pt x="9" y="0"/>
                  </a:cubicBezTo>
                  <a:cubicBezTo>
                    <a:pt x="6" y="0"/>
                    <a:pt x="3" y="0"/>
                    <a:pt x="0" y="2"/>
                  </a:cubicBezTo>
                  <a:cubicBezTo>
                    <a:pt x="0" y="2"/>
                    <a:pt x="0" y="4"/>
                    <a:pt x="0" y="4"/>
                  </a:cubicBezTo>
                  <a:cubicBezTo>
                    <a:pt x="1" y="5"/>
                    <a:pt x="3" y="6"/>
                    <a:pt x="4" y="6"/>
                  </a:cubicBezTo>
                  <a:cubicBezTo>
                    <a:pt x="6" y="5"/>
                    <a:pt x="8" y="4"/>
                    <a:pt x="10" y="3"/>
                  </a:cubicBezTo>
                  <a:cubicBezTo>
                    <a:pt x="10" y="2"/>
                    <a:pt x="10" y="2"/>
                    <a:pt x="1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70"/>
            <p:cNvSpPr>
              <a:spLocks/>
            </p:cNvSpPr>
            <p:nvPr/>
          </p:nvSpPr>
          <p:spPr bwMode="auto">
            <a:xfrm>
              <a:off x="8688373" y="1369652"/>
              <a:ext cx="1812" cy="1812"/>
            </a:xfrm>
            <a:custGeom>
              <a:avLst/>
              <a:gdLst>
                <a:gd name="T0" fmla="*/ 1 w 1"/>
                <a:gd name="T1" fmla="*/ 0 h 1"/>
                <a:gd name="T2" fmla="*/ 0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0" y="1"/>
                  </a:cubicBezTo>
                  <a:cubicBezTo>
                    <a:pt x="0" y="1"/>
                    <a:pt x="1" y="1"/>
                    <a:pt x="1" y="1"/>
                  </a:cubicBezTo>
                  <a:cubicBezTo>
                    <a:pt x="1" y="1"/>
                    <a:pt x="1" y="1"/>
                    <a:pt x="1" y="0"/>
                  </a:cubicBezTo>
                  <a:cubicBezTo>
                    <a:pt x="1"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71"/>
            <p:cNvSpPr>
              <a:spLocks/>
            </p:cNvSpPr>
            <p:nvPr/>
          </p:nvSpPr>
          <p:spPr bwMode="auto">
            <a:xfrm>
              <a:off x="8726419" y="2118796"/>
              <a:ext cx="15400" cy="21741"/>
            </a:xfrm>
            <a:custGeom>
              <a:avLst/>
              <a:gdLst>
                <a:gd name="T0" fmla="*/ 2 w 7"/>
                <a:gd name="T1" fmla="*/ 0 h 10"/>
                <a:gd name="T2" fmla="*/ 0 w 7"/>
                <a:gd name="T3" fmla="*/ 2 h 10"/>
                <a:gd name="T4" fmla="*/ 0 w 7"/>
                <a:gd name="T5" fmla="*/ 5 h 10"/>
                <a:gd name="T6" fmla="*/ 4 w 7"/>
                <a:gd name="T7" fmla="*/ 9 h 10"/>
                <a:gd name="T8" fmla="*/ 6 w 7"/>
                <a:gd name="T9" fmla="*/ 10 h 10"/>
                <a:gd name="T10" fmla="*/ 7 w 7"/>
                <a:gd name="T11" fmla="*/ 8 h 10"/>
                <a:gd name="T12" fmla="*/ 2 w 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2" y="0"/>
                  </a:moveTo>
                  <a:cubicBezTo>
                    <a:pt x="1" y="1"/>
                    <a:pt x="0" y="1"/>
                    <a:pt x="0" y="2"/>
                  </a:cubicBezTo>
                  <a:cubicBezTo>
                    <a:pt x="0" y="3"/>
                    <a:pt x="0" y="4"/>
                    <a:pt x="0" y="5"/>
                  </a:cubicBezTo>
                  <a:cubicBezTo>
                    <a:pt x="1" y="7"/>
                    <a:pt x="3" y="8"/>
                    <a:pt x="4" y="9"/>
                  </a:cubicBezTo>
                  <a:cubicBezTo>
                    <a:pt x="5" y="10"/>
                    <a:pt x="5" y="10"/>
                    <a:pt x="6" y="10"/>
                  </a:cubicBezTo>
                  <a:cubicBezTo>
                    <a:pt x="7" y="9"/>
                    <a:pt x="7" y="9"/>
                    <a:pt x="7" y="8"/>
                  </a:cubicBezTo>
                  <a:cubicBezTo>
                    <a:pt x="6" y="5"/>
                    <a:pt x="5" y="2"/>
                    <a:pt x="2"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72"/>
            <p:cNvSpPr>
              <a:spLocks/>
            </p:cNvSpPr>
            <p:nvPr/>
          </p:nvSpPr>
          <p:spPr bwMode="auto">
            <a:xfrm>
              <a:off x="8711925" y="1470202"/>
              <a:ext cx="0" cy="1812"/>
            </a:xfrm>
            <a:custGeom>
              <a:avLst/>
              <a:gdLst>
                <a:gd name="T0" fmla="*/ 1 h 1"/>
                <a:gd name="T1" fmla="*/ 0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0"/>
                  </a:cubicBezTo>
                  <a:cubicBezTo>
                    <a:pt x="0" y="0"/>
                    <a:pt x="0" y="0"/>
                    <a:pt x="0" y="0"/>
                  </a:cubicBezTo>
                  <a:cubicBezTo>
                    <a:pt x="0" y="1"/>
                    <a:pt x="0" y="1"/>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73"/>
            <p:cNvSpPr>
              <a:spLocks/>
            </p:cNvSpPr>
            <p:nvPr/>
          </p:nvSpPr>
          <p:spPr bwMode="auto">
            <a:xfrm>
              <a:off x="8960130" y="1964800"/>
              <a:ext cx="12682" cy="12682"/>
            </a:xfrm>
            <a:custGeom>
              <a:avLst/>
              <a:gdLst>
                <a:gd name="T0" fmla="*/ 6 w 6"/>
                <a:gd name="T1" fmla="*/ 1 h 6"/>
                <a:gd name="T2" fmla="*/ 4 w 6"/>
                <a:gd name="T3" fmla="*/ 0 h 6"/>
                <a:gd name="T4" fmla="*/ 0 w 6"/>
                <a:gd name="T5" fmla="*/ 2 h 6"/>
                <a:gd name="T6" fmla="*/ 2 w 6"/>
                <a:gd name="T7" fmla="*/ 6 h 6"/>
                <a:gd name="T8" fmla="*/ 5 w 6"/>
                <a:gd name="T9" fmla="*/ 5 h 6"/>
                <a:gd name="T10" fmla="*/ 6 w 6"/>
                <a:gd name="T11" fmla="*/ 1 h 6"/>
              </a:gdLst>
              <a:ahLst/>
              <a:cxnLst>
                <a:cxn ang="0">
                  <a:pos x="T0" y="T1"/>
                </a:cxn>
                <a:cxn ang="0">
                  <a:pos x="T2" y="T3"/>
                </a:cxn>
                <a:cxn ang="0">
                  <a:pos x="T4" y="T5"/>
                </a:cxn>
                <a:cxn ang="0">
                  <a:pos x="T6" y="T7"/>
                </a:cxn>
                <a:cxn ang="0">
                  <a:pos x="T8" y="T9"/>
                </a:cxn>
                <a:cxn ang="0">
                  <a:pos x="T10" y="T11"/>
                </a:cxn>
              </a:cxnLst>
              <a:rect l="0" t="0" r="r" b="b"/>
              <a:pathLst>
                <a:path w="6" h="6">
                  <a:moveTo>
                    <a:pt x="6" y="1"/>
                  </a:moveTo>
                  <a:cubicBezTo>
                    <a:pt x="6" y="0"/>
                    <a:pt x="4" y="0"/>
                    <a:pt x="4" y="0"/>
                  </a:cubicBezTo>
                  <a:cubicBezTo>
                    <a:pt x="2" y="0"/>
                    <a:pt x="0" y="1"/>
                    <a:pt x="0" y="2"/>
                  </a:cubicBezTo>
                  <a:cubicBezTo>
                    <a:pt x="0" y="3"/>
                    <a:pt x="1" y="5"/>
                    <a:pt x="2" y="6"/>
                  </a:cubicBezTo>
                  <a:cubicBezTo>
                    <a:pt x="3" y="5"/>
                    <a:pt x="5" y="5"/>
                    <a:pt x="5" y="5"/>
                  </a:cubicBezTo>
                  <a:cubicBezTo>
                    <a:pt x="6" y="3"/>
                    <a:pt x="6" y="2"/>
                    <a:pt x="6"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75"/>
            <p:cNvSpPr>
              <a:spLocks/>
            </p:cNvSpPr>
            <p:nvPr/>
          </p:nvSpPr>
          <p:spPr bwMode="auto">
            <a:xfrm>
              <a:off x="9911281" y="1110576"/>
              <a:ext cx="12682" cy="12682"/>
            </a:xfrm>
            <a:custGeom>
              <a:avLst/>
              <a:gdLst>
                <a:gd name="T0" fmla="*/ 4 w 6"/>
                <a:gd name="T1" fmla="*/ 6 h 6"/>
                <a:gd name="T2" fmla="*/ 5 w 6"/>
                <a:gd name="T3" fmla="*/ 5 h 6"/>
                <a:gd name="T4" fmla="*/ 2 w 6"/>
                <a:gd name="T5" fmla="*/ 0 h 6"/>
                <a:gd name="T6" fmla="*/ 1 w 6"/>
                <a:gd name="T7" fmla="*/ 1 h 6"/>
                <a:gd name="T8" fmla="*/ 1 w 6"/>
                <a:gd name="T9" fmla="*/ 5 h 6"/>
                <a:gd name="T10" fmla="*/ 4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4" y="6"/>
                  </a:moveTo>
                  <a:cubicBezTo>
                    <a:pt x="4" y="6"/>
                    <a:pt x="5" y="5"/>
                    <a:pt x="5" y="5"/>
                  </a:cubicBezTo>
                  <a:cubicBezTo>
                    <a:pt x="6" y="3"/>
                    <a:pt x="4" y="1"/>
                    <a:pt x="2" y="0"/>
                  </a:cubicBezTo>
                  <a:cubicBezTo>
                    <a:pt x="2" y="0"/>
                    <a:pt x="1" y="1"/>
                    <a:pt x="1" y="1"/>
                  </a:cubicBezTo>
                  <a:cubicBezTo>
                    <a:pt x="0" y="2"/>
                    <a:pt x="0" y="3"/>
                    <a:pt x="1" y="5"/>
                  </a:cubicBezTo>
                  <a:cubicBezTo>
                    <a:pt x="2" y="5"/>
                    <a:pt x="3" y="6"/>
                    <a:pt x="4"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76"/>
            <p:cNvSpPr>
              <a:spLocks/>
            </p:cNvSpPr>
            <p:nvPr/>
          </p:nvSpPr>
          <p:spPr bwMode="auto">
            <a:xfrm>
              <a:off x="8748159" y="1879650"/>
              <a:ext cx="19023" cy="9964"/>
            </a:xfrm>
            <a:custGeom>
              <a:avLst/>
              <a:gdLst>
                <a:gd name="T0" fmla="*/ 1 w 9"/>
                <a:gd name="T1" fmla="*/ 1 h 5"/>
                <a:gd name="T2" fmla="*/ 3 w 9"/>
                <a:gd name="T3" fmla="*/ 4 h 5"/>
                <a:gd name="T4" fmla="*/ 9 w 9"/>
                <a:gd name="T5" fmla="*/ 1 h 5"/>
                <a:gd name="T6" fmla="*/ 3 w 9"/>
                <a:gd name="T7" fmla="*/ 0 h 5"/>
                <a:gd name="T8" fmla="*/ 1 w 9"/>
                <a:gd name="T9" fmla="*/ 1 h 5"/>
              </a:gdLst>
              <a:ahLst/>
              <a:cxnLst>
                <a:cxn ang="0">
                  <a:pos x="T0" y="T1"/>
                </a:cxn>
                <a:cxn ang="0">
                  <a:pos x="T2" y="T3"/>
                </a:cxn>
                <a:cxn ang="0">
                  <a:pos x="T4" y="T5"/>
                </a:cxn>
                <a:cxn ang="0">
                  <a:pos x="T6" y="T7"/>
                </a:cxn>
                <a:cxn ang="0">
                  <a:pos x="T8" y="T9"/>
                </a:cxn>
              </a:cxnLst>
              <a:rect l="0" t="0" r="r" b="b"/>
              <a:pathLst>
                <a:path w="9" h="5">
                  <a:moveTo>
                    <a:pt x="1" y="1"/>
                  </a:moveTo>
                  <a:cubicBezTo>
                    <a:pt x="0" y="2"/>
                    <a:pt x="1" y="4"/>
                    <a:pt x="3" y="4"/>
                  </a:cubicBezTo>
                  <a:cubicBezTo>
                    <a:pt x="6" y="5"/>
                    <a:pt x="8" y="4"/>
                    <a:pt x="9" y="1"/>
                  </a:cubicBezTo>
                  <a:cubicBezTo>
                    <a:pt x="7" y="1"/>
                    <a:pt x="5" y="0"/>
                    <a:pt x="3" y="0"/>
                  </a:cubicBezTo>
                  <a:cubicBezTo>
                    <a:pt x="3" y="0"/>
                    <a:pt x="1" y="0"/>
                    <a:pt x="1"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77"/>
            <p:cNvSpPr>
              <a:spLocks/>
            </p:cNvSpPr>
            <p:nvPr/>
          </p:nvSpPr>
          <p:spPr bwMode="auto">
            <a:xfrm>
              <a:off x="8767182" y="1881462"/>
              <a:ext cx="2718"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1" y="0"/>
                    <a:pt x="1" y="0"/>
                  </a:cubicBezTo>
                  <a:cubicBezTo>
                    <a:pt x="1" y="0"/>
                    <a:pt x="1" y="0"/>
                    <a:pt x="1" y="0"/>
                  </a:cubicBezTo>
                  <a:cubicBezTo>
                    <a:pt x="1" y="0"/>
                    <a:pt x="0" y="0"/>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78"/>
            <p:cNvSpPr>
              <a:spLocks/>
            </p:cNvSpPr>
            <p:nvPr/>
          </p:nvSpPr>
          <p:spPr bwMode="auto">
            <a:xfrm>
              <a:off x="9294392" y="1448461"/>
              <a:ext cx="12682" cy="10870"/>
            </a:xfrm>
            <a:custGeom>
              <a:avLst/>
              <a:gdLst>
                <a:gd name="T0" fmla="*/ 6 w 6"/>
                <a:gd name="T1" fmla="*/ 2 h 5"/>
                <a:gd name="T2" fmla="*/ 2 w 6"/>
                <a:gd name="T3" fmla="*/ 1 h 5"/>
                <a:gd name="T4" fmla="*/ 0 w 6"/>
                <a:gd name="T5" fmla="*/ 2 h 5"/>
                <a:gd name="T6" fmla="*/ 0 w 6"/>
                <a:gd name="T7" fmla="*/ 3 h 5"/>
                <a:gd name="T8" fmla="*/ 4 w 6"/>
                <a:gd name="T9" fmla="*/ 5 h 5"/>
                <a:gd name="T10" fmla="*/ 6 w 6"/>
                <a:gd name="T11" fmla="*/ 4 h 5"/>
                <a:gd name="T12" fmla="*/ 6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6" y="2"/>
                  </a:moveTo>
                  <a:cubicBezTo>
                    <a:pt x="5" y="1"/>
                    <a:pt x="3" y="0"/>
                    <a:pt x="2" y="1"/>
                  </a:cubicBezTo>
                  <a:cubicBezTo>
                    <a:pt x="1" y="1"/>
                    <a:pt x="1" y="1"/>
                    <a:pt x="0" y="2"/>
                  </a:cubicBezTo>
                  <a:cubicBezTo>
                    <a:pt x="0" y="2"/>
                    <a:pt x="0" y="3"/>
                    <a:pt x="0" y="3"/>
                  </a:cubicBezTo>
                  <a:cubicBezTo>
                    <a:pt x="1" y="5"/>
                    <a:pt x="2" y="5"/>
                    <a:pt x="4" y="5"/>
                  </a:cubicBezTo>
                  <a:cubicBezTo>
                    <a:pt x="5" y="5"/>
                    <a:pt x="6" y="4"/>
                    <a:pt x="6" y="4"/>
                  </a:cubicBezTo>
                  <a:cubicBezTo>
                    <a:pt x="6" y="3"/>
                    <a:pt x="6" y="2"/>
                    <a:pt x="6"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80"/>
            <p:cNvSpPr>
              <a:spLocks/>
            </p:cNvSpPr>
            <p:nvPr/>
          </p:nvSpPr>
          <p:spPr bwMode="auto">
            <a:xfrm>
              <a:off x="9107785" y="1523647"/>
              <a:ext cx="0" cy="1812"/>
            </a:xfrm>
            <a:custGeom>
              <a:avLst/>
              <a:gdLst>
                <a:gd name="T0" fmla="*/ 1 h 1"/>
                <a:gd name="T1" fmla="*/ 1 h 1"/>
                <a:gd name="T2" fmla="*/ 0 h 1"/>
                <a:gd name="T3" fmla="*/ 0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1"/>
                  </a:cubicBezTo>
                  <a:cubicBezTo>
                    <a:pt x="0" y="1"/>
                    <a:pt x="0" y="1"/>
                    <a:pt x="0" y="0"/>
                  </a:cubicBezTo>
                  <a:cubicBezTo>
                    <a:pt x="0" y="0"/>
                    <a:pt x="0" y="0"/>
                    <a:pt x="0" y="0"/>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81"/>
            <p:cNvSpPr>
              <a:spLocks/>
            </p:cNvSpPr>
            <p:nvPr/>
          </p:nvSpPr>
          <p:spPr bwMode="auto">
            <a:xfrm>
              <a:off x="9096915" y="1523647"/>
              <a:ext cx="10870" cy="12682"/>
            </a:xfrm>
            <a:custGeom>
              <a:avLst/>
              <a:gdLst>
                <a:gd name="T0" fmla="*/ 1 w 5"/>
                <a:gd name="T1" fmla="*/ 6 h 6"/>
                <a:gd name="T2" fmla="*/ 4 w 5"/>
                <a:gd name="T3" fmla="*/ 5 h 6"/>
                <a:gd name="T4" fmla="*/ 5 w 5"/>
                <a:gd name="T5" fmla="*/ 1 h 6"/>
                <a:gd name="T6" fmla="*/ 1 w 5"/>
                <a:gd name="T7" fmla="*/ 2 h 6"/>
                <a:gd name="T8" fmla="*/ 1 w 5"/>
                <a:gd name="T9" fmla="*/ 6 h 6"/>
              </a:gdLst>
              <a:ahLst/>
              <a:cxnLst>
                <a:cxn ang="0">
                  <a:pos x="T0" y="T1"/>
                </a:cxn>
                <a:cxn ang="0">
                  <a:pos x="T2" y="T3"/>
                </a:cxn>
                <a:cxn ang="0">
                  <a:pos x="T4" y="T5"/>
                </a:cxn>
                <a:cxn ang="0">
                  <a:pos x="T6" y="T7"/>
                </a:cxn>
                <a:cxn ang="0">
                  <a:pos x="T8" y="T9"/>
                </a:cxn>
              </a:cxnLst>
              <a:rect l="0" t="0" r="r" b="b"/>
              <a:pathLst>
                <a:path w="5" h="6">
                  <a:moveTo>
                    <a:pt x="1" y="6"/>
                  </a:moveTo>
                  <a:cubicBezTo>
                    <a:pt x="2" y="6"/>
                    <a:pt x="4" y="5"/>
                    <a:pt x="4" y="5"/>
                  </a:cubicBezTo>
                  <a:cubicBezTo>
                    <a:pt x="5" y="4"/>
                    <a:pt x="5" y="2"/>
                    <a:pt x="5" y="1"/>
                  </a:cubicBezTo>
                  <a:cubicBezTo>
                    <a:pt x="3" y="0"/>
                    <a:pt x="2" y="1"/>
                    <a:pt x="1" y="2"/>
                  </a:cubicBezTo>
                  <a:cubicBezTo>
                    <a:pt x="0" y="3"/>
                    <a:pt x="0" y="6"/>
                    <a:pt x="1"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82"/>
            <p:cNvSpPr>
              <a:spLocks/>
            </p:cNvSpPr>
            <p:nvPr/>
          </p:nvSpPr>
          <p:spPr bwMode="auto">
            <a:xfrm>
              <a:off x="9566149" y="2010093"/>
              <a:ext cx="9059" cy="12682"/>
            </a:xfrm>
            <a:custGeom>
              <a:avLst/>
              <a:gdLst>
                <a:gd name="T0" fmla="*/ 4 w 4"/>
                <a:gd name="T1" fmla="*/ 2 h 6"/>
                <a:gd name="T2" fmla="*/ 1 w 4"/>
                <a:gd name="T3" fmla="*/ 0 h 6"/>
                <a:gd name="T4" fmla="*/ 0 w 4"/>
                <a:gd name="T5" fmla="*/ 1 h 6"/>
                <a:gd name="T6" fmla="*/ 0 w 4"/>
                <a:gd name="T7" fmla="*/ 4 h 6"/>
                <a:gd name="T8" fmla="*/ 4 w 4"/>
                <a:gd name="T9" fmla="*/ 6 h 6"/>
                <a:gd name="T10" fmla="*/ 4 w 4"/>
                <a:gd name="T11" fmla="*/ 3 h 6"/>
                <a:gd name="T12" fmla="*/ 4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2"/>
                  </a:moveTo>
                  <a:cubicBezTo>
                    <a:pt x="3" y="0"/>
                    <a:pt x="3" y="0"/>
                    <a:pt x="1" y="0"/>
                  </a:cubicBezTo>
                  <a:cubicBezTo>
                    <a:pt x="1" y="1"/>
                    <a:pt x="0" y="1"/>
                    <a:pt x="0" y="1"/>
                  </a:cubicBezTo>
                  <a:cubicBezTo>
                    <a:pt x="0" y="2"/>
                    <a:pt x="0" y="4"/>
                    <a:pt x="0" y="4"/>
                  </a:cubicBezTo>
                  <a:cubicBezTo>
                    <a:pt x="2" y="5"/>
                    <a:pt x="3" y="5"/>
                    <a:pt x="4" y="6"/>
                  </a:cubicBezTo>
                  <a:cubicBezTo>
                    <a:pt x="4" y="5"/>
                    <a:pt x="4" y="4"/>
                    <a:pt x="4" y="3"/>
                  </a:cubicBezTo>
                  <a:cubicBezTo>
                    <a:pt x="4" y="3"/>
                    <a:pt x="4" y="2"/>
                    <a:pt x="4"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85"/>
            <p:cNvSpPr>
              <a:spLocks/>
            </p:cNvSpPr>
            <p:nvPr/>
          </p:nvSpPr>
          <p:spPr bwMode="auto">
            <a:xfrm>
              <a:off x="9934834" y="1069812"/>
              <a:ext cx="10870" cy="8153"/>
            </a:xfrm>
            <a:custGeom>
              <a:avLst/>
              <a:gdLst>
                <a:gd name="T0" fmla="*/ 3 w 5"/>
                <a:gd name="T1" fmla="*/ 4 h 4"/>
                <a:gd name="T2" fmla="*/ 5 w 5"/>
                <a:gd name="T3" fmla="*/ 2 h 4"/>
                <a:gd name="T4" fmla="*/ 3 w 5"/>
                <a:gd name="T5" fmla="*/ 0 h 4"/>
                <a:gd name="T6" fmla="*/ 1 w 5"/>
                <a:gd name="T7" fmla="*/ 0 h 4"/>
                <a:gd name="T8" fmla="*/ 1 w 5"/>
                <a:gd name="T9" fmla="*/ 3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cubicBezTo>
                    <a:pt x="4" y="4"/>
                    <a:pt x="5" y="3"/>
                    <a:pt x="5" y="2"/>
                  </a:cubicBezTo>
                  <a:cubicBezTo>
                    <a:pt x="4" y="1"/>
                    <a:pt x="3" y="1"/>
                    <a:pt x="3" y="0"/>
                  </a:cubicBezTo>
                  <a:cubicBezTo>
                    <a:pt x="2" y="0"/>
                    <a:pt x="1" y="0"/>
                    <a:pt x="1" y="0"/>
                  </a:cubicBezTo>
                  <a:cubicBezTo>
                    <a:pt x="0" y="1"/>
                    <a:pt x="0" y="2"/>
                    <a:pt x="1" y="3"/>
                  </a:cubicBezTo>
                  <a:cubicBezTo>
                    <a:pt x="1" y="3"/>
                    <a:pt x="2" y="4"/>
                    <a:pt x="3" y="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87"/>
            <p:cNvSpPr>
              <a:spLocks/>
            </p:cNvSpPr>
            <p:nvPr/>
          </p:nvSpPr>
          <p:spPr bwMode="auto">
            <a:xfrm>
              <a:off x="8354111" y="1896861"/>
              <a:ext cx="9059" cy="6341"/>
            </a:xfrm>
            <a:custGeom>
              <a:avLst/>
              <a:gdLst>
                <a:gd name="T0" fmla="*/ 1 w 4"/>
                <a:gd name="T1" fmla="*/ 2 h 3"/>
                <a:gd name="T2" fmla="*/ 2 w 4"/>
                <a:gd name="T3" fmla="*/ 3 h 3"/>
                <a:gd name="T4" fmla="*/ 4 w 4"/>
                <a:gd name="T5" fmla="*/ 1 h 3"/>
                <a:gd name="T6" fmla="*/ 2 w 4"/>
                <a:gd name="T7" fmla="*/ 0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1" y="2"/>
                    <a:pt x="1" y="3"/>
                    <a:pt x="2" y="3"/>
                  </a:cubicBezTo>
                  <a:cubicBezTo>
                    <a:pt x="3" y="3"/>
                    <a:pt x="4" y="3"/>
                    <a:pt x="4" y="1"/>
                  </a:cubicBezTo>
                  <a:cubicBezTo>
                    <a:pt x="4" y="0"/>
                    <a:pt x="3" y="0"/>
                    <a:pt x="2" y="0"/>
                  </a:cubicBezTo>
                  <a:cubicBezTo>
                    <a:pt x="1" y="0"/>
                    <a:pt x="0" y="1"/>
                    <a:pt x="1"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88"/>
            <p:cNvSpPr>
              <a:spLocks/>
            </p:cNvSpPr>
            <p:nvPr/>
          </p:nvSpPr>
          <p:spPr bwMode="auto">
            <a:xfrm>
              <a:off x="9529915" y="1924037"/>
              <a:ext cx="8153" cy="9059"/>
            </a:xfrm>
            <a:custGeom>
              <a:avLst/>
              <a:gdLst>
                <a:gd name="T0" fmla="*/ 4 w 4"/>
                <a:gd name="T1" fmla="*/ 3 h 4"/>
                <a:gd name="T2" fmla="*/ 3 w 4"/>
                <a:gd name="T3" fmla="*/ 0 h 4"/>
                <a:gd name="T4" fmla="*/ 1 w 4"/>
                <a:gd name="T5" fmla="*/ 1 h 4"/>
                <a:gd name="T6" fmla="*/ 2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4" y="2"/>
                    <a:pt x="4" y="1"/>
                    <a:pt x="3" y="0"/>
                  </a:cubicBezTo>
                  <a:cubicBezTo>
                    <a:pt x="3" y="0"/>
                    <a:pt x="2" y="1"/>
                    <a:pt x="1" y="1"/>
                  </a:cubicBezTo>
                  <a:cubicBezTo>
                    <a:pt x="0" y="2"/>
                    <a:pt x="1" y="3"/>
                    <a:pt x="2" y="4"/>
                  </a:cubicBezTo>
                  <a:cubicBezTo>
                    <a:pt x="3" y="4"/>
                    <a:pt x="4" y="4"/>
                    <a:pt x="4"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89"/>
            <p:cNvSpPr>
              <a:spLocks/>
            </p:cNvSpPr>
            <p:nvPr/>
          </p:nvSpPr>
          <p:spPr bwMode="auto">
            <a:xfrm>
              <a:off x="8363169" y="3826339"/>
              <a:ext cx="8153" cy="10870"/>
            </a:xfrm>
            <a:custGeom>
              <a:avLst/>
              <a:gdLst>
                <a:gd name="T0" fmla="*/ 0 w 4"/>
                <a:gd name="T1" fmla="*/ 2 h 5"/>
                <a:gd name="T2" fmla="*/ 1 w 4"/>
                <a:gd name="T3" fmla="*/ 5 h 5"/>
                <a:gd name="T4" fmla="*/ 4 w 4"/>
                <a:gd name="T5" fmla="*/ 4 h 5"/>
                <a:gd name="T6" fmla="*/ 3 w 4"/>
                <a:gd name="T7" fmla="*/ 1 h 5"/>
                <a:gd name="T8" fmla="*/ 0 w 4"/>
                <a:gd name="T9" fmla="*/ 2 h 5"/>
              </a:gdLst>
              <a:ahLst/>
              <a:cxnLst>
                <a:cxn ang="0">
                  <a:pos x="T0" y="T1"/>
                </a:cxn>
                <a:cxn ang="0">
                  <a:pos x="T2" y="T3"/>
                </a:cxn>
                <a:cxn ang="0">
                  <a:pos x="T4" y="T5"/>
                </a:cxn>
                <a:cxn ang="0">
                  <a:pos x="T6" y="T7"/>
                </a:cxn>
                <a:cxn ang="0">
                  <a:pos x="T8" y="T9"/>
                </a:cxn>
              </a:cxnLst>
              <a:rect l="0" t="0" r="r" b="b"/>
              <a:pathLst>
                <a:path w="4" h="5">
                  <a:moveTo>
                    <a:pt x="0" y="2"/>
                  </a:moveTo>
                  <a:cubicBezTo>
                    <a:pt x="0" y="3"/>
                    <a:pt x="0" y="4"/>
                    <a:pt x="1" y="5"/>
                  </a:cubicBezTo>
                  <a:cubicBezTo>
                    <a:pt x="3" y="5"/>
                    <a:pt x="3" y="5"/>
                    <a:pt x="4" y="4"/>
                  </a:cubicBezTo>
                  <a:cubicBezTo>
                    <a:pt x="4" y="3"/>
                    <a:pt x="4" y="1"/>
                    <a:pt x="3" y="1"/>
                  </a:cubicBezTo>
                  <a:cubicBezTo>
                    <a:pt x="2" y="0"/>
                    <a:pt x="1" y="1"/>
                    <a:pt x="0"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90"/>
            <p:cNvSpPr>
              <a:spLocks/>
            </p:cNvSpPr>
            <p:nvPr/>
          </p:nvSpPr>
          <p:spPr bwMode="auto">
            <a:xfrm>
              <a:off x="8942919" y="1939436"/>
              <a:ext cx="9059" cy="6341"/>
            </a:xfrm>
            <a:custGeom>
              <a:avLst/>
              <a:gdLst>
                <a:gd name="T0" fmla="*/ 3 w 4"/>
                <a:gd name="T1" fmla="*/ 1 h 3"/>
                <a:gd name="T2" fmla="*/ 1 w 4"/>
                <a:gd name="T3" fmla="*/ 1 h 3"/>
                <a:gd name="T4" fmla="*/ 0 w 4"/>
                <a:gd name="T5" fmla="*/ 2 h 3"/>
                <a:gd name="T6" fmla="*/ 2 w 4"/>
                <a:gd name="T7" fmla="*/ 3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2" y="0"/>
                    <a:pt x="1" y="1"/>
                    <a:pt x="1" y="1"/>
                  </a:cubicBezTo>
                  <a:cubicBezTo>
                    <a:pt x="0" y="2"/>
                    <a:pt x="0" y="2"/>
                    <a:pt x="0" y="2"/>
                  </a:cubicBezTo>
                  <a:cubicBezTo>
                    <a:pt x="0" y="3"/>
                    <a:pt x="1" y="3"/>
                    <a:pt x="2" y="3"/>
                  </a:cubicBezTo>
                  <a:cubicBezTo>
                    <a:pt x="3" y="3"/>
                    <a:pt x="4" y="2"/>
                    <a:pt x="3"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91"/>
            <p:cNvSpPr>
              <a:spLocks/>
            </p:cNvSpPr>
            <p:nvPr/>
          </p:nvSpPr>
          <p:spPr bwMode="auto">
            <a:xfrm>
              <a:off x="8625868" y="1639597"/>
              <a:ext cx="10870" cy="10870"/>
            </a:xfrm>
            <a:custGeom>
              <a:avLst/>
              <a:gdLst>
                <a:gd name="T0" fmla="*/ 3 w 5"/>
                <a:gd name="T1" fmla="*/ 0 h 5"/>
                <a:gd name="T2" fmla="*/ 0 w 5"/>
                <a:gd name="T3" fmla="*/ 2 h 5"/>
                <a:gd name="T4" fmla="*/ 1 w 5"/>
                <a:gd name="T5" fmla="*/ 4 h 5"/>
                <a:gd name="T6" fmla="*/ 4 w 5"/>
                <a:gd name="T7" fmla="*/ 2 h 5"/>
                <a:gd name="T8" fmla="*/ 3 w 5"/>
                <a:gd name="T9" fmla="*/ 0 h 5"/>
              </a:gdLst>
              <a:ahLst/>
              <a:cxnLst>
                <a:cxn ang="0">
                  <a:pos x="T0" y="T1"/>
                </a:cxn>
                <a:cxn ang="0">
                  <a:pos x="T2" y="T3"/>
                </a:cxn>
                <a:cxn ang="0">
                  <a:pos x="T4" y="T5"/>
                </a:cxn>
                <a:cxn ang="0">
                  <a:pos x="T6" y="T7"/>
                </a:cxn>
                <a:cxn ang="0">
                  <a:pos x="T8" y="T9"/>
                </a:cxn>
              </a:cxnLst>
              <a:rect l="0" t="0" r="r" b="b"/>
              <a:pathLst>
                <a:path w="5" h="5">
                  <a:moveTo>
                    <a:pt x="3" y="0"/>
                  </a:moveTo>
                  <a:cubicBezTo>
                    <a:pt x="2" y="1"/>
                    <a:pt x="1" y="1"/>
                    <a:pt x="0" y="2"/>
                  </a:cubicBezTo>
                  <a:cubicBezTo>
                    <a:pt x="0" y="2"/>
                    <a:pt x="1" y="4"/>
                    <a:pt x="1" y="4"/>
                  </a:cubicBezTo>
                  <a:cubicBezTo>
                    <a:pt x="2" y="5"/>
                    <a:pt x="5" y="4"/>
                    <a:pt x="4" y="2"/>
                  </a:cubicBezTo>
                  <a:cubicBezTo>
                    <a:pt x="4" y="1"/>
                    <a:pt x="3" y="1"/>
                    <a:pt x="3"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93"/>
            <p:cNvSpPr>
              <a:spLocks/>
            </p:cNvSpPr>
            <p:nvPr/>
          </p:nvSpPr>
          <p:spPr bwMode="auto">
            <a:xfrm>
              <a:off x="8999082" y="2324426"/>
              <a:ext cx="9964" cy="9059"/>
            </a:xfrm>
            <a:custGeom>
              <a:avLst/>
              <a:gdLst>
                <a:gd name="T0" fmla="*/ 2 w 5"/>
                <a:gd name="T1" fmla="*/ 0 h 4"/>
                <a:gd name="T2" fmla="*/ 0 w 5"/>
                <a:gd name="T3" fmla="*/ 2 h 4"/>
                <a:gd name="T4" fmla="*/ 2 w 5"/>
                <a:gd name="T5" fmla="*/ 4 h 4"/>
                <a:gd name="T6" fmla="*/ 4 w 5"/>
                <a:gd name="T7" fmla="*/ 3 h 4"/>
                <a:gd name="T8" fmla="*/ 5 w 5"/>
                <a:gd name="T9" fmla="*/ 0 h 4"/>
                <a:gd name="T10" fmla="*/ 2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2" y="0"/>
                  </a:moveTo>
                  <a:cubicBezTo>
                    <a:pt x="1" y="0"/>
                    <a:pt x="0" y="1"/>
                    <a:pt x="0" y="2"/>
                  </a:cubicBezTo>
                  <a:cubicBezTo>
                    <a:pt x="0" y="2"/>
                    <a:pt x="1" y="3"/>
                    <a:pt x="2" y="4"/>
                  </a:cubicBezTo>
                  <a:cubicBezTo>
                    <a:pt x="3" y="4"/>
                    <a:pt x="4" y="4"/>
                    <a:pt x="4" y="3"/>
                  </a:cubicBezTo>
                  <a:cubicBezTo>
                    <a:pt x="5" y="2"/>
                    <a:pt x="5" y="1"/>
                    <a:pt x="5" y="0"/>
                  </a:cubicBezTo>
                  <a:cubicBezTo>
                    <a:pt x="4" y="0"/>
                    <a:pt x="3" y="0"/>
                    <a:pt x="2"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98"/>
            <p:cNvSpPr>
              <a:spLocks/>
            </p:cNvSpPr>
            <p:nvPr/>
          </p:nvSpPr>
          <p:spPr bwMode="auto">
            <a:xfrm>
              <a:off x="8735477" y="1230149"/>
              <a:ext cx="4529" cy="6341"/>
            </a:xfrm>
            <a:custGeom>
              <a:avLst/>
              <a:gdLst>
                <a:gd name="T0" fmla="*/ 0 w 2"/>
                <a:gd name="T1" fmla="*/ 2 h 3"/>
                <a:gd name="T2" fmla="*/ 2 w 2"/>
                <a:gd name="T3" fmla="*/ 0 h 3"/>
                <a:gd name="T4" fmla="*/ 0 w 2"/>
                <a:gd name="T5" fmla="*/ 1 h 3"/>
                <a:gd name="T6" fmla="*/ 0 w 2"/>
                <a:gd name="T7" fmla="*/ 2 h 3"/>
              </a:gdLst>
              <a:ahLst/>
              <a:cxnLst>
                <a:cxn ang="0">
                  <a:pos x="T0" y="T1"/>
                </a:cxn>
                <a:cxn ang="0">
                  <a:pos x="T2" y="T3"/>
                </a:cxn>
                <a:cxn ang="0">
                  <a:pos x="T4" y="T5"/>
                </a:cxn>
                <a:cxn ang="0">
                  <a:pos x="T6" y="T7"/>
                </a:cxn>
              </a:cxnLst>
              <a:rect l="0" t="0" r="r" b="b"/>
              <a:pathLst>
                <a:path w="2" h="3">
                  <a:moveTo>
                    <a:pt x="0" y="2"/>
                  </a:moveTo>
                  <a:cubicBezTo>
                    <a:pt x="2" y="2"/>
                    <a:pt x="2" y="1"/>
                    <a:pt x="2" y="0"/>
                  </a:cubicBezTo>
                  <a:cubicBezTo>
                    <a:pt x="1" y="0"/>
                    <a:pt x="1" y="1"/>
                    <a:pt x="0" y="1"/>
                  </a:cubicBezTo>
                  <a:cubicBezTo>
                    <a:pt x="0" y="2"/>
                    <a:pt x="0" y="3"/>
                    <a:pt x="0"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99"/>
            <p:cNvSpPr>
              <a:spLocks/>
            </p:cNvSpPr>
            <p:nvPr/>
          </p:nvSpPr>
          <p:spPr bwMode="auto">
            <a:xfrm>
              <a:off x="8895814" y="1283595"/>
              <a:ext cx="4529" cy="9059"/>
            </a:xfrm>
            <a:custGeom>
              <a:avLst/>
              <a:gdLst>
                <a:gd name="T0" fmla="*/ 2 w 2"/>
                <a:gd name="T1" fmla="*/ 3 h 4"/>
                <a:gd name="T2" fmla="*/ 2 w 2"/>
                <a:gd name="T3" fmla="*/ 1 h 4"/>
                <a:gd name="T4" fmla="*/ 0 w 2"/>
                <a:gd name="T5" fmla="*/ 0 h 4"/>
                <a:gd name="T6" fmla="*/ 0 w 2"/>
                <a:gd name="T7" fmla="*/ 2 h 4"/>
                <a:gd name="T8" fmla="*/ 2 w 2"/>
                <a:gd name="T9" fmla="*/ 3 h 4"/>
              </a:gdLst>
              <a:ahLst/>
              <a:cxnLst>
                <a:cxn ang="0">
                  <a:pos x="T0" y="T1"/>
                </a:cxn>
                <a:cxn ang="0">
                  <a:pos x="T2" y="T3"/>
                </a:cxn>
                <a:cxn ang="0">
                  <a:pos x="T4" y="T5"/>
                </a:cxn>
                <a:cxn ang="0">
                  <a:pos x="T6" y="T7"/>
                </a:cxn>
                <a:cxn ang="0">
                  <a:pos x="T8" y="T9"/>
                </a:cxn>
              </a:cxnLst>
              <a:rect l="0" t="0" r="r" b="b"/>
              <a:pathLst>
                <a:path w="2" h="4">
                  <a:moveTo>
                    <a:pt x="2" y="3"/>
                  </a:moveTo>
                  <a:cubicBezTo>
                    <a:pt x="2" y="3"/>
                    <a:pt x="2" y="2"/>
                    <a:pt x="2" y="1"/>
                  </a:cubicBezTo>
                  <a:cubicBezTo>
                    <a:pt x="2" y="1"/>
                    <a:pt x="1" y="0"/>
                    <a:pt x="0" y="0"/>
                  </a:cubicBezTo>
                  <a:cubicBezTo>
                    <a:pt x="0" y="1"/>
                    <a:pt x="0" y="1"/>
                    <a:pt x="0" y="2"/>
                  </a:cubicBezTo>
                  <a:cubicBezTo>
                    <a:pt x="0" y="4"/>
                    <a:pt x="1" y="4"/>
                    <a:pt x="2"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100"/>
            <p:cNvSpPr>
              <a:spLocks/>
            </p:cNvSpPr>
            <p:nvPr/>
          </p:nvSpPr>
          <p:spPr bwMode="auto">
            <a:xfrm>
              <a:off x="9016293" y="1311677"/>
              <a:ext cx="3623" cy="4529"/>
            </a:xfrm>
            <a:custGeom>
              <a:avLst/>
              <a:gdLst>
                <a:gd name="T0" fmla="*/ 2 w 2"/>
                <a:gd name="T1" fmla="*/ 2 h 2"/>
                <a:gd name="T2" fmla="*/ 2 w 2"/>
                <a:gd name="T3" fmla="*/ 1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cubicBezTo>
                    <a:pt x="2" y="2"/>
                    <a:pt x="2" y="1"/>
                    <a:pt x="2" y="1"/>
                  </a:cubicBezTo>
                  <a:cubicBezTo>
                    <a:pt x="2" y="1"/>
                    <a:pt x="1" y="0"/>
                    <a:pt x="0" y="0"/>
                  </a:cubicBezTo>
                  <a:cubicBezTo>
                    <a:pt x="1" y="1"/>
                    <a:pt x="0" y="2"/>
                    <a:pt x="2"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101"/>
            <p:cNvSpPr>
              <a:spLocks/>
            </p:cNvSpPr>
            <p:nvPr/>
          </p:nvSpPr>
          <p:spPr bwMode="auto">
            <a:xfrm>
              <a:off x="8412086" y="1847039"/>
              <a:ext cx="1812"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1" y="0"/>
                  </a:cubicBezTo>
                  <a:cubicBezTo>
                    <a:pt x="1" y="0"/>
                    <a:pt x="1" y="0"/>
                    <a:pt x="0" y="0"/>
                  </a:cubicBezTo>
                  <a:cubicBezTo>
                    <a:pt x="0"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102"/>
            <p:cNvSpPr>
              <a:spLocks/>
            </p:cNvSpPr>
            <p:nvPr/>
          </p:nvSpPr>
          <p:spPr bwMode="auto">
            <a:xfrm>
              <a:off x="8407557" y="1847039"/>
              <a:ext cx="6341" cy="9059"/>
            </a:xfrm>
            <a:custGeom>
              <a:avLst/>
              <a:gdLst>
                <a:gd name="T0" fmla="*/ 2 w 3"/>
                <a:gd name="T1" fmla="*/ 4 h 4"/>
                <a:gd name="T2" fmla="*/ 3 w 3"/>
                <a:gd name="T3" fmla="*/ 3 h 4"/>
                <a:gd name="T4" fmla="*/ 3 w 3"/>
                <a:gd name="T5" fmla="*/ 0 h 4"/>
                <a:gd name="T6" fmla="*/ 1 w 3"/>
                <a:gd name="T7" fmla="*/ 2 h 4"/>
                <a:gd name="T8" fmla="*/ 2 w 3"/>
                <a:gd name="T9" fmla="*/ 4 h 4"/>
              </a:gdLst>
              <a:ahLst/>
              <a:cxnLst>
                <a:cxn ang="0">
                  <a:pos x="T0" y="T1"/>
                </a:cxn>
                <a:cxn ang="0">
                  <a:pos x="T2" y="T3"/>
                </a:cxn>
                <a:cxn ang="0">
                  <a:pos x="T4" y="T5"/>
                </a:cxn>
                <a:cxn ang="0">
                  <a:pos x="T6" y="T7"/>
                </a:cxn>
                <a:cxn ang="0">
                  <a:pos x="T8" y="T9"/>
                </a:cxn>
              </a:cxnLst>
              <a:rect l="0" t="0" r="r" b="b"/>
              <a:pathLst>
                <a:path w="3" h="4">
                  <a:moveTo>
                    <a:pt x="2" y="4"/>
                  </a:moveTo>
                  <a:cubicBezTo>
                    <a:pt x="3" y="4"/>
                    <a:pt x="3" y="3"/>
                    <a:pt x="3" y="3"/>
                  </a:cubicBezTo>
                  <a:cubicBezTo>
                    <a:pt x="3" y="2"/>
                    <a:pt x="3" y="1"/>
                    <a:pt x="3" y="0"/>
                  </a:cubicBezTo>
                  <a:cubicBezTo>
                    <a:pt x="2" y="1"/>
                    <a:pt x="1" y="2"/>
                    <a:pt x="1" y="2"/>
                  </a:cubicBezTo>
                  <a:cubicBezTo>
                    <a:pt x="0" y="4"/>
                    <a:pt x="1" y="4"/>
                    <a:pt x="2" y="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103"/>
            <p:cNvSpPr>
              <a:spLocks/>
            </p:cNvSpPr>
            <p:nvPr/>
          </p:nvSpPr>
          <p:spPr bwMode="auto">
            <a:xfrm>
              <a:off x="9561620" y="1906826"/>
              <a:ext cx="0" cy="2718"/>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1"/>
                    <a:pt x="0" y="1"/>
                  </a:cubicBezTo>
                  <a:cubicBezTo>
                    <a:pt x="0" y="1"/>
                    <a:pt x="0" y="1"/>
                    <a:pt x="0" y="1"/>
                  </a:cubicBezTo>
                  <a:cubicBezTo>
                    <a:pt x="0" y="0"/>
                    <a:pt x="0" y="0"/>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104"/>
            <p:cNvSpPr>
              <a:spLocks/>
            </p:cNvSpPr>
            <p:nvPr/>
          </p:nvSpPr>
          <p:spPr bwMode="auto">
            <a:xfrm>
              <a:off x="9551656" y="1900485"/>
              <a:ext cx="9964" cy="9059"/>
            </a:xfrm>
            <a:custGeom>
              <a:avLst/>
              <a:gdLst>
                <a:gd name="T0" fmla="*/ 2 w 5"/>
                <a:gd name="T1" fmla="*/ 1 h 4"/>
                <a:gd name="T2" fmla="*/ 0 w 5"/>
                <a:gd name="T3" fmla="*/ 2 h 4"/>
                <a:gd name="T4" fmla="*/ 2 w 5"/>
                <a:gd name="T5" fmla="*/ 3 h 4"/>
                <a:gd name="T6" fmla="*/ 5 w 5"/>
                <a:gd name="T7" fmla="*/ 3 h 4"/>
                <a:gd name="T8" fmla="*/ 5 w 5"/>
                <a:gd name="T9" fmla="*/ 0 h 4"/>
                <a:gd name="T10" fmla="*/ 2 w 5"/>
                <a:gd name="T11" fmla="*/ 1 h 4"/>
              </a:gdLst>
              <a:ahLst/>
              <a:cxnLst>
                <a:cxn ang="0">
                  <a:pos x="T0" y="T1"/>
                </a:cxn>
                <a:cxn ang="0">
                  <a:pos x="T2" y="T3"/>
                </a:cxn>
                <a:cxn ang="0">
                  <a:pos x="T4" y="T5"/>
                </a:cxn>
                <a:cxn ang="0">
                  <a:pos x="T6" y="T7"/>
                </a:cxn>
                <a:cxn ang="0">
                  <a:pos x="T8" y="T9"/>
                </a:cxn>
                <a:cxn ang="0">
                  <a:pos x="T10" y="T11"/>
                </a:cxn>
              </a:cxnLst>
              <a:rect l="0" t="0" r="r" b="b"/>
              <a:pathLst>
                <a:path w="5" h="4">
                  <a:moveTo>
                    <a:pt x="2" y="1"/>
                  </a:moveTo>
                  <a:cubicBezTo>
                    <a:pt x="1" y="1"/>
                    <a:pt x="0" y="1"/>
                    <a:pt x="0" y="2"/>
                  </a:cubicBezTo>
                  <a:cubicBezTo>
                    <a:pt x="0" y="2"/>
                    <a:pt x="1" y="3"/>
                    <a:pt x="2" y="3"/>
                  </a:cubicBezTo>
                  <a:cubicBezTo>
                    <a:pt x="3" y="4"/>
                    <a:pt x="4" y="3"/>
                    <a:pt x="5" y="3"/>
                  </a:cubicBezTo>
                  <a:cubicBezTo>
                    <a:pt x="5" y="2"/>
                    <a:pt x="5" y="1"/>
                    <a:pt x="5" y="0"/>
                  </a:cubicBezTo>
                  <a:cubicBezTo>
                    <a:pt x="4" y="0"/>
                    <a:pt x="3" y="0"/>
                    <a:pt x="2"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105"/>
            <p:cNvSpPr>
              <a:spLocks/>
            </p:cNvSpPr>
            <p:nvPr/>
          </p:nvSpPr>
          <p:spPr bwMode="auto">
            <a:xfrm>
              <a:off x="9324285" y="1451179"/>
              <a:ext cx="6341" cy="6341"/>
            </a:xfrm>
            <a:custGeom>
              <a:avLst/>
              <a:gdLst>
                <a:gd name="T0" fmla="*/ 3 w 3"/>
                <a:gd name="T1" fmla="*/ 2 h 3"/>
                <a:gd name="T2" fmla="*/ 1 w 3"/>
                <a:gd name="T3" fmla="*/ 1 h 3"/>
                <a:gd name="T4" fmla="*/ 0 w 3"/>
                <a:gd name="T5" fmla="*/ 1 h 3"/>
                <a:gd name="T6" fmla="*/ 2 w 3"/>
                <a:gd name="T7" fmla="*/ 3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1"/>
                    <a:pt x="1" y="1"/>
                    <a:pt x="1" y="1"/>
                  </a:cubicBezTo>
                  <a:cubicBezTo>
                    <a:pt x="0" y="0"/>
                    <a:pt x="0" y="1"/>
                    <a:pt x="0" y="1"/>
                  </a:cubicBezTo>
                  <a:cubicBezTo>
                    <a:pt x="0" y="3"/>
                    <a:pt x="1" y="3"/>
                    <a:pt x="2" y="3"/>
                  </a:cubicBezTo>
                  <a:cubicBezTo>
                    <a:pt x="2" y="2"/>
                    <a:pt x="3" y="2"/>
                    <a:pt x="3"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10"/>
            <p:cNvSpPr>
              <a:spLocks/>
            </p:cNvSpPr>
            <p:nvPr/>
          </p:nvSpPr>
          <p:spPr bwMode="auto">
            <a:xfrm>
              <a:off x="9508174" y="1862439"/>
              <a:ext cx="4529" cy="3623"/>
            </a:xfrm>
            <a:custGeom>
              <a:avLst/>
              <a:gdLst>
                <a:gd name="T0" fmla="*/ 1 w 2"/>
                <a:gd name="T1" fmla="*/ 0 h 2"/>
                <a:gd name="T2" fmla="*/ 2 w 2"/>
                <a:gd name="T3" fmla="*/ 2 h 2"/>
                <a:gd name="T4" fmla="*/ 2 w 2"/>
                <a:gd name="T5" fmla="*/ 0 h 2"/>
                <a:gd name="T6" fmla="*/ 1 w 2"/>
                <a:gd name="T7" fmla="*/ 0 h 2"/>
              </a:gdLst>
              <a:ahLst/>
              <a:cxnLst>
                <a:cxn ang="0">
                  <a:pos x="T0" y="T1"/>
                </a:cxn>
                <a:cxn ang="0">
                  <a:pos x="T2" y="T3"/>
                </a:cxn>
                <a:cxn ang="0">
                  <a:pos x="T4" y="T5"/>
                </a:cxn>
                <a:cxn ang="0">
                  <a:pos x="T6" y="T7"/>
                </a:cxn>
              </a:cxnLst>
              <a:rect l="0" t="0" r="r" b="b"/>
              <a:pathLst>
                <a:path w="2" h="2">
                  <a:moveTo>
                    <a:pt x="1" y="0"/>
                  </a:moveTo>
                  <a:cubicBezTo>
                    <a:pt x="0" y="1"/>
                    <a:pt x="1" y="2"/>
                    <a:pt x="2" y="2"/>
                  </a:cubicBezTo>
                  <a:cubicBezTo>
                    <a:pt x="2" y="1"/>
                    <a:pt x="2" y="1"/>
                    <a:pt x="2" y="0"/>
                  </a:cubicBezTo>
                  <a:cubicBezTo>
                    <a:pt x="1"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11"/>
            <p:cNvSpPr>
              <a:spLocks/>
            </p:cNvSpPr>
            <p:nvPr/>
          </p:nvSpPr>
          <p:spPr bwMode="auto">
            <a:xfrm>
              <a:off x="8859580" y="1947589"/>
              <a:ext cx="1812" cy="2718"/>
            </a:xfrm>
            <a:custGeom>
              <a:avLst/>
              <a:gdLst>
                <a:gd name="T0" fmla="*/ 1 w 1"/>
                <a:gd name="T1" fmla="*/ 0 h 1"/>
                <a:gd name="T2" fmla="*/ 0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0" y="0"/>
                    <a:pt x="0" y="1"/>
                    <a:pt x="0" y="1"/>
                  </a:cubicBezTo>
                  <a:cubicBezTo>
                    <a:pt x="0" y="1"/>
                    <a:pt x="1" y="1"/>
                    <a:pt x="1" y="1"/>
                  </a:cubicBezTo>
                  <a:lnTo>
                    <a:pt x="1" y="0"/>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115"/>
            <p:cNvSpPr>
              <a:spLocks/>
            </p:cNvSpPr>
            <p:nvPr/>
          </p:nvSpPr>
          <p:spPr bwMode="auto">
            <a:xfrm>
              <a:off x="9523574" y="1214750"/>
              <a:ext cx="4529" cy="0"/>
            </a:xfrm>
            <a:custGeom>
              <a:avLst/>
              <a:gdLst>
                <a:gd name="T0" fmla="*/ 0 w 2"/>
                <a:gd name="T1" fmla="*/ 1 w 2"/>
                <a:gd name="T2" fmla="*/ 1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1" y="0"/>
                    <a:pt x="1" y="0"/>
                    <a:pt x="1" y="0"/>
                  </a:cubicBezTo>
                  <a:cubicBezTo>
                    <a:pt x="1" y="0"/>
                    <a:pt x="1" y="0"/>
                    <a:pt x="1" y="0"/>
                  </a:cubicBezTo>
                  <a:cubicBezTo>
                    <a:pt x="2" y="0"/>
                    <a:pt x="2" y="0"/>
                    <a:pt x="2" y="0"/>
                  </a:cubicBezTo>
                  <a:cubicBezTo>
                    <a:pt x="1" y="0"/>
                    <a:pt x="1"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116"/>
            <p:cNvSpPr>
              <a:spLocks/>
            </p:cNvSpPr>
            <p:nvPr/>
          </p:nvSpPr>
          <p:spPr bwMode="auto">
            <a:xfrm>
              <a:off x="8718266" y="1369652"/>
              <a:ext cx="1812" cy="1812"/>
            </a:xfrm>
            <a:custGeom>
              <a:avLst/>
              <a:gdLst>
                <a:gd name="T0" fmla="*/ 1 w 1"/>
                <a:gd name="T1" fmla="*/ 0 h 1"/>
                <a:gd name="T2" fmla="*/ 0 w 1"/>
                <a:gd name="T3" fmla="*/ 0 h 1"/>
                <a:gd name="T4" fmla="*/ 0 w 1"/>
                <a:gd name="T5" fmla="*/ 1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0" y="0"/>
                    <a:pt x="0" y="0"/>
                    <a:pt x="0" y="1"/>
                  </a:cubicBezTo>
                  <a:cubicBezTo>
                    <a:pt x="0" y="1"/>
                    <a:pt x="0" y="1"/>
                    <a:pt x="0" y="1"/>
                  </a:cubicBezTo>
                  <a:lnTo>
                    <a:pt x="1" y="0"/>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120"/>
            <p:cNvSpPr>
              <a:spLocks/>
            </p:cNvSpPr>
            <p:nvPr/>
          </p:nvSpPr>
          <p:spPr bwMode="auto">
            <a:xfrm>
              <a:off x="9258158" y="2123326"/>
              <a:ext cx="1812" cy="6341"/>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1" y="2"/>
                    <a:pt x="1" y="1"/>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21"/>
            <p:cNvSpPr>
              <a:spLocks/>
            </p:cNvSpPr>
            <p:nvPr/>
          </p:nvSpPr>
          <p:spPr bwMode="auto">
            <a:xfrm>
              <a:off x="9107785" y="1521836"/>
              <a:ext cx="4529" cy="1812"/>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0" y="1"/>
                    <a:pt x="0" y="1"/>
                  </a:cubicBezTo>
                  <a:cubicBezTo>
                    <a:pt x="1" y="1"/>
                    <a:pt x="2" y="1"/>
                    <a:pt x="2" y="0"/>
                  </a:cubicBezTo>
                  <a:cubicBezTo>
                    <a:pt x="2" y="0"/>
                    <a:pt x="2"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129"/>
            <p:cNvSpPr>
              <a:spLocks/>
            </p:cNvSpPr>
            <p:nvPr/>
          </p:nvSpPr>
          <p:spPr bwMode="auto">
            <a:xfrm>
              <a:off x="5430906" y="4664258"/>
              <a:ext cx="572502" cy="299839"/>
            </a:xfrm>
            <a:custGeom>
              <a:avLst/>
              <a:gdLst>
                <a:gd name="T0" fmla="*/ 250 w 267"/>
                <a:gd name="T1" fmla="*/ 119 h 140"/>
                <a:gd name="T2" fmla="*/ 236 w 267"/>
                <a:gd name="T3" fmla="*/ 106 h 140"/>
                <a:gd name="T4" fmla="*/ 225 w 267"/>
                <a:gd name="T5" fmla="*/ 93 h 140"/>
                <a:gd name="T6" fmla="*/ 230 w 267"/>
                <a:gd name="T7" fmla="*/ 86 h 140"/>
                <a:gd name="T8" fmla="*/ 225 w 267"/>
                <a:gd name="T9" fmla="*/ 75 h 140"/>
                <a:gd name="T10" fmla="*/ 205 w 267"/>
                <a:gd name="T11" fmla="*/ 62 h 140"/>
                <a:gd name="T12" fmla="*/ 166 w 267"/>
                <a:gd name="T13" fmla="*/ 40 h 140"/>
                <a:gd name="T14" fmla="*/ 131 w 267"/>
                <a:gd name="T15" fmla="*/ 27 h 140"/>
                <a:gd name="T16" fmla="*/ 84 w 267"/>
                <a:gd name="T17" fmla="*/ 22 h 140"/>
                <a:gd name="T18" fmla="*/ 65 w 267"/>
                <a:gd name="T19" fmla="*/ 38 h 140"/>
                <a:gd name="T20" fmla="*/ 49 w 267"/>
                <a:gd name="T21" fmla="*/ 30 h 140"/>
                <a:gd name="T22" fmla="*/ 48 w 267"/>
                <a:gd name="T23" fmla="*/ 18 h 140"/>
                <a:gd name="T24" fmla="*/ 38 w 267"/>
                <a:gd name="T25" fmla="*/ 5 h 140"/>
                <a:gd name="T26" fmla="*/ 19 w 267"/>
                <a:gd name="T27" fmla="*/ 2 h 140"/>
                <a:gd name="T28" fmla="*/ 0 w 267"/>
                <a:gd name="T29" fmla="*/ 12 h 140"/>
                <a:gd name="T30" fmla="*/ 7 w 267"/>
                <a:gd name="T31" fmla="*/ 17 h 140"/>
                <a:gd name="T32" fmla="*/ 26 w 267"/>
                <a:gd name="T33" fmla="*/ 28 h 140"/>
                <a:gd name="T34" fmla="*/ 38 w 267"/>
                <a:gd name="T35" fmla="*/ 29 h 140"/>
                <a:gd name="T36" fmla="*/ 20 w 267"/>
                <a:gd name="T37" fmla="*/ 34 h 140"/>
                <a:gd name="T38" fmla="*/ 26 w 267"/>
                <a:gd name="T39" fmla="*/ 49 h 140"/>
                <a:gd name="T40" fmla="*/ 36 w 267"/>
                <a:gd name="T41" fmla="*/ 47 h 140"/>
                <a:gd name="T42" fmla="*/ 53 w 267"/>
                <a:gd name="T43" fmla="*/ 53 h 140"/>
                <a:gd name="T44" fmla="*/ 78 w 267"/>
                <a:gd name="T45" fmla="*/ 61 h 140"/>
                <a:gd name="T46" fmla="*/ 100 w 267"/>
                <a:gd name="T47" fmla="*/ 78 h 140"/>
                <a:gd name="T48" fmla="*/ 106 w 267"/>
                <a:gd name="T49" fmla="*/ 90 h 140"/>
                <a:gd name="T50" fmla="*/ 94 w 267"/>
                <a:gd name="T51" fmla="*/ 103 h 140"/>
                <a:gd name="T52" fmla="*/ 112 w 267"/>
                <a:gd name="T53" fmla="*/ 107 h 140"/>
                <a:gd name="T54" fmla="*/ 129 w 267"/>
                <a:gd name="T55" fmla="*/ 115 h 140"/>
                <a:gd name="T56" fmla="*/ 158 w 267"/>
                <a:gd name="T57" fmla="*/ 122 h 140"/>
                <a:gd name="T58" fmla="*/ 169 w 267"/>
                <a:gd name="T59" fmla="*/ 113 h 140"/>
                <a:gd name="T60" fmla="*/ 180 w 267"/>
                <a:gd name="T61" fmla="*/ 101 h 140"/>
                <a:gd name="T62" fmla="*/ 201 w 267"/>
                <a:gd name="T63" fmla="*/ 105 h 140"/>
                <a:gd name="T64" fmla="*/ 223 w 267"/>
                <a:gd name="T65" fmla="*/ 128 h 140"/>
                <a:gd name="T66" fmla="*/ 261 w 267"/>
                <a:gd name="T67" fmla="*/ 140 h 140"/>
                <a:gd name="T68" fmla="*/ 266 w 267"/>
                <a:gd name="T69" fmla="*/ 139 h 140"/>
                <a:gd name="T70" fmla="*/ 263 w 267"/>
                <a:gd name="T71" fmla="*/ 131 h 140"/>
                <a:gd name="T72" fmla="*/ 251 w 267"/>
                <a:gd name="T73" fmla="*/ 12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140">
                  <a:moveTo>
                    <a:pt x="251" y="121"/>
                  </a:moveTo>
                  <a:cubicBezTo>
                    <a:pt x="250" y="120"/>
                    <a:pt x="250" y="120"/>
                    <a:pt x="250" y="119"/>
                  </a:cubicBezTo>
                  <a:cubicBezTo>
                    <a:pt x="247" y="117"/>
                    <a:pt x="244" y="116"/>
                    <a:pt x="242" y="114"/>
                  </a:cubicBezTo>
                  <a:cubicBezTo>
                    <a:pt x="240" y="111"/>
                    <a:pt x="238" y="108"/>
                    <a:pt x="236" y="106"/>
                  </a:cubicBezTo>
                  <a:cubicBezTo>
                    <a:pt x="235" y="104"/>
                    <a:pt x="232" y="103"/>
                    <a:pt x="231" y="101"/>
                  </a:cubicBezTo>
                  <a:cubicBezTo>
                    <a:pt x="228" y="98"/>
                    <a:pt x="226" y="96"/>
                    <a:pt x="225" y="93"/>
                  </a:cubicBezTo>
                  <a:cubicBezTo>
                    <a:pt x="223" y="91"/>
                    <a:pt x="224" y="89"/>
                    <a:pt x="226" y="88"/>
                  </a:cubicBezTo>
                  <a:cubicBezTo>
                    <a:pt x="227" y="87"/>
                    <a:pt x="229" y="87"/>
                    <a:pt x="230" y="86"/>
                  </a:cubicBezTo>
                  <a:cubicBezTo>
                    <a:pt x="232" y="83"/>
                    <a:pt x="232" y="79"/>
                    <a:pt x="229" y="77"/>
                  </a:cubicBezTo>
                  <a:cubicBezTo>
                    <a:pt x="228" y="77"/>
                    <a:pt x="226" y="76"/>
                    <a:pt x="225" y="75"/>
                  </a:cubicBezTo>
                  <a:cubicBezTo>
                    <a:pt x="221" y="74"/>
                    <a:pt x="218" y="72"/>
                    <a:pt x="214" y="71"/>
                  </a:cubicBezTo>
                  <a:cubicBezTo>
                    <a:pt x="209" y="70"/>
                    <a:pt x="205" y="67"/>
                    <a:pt x="205" y="62"/>
                  </a:cubicBezTo>
                  <a:cubicBezTo>
                    <a:pt x="205" y="60"/>
                    <a:pt x="203" y="58"/>
                    <a:pt x="201" y="57"/>
                  </a:cubicBezTo>
                  <a:cubicBezTo>
                    <a:pt x="191" y="49"/>
                    <a:pt x="179" y="43"/>
                    <a:pt x="166" y="40"/>
                  </a:cubicBezTo>
                  <a:cubicBezTo>
                    <a:pt x="160" y="38"/>
                    <a:pt x="155" y="36"/>
                    <a:pt x="149" y="34"/>
                  </a:cubicBezTo>
                  <a:cubicBezTo>
                    <a:pt x="143" y="32"/>
                    <a:pt x="137" y="29"/>
                    <a:pt x="131" y="27"/>
                  </a:cubicBezTo>
                  <a:cubicBezTo>
                    <a:pt x="121" y="25"/>
                    <a:pt x="113" y="22"/>
                    <a:pt x="104" y="19"/>
                  </a:cubicBezTo>
                  <a:cubicBezTo>
                    <a:pt x="96" y="16"/>
                    <a:pt x="90" y="14"/>
                    <a:pt x="84" y="22"/>
                  </a:cubicBezTo>
                  <a:cubicBezTo>
                    <a:pt x="84" y="23"/>
                    <a:pt x="84" y="23"/>
                    <a:pt x="83" y="23"/>
                  </a:cubicBezTo>
                  <a:cubicBezTo>
                    <a:pt x="76" y="27"/>
                    <a:pt x="70" y="32"/>
                    <a:pt x="65" y="38"/>
                  </a:cubicBezTo>
                  <a:cubicBezTo>
                    <a:pt x="64" y="40"/>
                    <a:pt x="60" y="40"/>
                    <a:pt x="59" y="39"/>
                  </a:cubicBezTo>
                  <a:cubicBezTo>
                    <a:pt x="55" y="36"/>
                    <a:pt x="52" y="33"/>
                    <a:pt x="49" y="30"/>
                  </a:cubicBezTo>
                  <a:cubicBezTo>
                    <a:pt x="47" y="28"/>
                    <a:pt x="47" y="26"/>
                    <a:pt x="47" y="24"/>
                  </a:cubicBezTo>
                  <a:cubicBezTo>
                    <a:pt x="47" y="22"/>
                    <a:pt x="47" y="20"/>
                    <a:pt x="48" y="18"/>
                  </a:cubicBezTo>
                  <a:cubicBezTo>
                    <a:pt x="48" y="14"/>
                    <a:pt x="47" y="11"/>
                    <a:pt x="45" y="8"/>
                  </a:cubicBezTo>
                  <a:cubicBezTo>
                    <a:pt x="44" y="5"/>
                    <a:pt x="40" y="5"/>
                    <a:pt x="38" y="5"/>
                  </a:cubicBezTo>
                  <a:cubicBezTo>
                    <a:pt x="35" y="4"/>
                    <a:pt x="32" y="3"/>
                    <a:pt x="28" y="2"/>
                  </a:cubicBezTo>
                  <a:cubicBezTo>
                    <a:pt x="25" y="0"/>
                    <a:pt x="22" y="0"/>
                    <a:pt x="19" y="2"/>
                  </a:cubicBezTo>
                  <a:cubicBezTo>
                    <a:pt x="13" y="5"/>
                    <a:pt x="8" y="8"/>
                    <a:pt x="1" y="10"/>
                  </a:cubicBezTo>
                  <a:cubicBezTo>
                    <a:pt x="0" y="10"/>
                    <a:pt x="0" y="11"/>
                    <a:pt x="0" y="12"/>
                  </a:cubicBezTo>
                  <a:cubicBezTo>
                    <a:pt x="0" y="13"/>
                    <a:pt x="0" y="14"/>
                    <a:pt x="1" y="15"/>
                  </a:cubicBezTo>
                  <a:cubicBezTo>
                    <a:pt x="3" y="16"/>
                    <a:pt x="5" y="17"/>
                    <a:pt x="7" y="17"/>
                  </a:cubicBezTo>
                  <a:cubicBezTo>
                    <a:pt x="10" y="18"/>
                    <a:pt x="13" y="19"/>
                    <a:pt x="14" y="21"/>
                  </a:cubicBezTo>
                  <a:cubicBezTo>
                    <a:pt x="16" y="26"/>
                    <a:pt x="21" y="28"/>
                    <a:pt x="26" y="28"/>
                  </a:cubicBezTo>
                  <a:cubicBezTo>
                    <a:pt x="29" y="28"/>
                    <a:pt x="33" y="27"/>
                    <a:pt x="36" y="28"/>
                  </a:cubicBezTo>
                  <a:cubicBezTo>
                    <a:pt x="37" y="28"/>
                    <a:pt x="37" y="28"/>
                    <a:pt x="38" y="29"/>
                  </a:cubicBezTo>
                  <a:cubicBezTo>
                    <a:pt x="38" y="29"/>
                    <a:pt x="37" y="30"/>
                    <a:pt x="37" y="30"/>
                  </a:cubicBezTo>
                  <a:cubicBezTo>
                    <a:pt x="31" y="29"/>
                    <a:pt x="26" y="34"/>
                    <a:pt x="20" y="34"/>
                  </a:cubicBezTo>
                  <a:cubicBezTo>
                    <a:pt x="18" y="34"/>
                    <a:pt x="18" y="35"/>
                    <a:pt x="18" y="36"/>
                  </a:cubicBezTo>
                  <a:cubicBezTo>
                    <a:pt x="22" y="40"/>
                    <a:pt x="25" y="44"/>
                    <a:pt x="26" y="49"/>
                  </a:cubicBezTo>
                  <a:cubicBezTo>
                    <a:pt x="27" y="52"/>
                    <a:pt x="31" y="53"/>
                    <a:pt x="33" y="51"/>
                  </a:cubicBezTo>
                  <a:cubicBezTo>
                    <a:pt x="34" y="50"/>
                    <a:pt x="35" y="48"/>
                    <a:pt x="36" y="47"/>
                  </a:cubicBezTo>
                  <a:cubicBezTo>
                    <a:pt x="37" y="46"/>
                    <a:pt x="39" y="45"/>
                    <a:pt x="40" y="46"/>
                  </a:cubicBezTo>
                  <a:cubicBezTo>
                    <a:pt x="45" y="48"/>
                    <a:pt x="49" y="50"/>
                    <a:pt x="53" y="53"/>
                  </a:cubicBezTo>
                  <a:cubicBezTo>
                    <a:pt x="56" y="55"/>
                    <a:pt x="59" y="56"/>
                    <a:pt x="62" y="57"/>
                  </a:cubicBezTo>
                  <a:cubicBezTo>
                    <a:pt x="67" y="58"/>
                    <a:pt x="72" y="60"/>
                    <a:pt x="78" y="61"/>
                  </a:cubicBezTo>
                  <a:cubicBezTo>
                    <a:pt x="81" y="62"/>
                    <a:pt x="84" y="63"/>
                    <a:pt x="87" y="65"/>
                  </a:cubicBezTo>
                  <a:cubicBezTo>
                    <a:pt x="93" y="67"/>
                    <a:pt x="98" y="71"/>
                    <a:pt x="100" y="78"/>
                  </a:cubicBezTo>
                  <a:cubicBezTo>
                    <a:pt x="101" y="80"/>
                    <a:pt x="102" y="82"/>
                    <a:pt x="104" y="85"/>
                  </a:cubicBezTo>
                  <a:cubicBezTo>
                    <a:pt x="104" y="87"/>
                    <a:pt x="105" y="89"/>
                    <a:pt x="106" y="90"/>
                  </a:cubicBezTo>
                  <a:cubicBezTo>
                    <a:pt x="107" y="92"/>
                    <a:pt x="107" y="94"/>
                    <a:pt x="105" y="94"/>
                  </a:cubicBezTo>
                  <a:cubicBezTo>
                    <a:pt x="99" y="95"/>
                    <a:pt x="97" y="99"/>
                    <a:pt x="94" y="103"/>
                  </a:cubicBezTo>
                  <a:cubicBezTo>
                    <a:pt x="93" y="106"/>
                    <a:pt x="94" y="108"/>
                    <a:pt x="97" y="109"/>
                  </a:cubicBezTo>
                  <a:cubicBezTo>
                    <a:pt x="102" y="109"/>
                    <a:pt x="107" y="108"/>
                    <a:pt x="112" y="107"/>
                  </a:cubicBezTo>
                  <a:cubicBezTo>
                    <a:pt x="117" y="106"/>
                    <a:pt x="123" y="106"/>
                    <a:pt x="126" y="111"/>
                  </a:cubicBezTo>
                  <a:cubicBezTo>
                    <a:pt x="127" y="113"/>
                    <a:pt x="128" y="114"/>
                    <a:pt x="129" y="115"/>
                  </a:cubicBezTo>
                  <a:cubicBezTo>
                    <a:pt x="132" y="118"/>
                    <a:pt x="135" y="119"/>
                    <a:pt x="138" y="119"/>
                  </a:cubicBezTo>
                  <a:cubicBezTo>
                    <a:pt x="145" y="120"/>
                    <a:pt x="151" y="120"/>
                    <a:pt x="158" y="122"/>
                  </a:cubicBezTo>
                  <a:cubicBezTo>
                    <a:pt x="160" y="123"/>
                    <a:pt x="163" y="122"/>
                    <a:pt x="165" y="120"/>
                  </a:cubicBezTo>
                  <a:cubicBezTo>
                    <a:pt x="169" y="119"/>
                    <a:pt x="170" y="117"/>
                    <a:pt x="169" y="113"/>
                  </a:cubicBezTo>
                  <a:cubicBezTo>
                    <a:pt x="168" y="112"/>
                    <a:pt x="168" y="110"/>
                    <a:pt x="168" y="110"/>
                  </a:cubicBezTo>
                  <a:cubicBezTo>
                    <a:pt x="172" y="107"/>
                    <a:pt x="176" y="104"/>
                    <a:pt x="180" y="101"/>
                  </a:cubicBezTo>
                  <a:cubicBezTo>
                    <a:pt x="183" y="99"/>
                    <a:pt x="187" y="99"/>
                    <a:pt x="191" y="100"/>
                  </a:cubicBezTo>
                  <a:cubicBezTo>
                    <a:pt x="194" y="102"/>
                    <a:pt x="198" y="104"/>
                    <a:pt x="201" y="105"/>
                  </a:cubicBezTo>
                  <a:cubicBezTo>
                    <a:pt x="204" y="106"/>
                    <a:pt x="207" y="108"/>
                    <a:pt x="209" y="111"/>
                  </a:cubicBezTo>
                  <a:cubicBezTo>
                    <a:pt x="213" y="117"/>
                    <a:pt x="218" y="122"/>
                    <a:pt x="223" y="128"/>
                  </a:cubicBezTo>
                  <a:cubicBezTo>
                    <a:pt x="226" y="132"/>
                    <a:pt x="231" y="134"/>
                    <a:pt x="236" y="134"/>
                  </a:cubicBezTo>
                  <a:cubicBezTo>
                    <a:pt x="245" y="134"/>
                    <a:pt x="253" y="136"/>
                    <a:pt x="261" y="140"/>
                  </a:cubicBezTo>
                  <a:cubicBezTo>
                    <a:pt x="262" y="140"/>
                    <a:pt x="262" y="140"/>
                    <a:pt x="263" y="140"/>
                  </a:cubicBezTo>
                  <a:cubicBezTo>
                    <a:pt x="264" y="140"/>
                    <a:pt x="265" y="140"/>
                    <a:pt x="266" y="139"/>
                  </a:cubicBezTo>
                  <a:cubicBezTo>
                    <a:pt x="266" y="138"/>
                    <a:pt x="267" y="137"/>
                    <a:pt x="267" y="136"/>
                  </a:cubicBezTo>
                  <a:cubicBezTo>
                    <a:pt x="266" y="134"/>
                    <a:pt x="265" y="132"/>
                    <a:pt x="263" y="131"/>
                  </a:cubicBezTo>
                  <a:cubicBezTo>
                    <a:pt x="259" y="130"/>
                    <a:pt x="259" y="127"/>
                    <a:pt x="260" y="124"/>
                  </a:cubicBezTo>
                  <a:cubicBezTo>
                    <a:pt x="256" y="125"/>
                    <a:pt x="252" y="125"/>
                    <a:pt x="251" y="12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130"/>
            <p:cNvSpPr>
              <a:spLocks/>
            </p:cNvSpPr>
            <p:nvPr/>
          </p:nvSpPr>
          <p:spPr bwMode="auto">
            <a:xfrm>
              <a:off x="4786841" y="4456817"/>
              <a:ext cx="297122" cy="320674"/>
            </a:xfrm>
            <a:custGeom>
              <a:avLst/>
              <a:gdLst>
                <a:gd name="T0" fmla="*/ 2 w 139"/>
                <a:gd name="T1" fmla="*/ 89 h 150"/>
                <a:gd name="T2" fmla="*/ 7 w 139"/>
                <a:gd name="T3" fmla="*/ 106 h 150"/>
                <a:gd name="T4" fmla="*/ 14 w 139"/>
                <a:gd name="T5" fmla="*/ 114 h 150"/>
                <a:gd name="T6" fmla="*/ 15 w 139"/>
                <a:gd name="T7" fmla="*/ 116 h 150"/>
                <a:gd name="T8" fmla="*/ 18 w 139"/>
                <a:gd name="T9" fmla="*/ 128 h 150"/>
                <a:gd name="T10" fmla="*/ 26 w 139"/>
                <a:gd name="T11" fmla="*/ 135 h 150"/>
                <a:gd name="T12" fmla="*/ 34 w 139"/>
                <a:gd name="T13" fmla="*/ 135 h 150"/>
                <a:gd name="T14" fmla="*/ 41 w 139"/>
                <a:gd name="T15" fmla="*/ 139 h 150"/>
                <a:gd name="T16" fmla="*/ 47 w 139"/>
                <a:gd name="T17" fmla="*/ 141 h 150"/>
                <a:gd name="T18" fmla="*/ 57 w 139"/>
                <a:gd name="T19" fmla="*/ 138 h 150"/>
                <a:gd name="T20" fmla="*/ 60 w 139"/>
                <a:gd name="T21" fmla="*/ 138 h 150"/>
                <a:gd name="T22" fmla="*/ 74 w 139"/>
                <a:gd name="T23" fmla="*/ 143 h 150"/>
                <a:gd name="T24" fmla="*/ 77 w 139"/>
                <a:gd name="T25" fmla="*/ 147 h 150"/>
                <a:gd name="T26" fmla="*/ 82 w 139"/>
                <a:gd name="T27" fmla="*/ 149 h 150"/>
                <a:gd name="T28" fmla="*/ 92 w 139"/>
                <a:gd name="T29" fmla="*/ 146 h 150"/>
                <a:gd name="T30" fmla="*/ 96 w 139"/>
                <a:gd name="T31" fmla="*/ 147 h 150"/>
                <a:gd name="T32" fmla="*/ 101 w 139"/>
                <a:gd name="T33" fmla="*/ 144 h 150"/>
                <a:gd name="T34" fmla="*/ 101 w 139"/>
                <a:gd name="T35" fmla="*/ 142 h 150"/>
                <a:gd name="T36" fmla="*/ 102 w 139"/>
                <a:gd name="T37" fmla="*/ 132 h 150"/>
                <a:gd name="T38" fmla="*/ 103 w 139"/>
                <a:gd name="T39" fmla="*/ 125 h 150"/>
                <a:gd name="T40" fmla="*/ 107 w 139"/>
                <a:gd name="T41" fmla="*/ 113 h 150"/>
                <a:gd name="T42" fmla="*/ 117 w 139"/>
                <a:gd name="T43" fmla="*/ 97 h 150"/>
                <a:gd name="T44" fmla="*/ 120 w 139"/>
                <a:gd name="T45" fmla="*/ 88 h 150"/>
                <a:gd name="T46" fmla="*/ 125 w 139"/>
                <a:gd name="T47" fmla="*/ 84 h 150"/>
                <a:gd name="T48" fmla="*/ 130 w 139"/>
                <a:gd name="T49" fmla="*/ 84 h 150"/>
                <a:gd name="T50" fmla="*/ 133 w 139"/>
                <a:gd name="T51" fmla="*/ 83 h 150"/>
                <a:gd name="T52" fmla="*/ 134 w 139"/>
                <a:gd name="T53" fmla="*/ 79 h 150"/>
                <a:gd name="T54" fmla="*/ 125 w 139"/>
                <a:gd name="T55" fmla="*/ 70 h 150"/>
                <a:gd name="T56" fmla="*/ 124 w 139"/>
                <a:gd name="T57" fmla="*/ 65 h 150"/>
                <a:gd name="T58" fmla="*/ 123 w 139"/>
                <a:gd name="T59" fmla="*/ 59 h 150"/>
                <a:gd name="T60" fmla="*/ 121 w 139"/>
                <a:gd name="T61" fmla="*/ 42 h 150"/>
                <a:gd name="T62" fmla="*/ 126 w 139"/>
                <a:gd name="T63" fmla="*/ 37 h 150"/>
                <a:gd name="T64" fmla="*/ 129 w 139"/>
                <a:gd name="T65" fmla="*/ 32 h 150"/>
                <a:gd name="T66" fmla="*/ 133 w 139"/>
                <a:gd name="T67" fmla="*/ 28 h 150"/>
                <a:gd name="T68" fmla="*/ 139 w 139"/>
                <a:gd name="T69" fmla="*/ 25 h 150"/>
                <a:gd name="T70" fmla="*/ 139 w 139"/>
                <a:gd name="T71" fmla="*/ 23 h 150"/>
                <a:gd name="T72" fmla="*/ 139 w 139"/>
                <a:gd name="T73" fmla="*/ 22 h 150"/>
                <a:gd name="T74" fmla="*/ 128 w 139"/>
                <a:gd name="T75" fmla="*/ 16 h 150"/>
                <a:gd name="T76" fmla="*/ 119 w 139"/>
                <a:gd name="T77" fmla="*/ 8 h 150"/>
                <a:gd name="T78" fmla="*/ 112 w 139"/>
                <a:gd name="T79" fmla="*/ 1 h 150"/>
                <a:gd name="T80" fmla="*/ 108 w 139"/>
                <a:gd name="T81" fmla="*/ 1 h 150"/>
                <a:gd name="T82" fmla="*/ 101 w 139"/>
                <a:gd name="T83" fmla="*/ 5 h 150"/>
                <a:gd name="T84" fmla="*/ 97 w 139"/>
                <a:gd name="T85" fmla="*/ 13 h 150"/>
                <a:gd name="T86" fmla="*/ 93 w 139"/>
                <a:gd name="T87" fmla="*/ 18 h 150"/>
                <a:gd name="T88" fmla="*/ 81 w 139"/>
                <a:gd name="T89" fmla="*/ 26 h 150"/>
                <a:gd name="T90" fmla="*/ 66 w 139"/>
                <a:gd name="T91" fmla="*/ 38 h 150"/>
                <a:gd name="T92" fmla="*/ 60 w 139"/>
                <a:gd name="T93" fmla="*/ 46 h 150"/>
                <a:gd name="T94" fmla="*/ 46 w 139"/>
                <a:gd name="T95" fmla="*/ 55 h 150"/>
                <a:gd name="T96" fmla="*/ 34 w 139"/>
                <a:gd name="T97" fmla="*/ 65 h 150"/>
                <a:gd name="T98" fmla="*/ 32 w 139"/>
                <a:gd name="T99" fmla="*/ 71 h 150"/>
                <a:gd name="T100" fmla="*/ 26 w 139"/>
                <a:gd name="T101" fmla="*/ 73 h 150"/>
                <a:gd name="T102" fmla="*/ 15 w 139"/>
                <a:gd name="T103" fmla="*/ 69 h 150"/>
                <a:gd name="T104" fmla="*/ 7 w 139"/>
                <a:gd name="T105" fmla="*/ 72 h 150"/>
                <a:gd name="T106" fmla="*/ 4 w 139"/>
                <a:gd name="T107" fmla="*/ 76 h 150"/>
                <a:gd name="T108" fmla="*/ 2 w 139"/>
                <a:gd name="T109" fmla="*/ 8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9" h="150">
                  <a:moveTo>
                    <a:pt x="2" y="89"/>
                  </a:moveTo>
                  <a:cubicBezTo>
                    <a:pt x="4" y="95"/>
                    <a:pt x="5" y="100"/>
                    <a:pt x="7" y="106"/>
                  </a:cubicBezTo>
                  <a:cubicBezTo>
                    <a:pt x="8" y="109"/>
                    <a:pt x="9" y="113"/>
                    <a:pt x="14" y="114"/>
                  </a:cubicBezTo>
                  <a:cubicBezTo>
                    <a:pt x="14" y="114"/>
                    <a:pt x="15" y="115"/>
                    <a:pt x="15" y="116"/>
                  </a:cubicBezTo>
                  <a:cubicBezTo>
                    <a:pt x="15" y="120"/>
                    <a:pt x="17" y="124"/>
                    <a:pt x="18" y="128"/>
                  </a:cubicBezTo>
                  <a:cubicBezTo>
                    <a:pt x="19" y="132"/>
                    <a:pt x="21" y="134"/>
                    <a:pt x="26" y="135"/>
                  </a:cubicBezTo>
                  <a:cubicBezTo>
                    <a:pt x="28" y="135"/>
                    <a:pt x="31" y="135"/>
                    <a:pt x="34" y="135"/>
                  </a:cubicBezTo>
                  <a:cubicBezTo>
                    <a:pt x="37" y="135"/>
                    <a:pt x="39" y="136"/>
                    <a:pt x="41" y="139"/>
                  </a:cubicBezTo>
                  <a:cubicBezTo>
                    <a:pt x="42" y="142"/>
                    <a:pt x="44" y="142"/>
                    <a:pt x="47" y="141"/>
                  </a:cubicBezTo>
                  <a:cubicBezTo>
                    <a:pt x="50" y="140"/>
                    <a:pt x="54" y="139"/>
                    <a:pt x="57" y="138"/>
                  </a:cubicBezTo>
                  <a:cubicBezTo>
                    <a:pt x="58" y="138"/>
                    <a:pt x="59" y="138"/>
                    <a:pt x="60" y="138"/>
                  </a:cubicBezTo>
                  <a:cubicBezTo>
                    <a:pt x="65" y="140"/>
                    <a:pt x="69" y="141"/>
                    <a:pt x="74" y="143"/>
                  </a:cubicBezTo>
                  <a:cubicBezTo>
                    <a:pt x="75" y="144"/>
                    <a:pt x="75" y="146"/>
                    <a:pt x="77" y="147"/>
                  </a:cubicBezTo>
                  <a:cubicBezTo>
                    <a:pt x="78" y="148"/>
                    <a:pt x="80" y="150"/>
                    <a:pt x="82" y="149"/>
                  </a:cubicBezTo>
                  <a:cubicBezTo>
                    <a:pt x="85" y="148"/>
                    <a:pt x="88" y="147"/>
                    <a:pt x="92" y="146"/>
                  </a:cubicBezTo>
                  <a:cubicBezTo>
                    <a:pt x="93" y="146"/>
                    <a:pt x="95" y="147"/>
                    <a:pt x="96" y="147"/>
                  </a:cubicBezTo>
                  <a:cubicBezTo>
                    <a:pt x="98" y="147"/>
                    <a:pt x="101" y="146"/>
                    <a:pt x="101" y="144"/>
                  </a:cubicBezTo>
                  <a:cubicBezTo>
                    <a:pt x="101" y="143"/>
                    <a:pt x="101" y="143"/>
                    <a:pt x="101" y="142"/>
                  </a:cubicBezTo>
                  <a:cubicBezTo>
                    <a:pt x="100" y="139"/>
                    <a:pt x="99" y="136"/>
                    <a:pt x="102" y="132"/>
                  </a:cubicBezTo>
                  <a:cubicBezTo>
                    <a:pt x="103" y="130"/>
                    <a:pt x="104" y="127"/>
                    <a:pt x="103" y="125"/>
                  </a:cubicBezTo>
                  <a:cubicBezTo>
                    <a:pt x="103" y="120"/>
                    <a:pt x="104" y="116"/>
                    <a:pt x="107" y="113"/>
                  </a:cubicBezTo>
                  <a:cubicBezTo>
                    <a:pt x="112" y="108"/>
                    <a:pt x="114" y="102"/>
                    <a:pt x="117" y="97"/>
                  </a:cubicBezTo>
                  <a:cubicBezTo>
                    <a:pt x="118" y="94"/>
                    <a:pt x="119" y="91"/>
                    <a:pt x="120" y="88"/>
                  </a:cubicBezTo>
                  <a:cubicBezTo>
                    <a:pt x="121" y="86"/>
                    <a:pt x="123" y="85"/>
                    <a:pt x="125" y="84"/>
                  </a:cubicBezTo>
                  <a:cubicBezTo>
                    <a:pt x="127" y="84"/>
                    <a:pt x="128" y="84"/>
                    <a:pt x="130" y="84"/>
                  </a:cubicBezTo>
                  <a:cubicBezTo>
                    <a:pt x="131" y="84"/>
                    <a:pt x="132" y="83"/>
                    <a:pt x="133" y="83"/>
                  </a:cubicBezTo>
                  <a:cubicBezTo>
                    <a:pt x="134" y="83"/>
                    <a:pt x="135" y="80"/>
                    <a:pt x="134" y="79"/>
                  </a:cubicBezTo>
                  <a:cubicBezTo>
                    <a:pt x="132" y="75"/>
                    <a:pt x="128" y="74"/>
                    <a:pt x="125" y="70"/>
                  </a:cubicBezTo>
                  <a:cubicBezTo>
                    <a:pt x="123" y="69"/>
                    <a:pt x="123" y="67"/>
                    <a:pt x="124" y="65"/>
                  </a:cubicBezTo>
                  <a:cubicBezTo>
                    <a:pt x="125" y="63"/>
                    <a:pt x="125" y="61"/>
                    <a:pt x="123" y="59"/>
                  </a:cubicBezTo>
                  <a:cubicBezTo>
                    <a:pt x="117" y="53"/>
                    <a:pt x="119" y="48"/>
                    <a:pt x="121" y="42"/>
                  </a:cubicBezTo>
                  <a:cubicBezTo>
                    <a:pt x="122" y="40"/>
                    <a:pt x="124" y="38"/>
                    <a:pt x="126" y="37"/>
                  </a:cubicBezTo>
                  <a:cubicBezTo>
                    <a:pt x="128" y="36"/>
                    <a:pt x="129" y="34"/>
                    <a:pt x="129" y="32"/>
                  </a:cubicBezTo>
                  <a:cubicBezTo>
                    <a:pt x="130" y="30"/>
                    <a:pt x="131" y="28"/>
                    <a:pt x="133" y="28"/>
                  </a:cubicBezTo>
                  <a:cubicBezTo>
                    <a:pt x="135" y="27"/>
                    <a:pt x="138" y="27"/>
                    <a:pt x="139" y="25"/>
                  </a:cubicBezTo>
                  <a:cubicBezTo>
                    <a:pt x="139" y="24"/>
                    <a:pt x="139" y="24"/>
                    <a:pt x="139" y="23"/>
                  </a:cubicBezTo>
                  <a:cubicBezTo>
                    <a:pt x="139" y="23"/>
                    <a:pt x="139" y="22"/>
                    <a:pt x="139" y="22"/>
                  </a:cubicBezTo>
                  <a:cubicBezTo>
                    <a:pt x="135" y="20"/>
                    <a:pt x="132" y="18"/>
                    <a:pt x="128" y="16"/>
                  </a:cubicBezTo>
                  <a:cubicBezTo>
                    <a:pt x="124" y="14"/>
                    <a:pt x="120" y="13"/>
                    <a:pt x="119" y="8"/>
                  </a:cubicBezTo>
                  <a:cubicBezTo>
                    <a:pt x="117" y="5"/>
                    <a:pt x="115" y="3"/>
                    <a:pt x="112" y="1"/>
                  </a:cubicBezTo>
                  <a:cubicBezTo>
                    <a:pt x="111" y="0"/>
                    <a:pt x="109" y="0"/>
                    <a:pt x="108" y="1"/>
                  </a:cubicBezTo>
                  <a:cubicBezTo>
                    <a:pt x="105" y="1"/>
                    <a:pt x="103" y="3"/>
                    <a:pt x="101" y="5"/>
                  </a:cubicBezTo>
                  <a:cubicBezTo>
                    <a:pt x="100" y="8"/>
                    <a:pt x="98" y="11"/>
                    <a:pt x="97" y="13"/>
                  </a:cubicBezTo>
                  <a:cubicBezTo>
                    <a:pt x="96" y="15"/>
                    <a:pt x="94" y="17"/>
                    <a:pt x="93" y="18"/>
                  </a:cubicBezTo>
                  <a:cubicBezTo>
                    <a:pt x="89" y="21"/>
                    <a:pt x="85" y="24"/>
                    <a:pt x="81" y="26"/>
                  </a:cubicBezTo>
                  <a:cubicBezTo>
                    <a:pt x="74" y="28"/>
                    <a:pt x="69" y="32"/>
                    <a:pt x="66" y="38"/>
                  </a:cubicBezTo>
                  <a:cubicBezTo>
                    <a:pt x="65" y="41"/>
                    <a:pt x="62" y="43"/>
                    <a:pt x="60" y="46"/>
                  </a:cubicBezTo>
                  <a:cubicBezTo>
                    <a:pt x="57" y="51"/>
                    <a:pt x="52" y="54"/>
                    <a:pt x="46" y="55"/>
                  </a:cubicBezTo>
                  <a:cubicBezTo>
                    <a:pt x="40" y="56"/>
                    <a:pt x="36" y="60"/>
                    <a:pt x="34" y="65"/>
                  </a:cubicBezTo>
                  <a:cubicBezTo>
                    <a:pt x="33" y="67"/>
                    <a:pt x="33" y="69"/>
                    <a:pt x="32" y="71"/>
                  </a:cubicBezTo>
                  <a:cubicBezTo>
                    <a:pt x="31" y="72"/>
                    <a:pt x="28" y="74"/>
                    <a:pt x="26" y="73"/>
                  </a:cubicBezTo>
                  <a:cubicBezTo>
                    <a:pt x="22" y="72"/>
                    <a:pt x="19" y="70"/>
                    <a:pt x="15" y="69"/>
                  </a:cubicBezTo>
                  <a:cubicBezTo>
                    <a:pt x="12" y="68"/>
                    <a:pt x="9" y="69"/>
                    <a:pt x="7" y="72"/>
                  </a:cubicBezTo>
                  <a:cubicBezTo>
                    <a:pt x="6" y="73"/>
                    <a:pt x="5" y="74"/>
                    <a:pt x="4" y="76"/>
                  </a:cubicBezTo>
                  <a:cubicBezTo>
                    <a:pt x="2" y="80"/>
                    <a:pt x="0" y="85"/>
                    <a:pt x="2" y="8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131"/>
            <p:cNvSpPr>
              <a:spLocks/>
            </p:cNvSpPr>
            <p:nvPr/>
          </p:nvSpPr>
          <p:spPr bwMode="auto">
            <a:xfrm>
              <a:off x="2827469" y="4989461"/>
              <a:ext cx="226465" cy="392237"/>
            </a:xfrm>
            <a:custGeom>
              <a:avLst/>
              <a:gdLst>
                <a:gd name="T0" fmla="*/ 94 w 106"/>
                <a:gd name="T1" fmla="*/ 1 h 183"/>
                <a:gd name="T2" fmla="*/ 91 w 106"/>
                <a:gd name="T3" fmla="*/ 1 h 183"/>
                <a:gd name="T4" fmla="*/ 87 w 106"/>
                <a:gd name="T5" fmla="*/ 9 h 183"/>
                <a:gd name="T6" fmla="*/ 82 w 106"/>
                <a:gd name="T7" fmla="*/ 16 h 183"/>
                <a:gd name="T8" fmla="*/ 80 w 106"/>
                <a:gd name="T9" fmla="*/ 19 h 183"/>
                <a:gd name="T10" fmla="*/ 73 w 106"/>
                <a:gd name="T11" fmla="*/ 27 h 183"/>
                <a:gd name="T12" fmla="*/ 64 w 106"/>
                <a:gd name="T13" fmla="*/ 37 h 183"/>
                <a:gd name="T14" fmla="*/ 53 w 106"/>
                <a:gd name="T15" fmla="*/ 46 h 183"/>
                <a:gd name="T16" fmla="*/ 39 w 106"/>
                <a:gd name="T17" fmla="*/ 50 h 183"/>
                <a:gd name="T18" fmla="*/ 37 w 106"/>
                <a:gd name="T19" fmla="*/ 50 h 183"/>
                <a:gd name="T20" fmla="*/ 23 w 106"/>
                <a:gd name="T21" fmla="*/ 56 h 183"/>
                <a:gd name="T22" fmla="*/ 18 w 106"/>
                <a:gd name="T23" fmla="*/ 65 h 183"/>
                <a:gd name="T24" fmla="*/ 17 w 106"/>
                <a:gd name="T25" fmla="*/ 85 h 183"/>
                <a:gd name="T26" fmla="*/ 19 w 106"/>
                <a:gd name="T27" fmla="*/ 91 h 183"/>
                <a:gd name="T28" fmla="*/ 17 w 106"/>
                <a:gd name="T29" fmla="*/ 107 h 183"/>
                <a:gd name="T30" fmla="*/ 6 w 106"/>
                <a:gd name="T31" fmla="*/ 123 h 183"/>
                <a:gd name="T32" fmla="*/ 3 w 106"/>
                <a:gd name="T33" fmla="*/ 143 h 183"/>
                <a:gd name="T34" fmla="*/ 5 w 106"/>
                <a:gd name="T35" fmla="*/ 154 h 183"/>
                <a:gd name="T36" fmla="*/ 5 w 106"/>
                <a:gd name="T37" fmla="*/ 164 h 183"/>
                <a:gd name="T38" fmla="*/ 7 w 106"/>
                <a:gd name="T39" fmla="*/ 169 h 183"/>
                <a:gd name="T40" fmla="*/ 24 w 106"/>
                <a:gd name="T41" fmla="*/ 181 h 183"/>
                <a:gd name="T42" fmla="*/ 35 w 106"/>
                <a:gd name="T43" fmla="*/ 178 h 183"/>
                <a:gd name="T44" fmla="*/ 43 w 106"/>
                <a:gd name="T45" fmla="*/ 177 h 183"/>
                <a:gd name="T46" fmla="*/ 56 w 106"/>
                <a:gd name="T47" fmla="*/ 168 h 183"/>
                <a:gd name="T48" fmla="*/ 61 w 106"/>
                <a:gd name="T49" fmla="*/ 157 h 183"/>
                <a:gd name="T50" fmla="*/ 72 w 106"/>
                <a:gd name="T51" fmla="*/ 129 h 183"/>
                <a:gd name="T52" fmla="*/ 88 w 106"/>
                <a:gd name="T53" fmla="*/ 88 h 183"/>
                <a:gd name="T54" fmla="*/ 92 w 106"/>
                <a:gd name="T55" fmla="*/ 76 h 183"/>
                <a:gd name="T56" fmla="*/ 96 w 106"/>
                <a:gd name="T57" fmla="*/ 61 h 183"/>
                <a:gd name="T58" fmla="*/ 103 w 106"/>
                <a:gd name="T59" fmla="*/ 50 h 183"/>
                <a:gd name="T60" fmla="*/ 106 w 106"/>
                <a:gd name="T61" fmla="*/ 42 h 183"/>
                <a:gd name="T62" fmla="*/ 104 w 106"/>
                <a:gd name="T63" fmla="*/ 28 h 183"/>
                <a:gd name="T64" fmla="*/ 94 w 106"/>
                <a:gd name="T65" fmla="*/ 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83">
                  <a:moveTo>
                    <a:pt x="94" y="1"/>
                  </a:moveTo>
                  <a:cubicBezTo>
                    <a:pt x="93" y="0"/>
                    <a:pt x="92" y="0"/>
                    <a:pt x="91" y="1"/>
                  </a:cubicBezTo>
                  <a:cubicBezTo>
                    <a:pt x="88" y="3"/>
                    <a:pt x="87" y="6"/>
                    <a:pt x="87" y="9"/>
                  </a:cubicBezTo>
                  <a:cubicBezTo>
                    <a:pt x="86" y="12"/>
                    <a:pt x="85" y="15"/>
                    <a:pt x="82" y="16"/>
                  </a:cubicBezTo>
                  <a:cubicBezTo>
                    <a:pt x="81" y="17"/>
                    <a:pt x="81" y="19"/>
                    <a:pt x="80" y="19"/>
                  </a:cubicBezTo>
                  <a:cubicBezTo>
                    <a:pt x="77" y="21"/>
                    <a:pt x="74" y="22"/>
                    <a:pt x="73" y="27"/>
                  </a:cubicBezTo>
                  <a:cubicBezTo>
                    <a:pt x="73" y="31"/>
                    <a:pt x="69" y="35"/>
                    <a:pt x="64" y="37"/>
                  </a:cubicBezTo>
                  <a:cubicBezTo>
                    <a:pt x="60" y="39"/>
                    <a:pt x="57" y="43"/>
                    <a:pt x="53" y="46"/>
                  </a:cubicBezTo>
                  <a:cubicBezTo>
                    <a:pt x="48" y="48"/>
                    <a:pt x="43" y="48"/>
                    <a:pt x="39" y="50"/>
                  </a:cubicBezTo>
                  <a:cubicBezTo>
                    <a:pt x="38" y="50"/>
                    <a:pt x="37" y="50"/>
                    <a:pt x="37" y="50"/>
                  </a:cubicBezTo>
                  <a:cubicBezTo>
                    <a:pt x="32" y="52"/>
                    <a:pt x="28" y="54"/>
                    <a:pt x="23" y="56"/>
                  </a:cubicBezTo>
                  <a:cubicBezTo>
                    <a:pt x="22" y="59"/>
                    <a:pt x="20" y="62"/>
                    <a:pt x="18" y="65"/>
                  </a:cubicBezTo>
                  <a:cubicBezTo>
                    <a:pt x="14" y="72"/>
                    <a:pt x="14" y="78"/>
                    <a:pt x="17" y="85"/>
                  </a:cubicBezTo>
                  <a:cubicBezTo>
                    <a:pt x="17" y="87"/>
                    <a:pt x="18" y="89"/>
                    <a:pt x="19" y="91"/>
                  </a:cubicBezTo>
                  <a:cubicBezTo>
                    <a:pt x="22" y="97"/>
                    <a:pt x="21" y="102"/>
                    <a:pt x="17" y="107"/>
                  </a:cubicBezTo>
                  <a:cubicBezTo>
                    <a:pt x="13" y="112"/>
                    <a:pt x="10" y="118"/>
                    <a:pt x="6" y="123"/>
                  </a:cubicBezTo>
                  <a:cubicBezTo>
                    <a:pt x="2" y="129"/>
                    <a:pt x="0" y="136"/>
                    <a:pt x="3" y="143"/>
                  </a:cubicBezTo>
                  <a:cubicBezTo>
                    <a:pt x="4" y="147"/>
                    <a:pt x="5" y="150"/>
                    <a:pt x="5" y="154"/>
                  </a:cubicBezTo>
                  <a:cubicBezTo>
                    <a:pt x="5" y="157"/>
                    <a:pt x="4" y="160"/>
                    <a:pt x="5" y="164"/>
                  </a:cubicBezTo>
                  <a:cubicBezTo>
                    <a:pt x="5" y="165"/>
                    <a:pt x="6" y="168"/>
                    <a:pt x="7" y="169"/>
                  </a:cubicBezTo>
                  <a:cubicBezTo>
                    <a:pt x="11" y="175"/>
                    <a:pt x="18" y="179"/>
                    <a:pt x="24" y="181"/>
                  </a:cubicBezTo>
                  <a:cubicBezTo>
                    <a:pt x="28" y="183"/>
                    <a:pt x="31" y="180"/>
                    <a:pt x="35" y="178"/>
                  </a:cubicBezTo>
                  <a:cubicBezTo>
                    <a:pt x="37" y="177"/>
                    <a:pt x="40" y="177"/>
                    <a:pt x="43" y="177"/>
                  </a:cubicBezTo>
                  <a:cubicBezTo>
                    <a:pt x="49" y="176"/>
                    <a:pt x="53" y="173"/>
                    <a:pt x="56" y="168"/>
                  </a:cubicBezTo>
                  <a:cubicBezTo>
                    <a:pt x="58" y="164"/>
                    <a:pt x="59" y="161"/>
                    <a:pt x="61" y="157"/>
                  </a:cubicBezTo>
                  <a:cubicBezTo>
                    <a:pt x="65" y="147"/>
                    <a:pt x="68" y="138"/>
                    <a:pt x="72" y="129"/>
                  </a:cubicBezTo>
                  <a:cubicBezTo>
                    <a:pt x="78" y="116"/>
                    <a:pt x="82" y="101"/>
                    <a:pt x="88" y="88"/>
                  </a:cubicBezTo>
                  <a:cubicBezTo>
                    <a:pt x="90" y="84"/>
                    <a:pt x="91" y="80"/>
                    <a:pt x="92" y="76"/>
                  </a:cubicBezTo>
                  <a:cubicBezTo>
                    <a:pt x="93" y="71"/>
                    <a:pt x="94" y="66"/>
                    <a:pt x="96" y="61"/>
                  </a:cubicBezTo>
                  <a:cubicBezTo>
                    <a:pt x="98" y="57"/>
                    <a:pt x="97" y="51"/>
                    <a:pt x="103" y="50"/>
                  </a:cubicBezTo>
                  <a:cubicBezTo>
                    <a:pt x="105" y="47"/>
                    <a:pt x="106" y="45"/>
                    <a:pt x="106" y="42"/>
                  </a:cubicBezTo>
                  <a:cubicBezTo>
                    <a:pt x="105" y="38"/>
                    <a:pt x="104" y="33"/>
                    <a:pt x="104" y="28"/>
                  </a:cubicBezTo>
                  <a:cubicBezTo>
                    <a:pt x="104" y="18"/>
                    <a:pt x="101" y="9"/>
                    <a:pt x="94"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32"/>
            <p:cNvSpPr>
              <a:spLocks/>
            </p:cNvSpPr>
            <p:nvPr/>
          </p:nvSpPr>
          <p:spPr bwMode="auto">
            <a:xfrm>
              <a:off x="2716049" y="1697572"/>
              <a:ext cx="265416" cy="466517"/>
            </a:xfrm>
            <a:custGeom>
              <a:avLst/>
              <a:gdLst>
                <a:gd name="T0" fmla="*/ 12 w 124"/>
                <a:gd name="T1" fmla="*/ 139 h 218"/>
                <a:gd name="T2" fmla="*/ 5 w 124"/>
                <a:gd name="T3" fmla="*/ 155 h 218"/>
                <a:gd name="T4" fmla="*/ 6 w 124"/>
                <a:gd name="T5" fmla="*/ 162 h 218"/>
                <a:gd name="T6" fmla="*/ 9 w 124"/>
                <a:gd name="T7" fmla="*/ 166 h 218"/>
                <a:gd name="T8" fmla="*/ 7 w 124"/>
                <a:gd name="T9" fmla="*/ 175 h 218"/>
                <a:gd name="T10" fmla="*/ 1 w 124"/>
                <a:gd name="T11" fmla="*/ 180 h 218"/>
                <a:gd name="T12" fmla="*/ 2 w 124"/>
                <a:gd name="T13" fmla="*/ 189 h 218"/>
                <a:gd name="T14" fmla="*/ 8 w 124"/>
                <a:gd name="T15" fmla="*/ 196 h 218"/>
                <a:gd name="T16" fmla="*/ 13 w 124"/>
                <a:gd name="T17" fmla="*/ 197 h 218"/>
                <a:gd name="T18" fmla="*/ 19 w 124"/>
                <a:gd name="T19" fmla="*/ 196 h 218"/>
                <a:gd name="T20" fmla="*/ 28 w 124"/>
                <a:gd name="T21" fmla="*/ 200 h 218"/>
                <a:gd name="T22" fmla="*/ 30 w 124"/>
                <a:gd name="T23" fmla="*/ 205 h 218"/>
                <a:gd name="T24" fmla="*/ 39 w 124"/>
                <a:gd name="T25" fmla="*/ 213 h 218"/>
                <a:gd name="T26" fmla="*/ 46 w 124"/>
                <a:gd name="T27" fmla="*/ 216 h 218"/>
                <a:gd name="T28" fmla="*/ 54 w 124"/>
                <a:gd name="T29" fmla="*/ 217 h 218"/>
                <a:gd name="T30" fmla="*/ 61 w 124"/>
                <a:gd name="T31" fmla="*/ 217 h 218"/>
                <a:gd name="T32" fmla="*/ 61 w 124"/>
                <a:gd name="T33" fmla="*/ 218 h 218"/>
                <a:gd name="T34" fmla="*/ 71 w 124"/>
                <a:gd name="T35" fmla="*/ 217 h 218"/>
                <a:gd name="T36" fmla="*/ 73 w 124"/>
                <a:gd name="T37" fmla="*/ 216 h 218"/>
                <a:gd name="T38" fmla="*/ 75 w 124"/>
                <a:gd name="T39" fmla="*/ 211 h 218"/>
                <a:gd name="T40" fmla="*/ 73 w 124"/>
                <a:gd name="T41" fmla="*/ 206 h 218"/>
                <a:gd name="T42" fmla="*/ 63 w 124"/>
                <a:gd name="T43" fmla="*/ 200 h 218"/>
                <a:gd name="T44" fmla="*/ 45 w 124"/>
                <a:gd name="T45" fmla="*/ 177 h 218"/>
                <a:gd name="T46" fmla="*/ 41 w 124"/>
                <a:gd name="T47" fmla="*/ 163 h 218"/>
                <a:gd name="T48" fmla="*/ 41 w 124"/>
                <a:gd name="T49" fmla="*/ 143 h 218"/>
                <a:gd name="T50" fmla="*/ 45 w 124"/>
                <a:gd name="T51" fmla="*/ 134 h 218"/>
                <a:gd name="T52" fmla="*/ 47 w 124"/>
                <a:gd name="T53" fmla="*/ 128 h 218"/>
                <a:gd name="T54" fmla="*/ 51 w 124"/>
                <a:gd name="T55" fmla="*/ 102 h 218"/>
                <a:gd name="T56" fmla="*/ 56 w 124"/>
                <a:gd name="T57" fmla="*/ 93 h 218"/>
                <a:gd name="T58" fmla="*/ 66 w 124"/>
                <a:gd name="T59" fmla="*/ 81 h 218"/>
                <a:gd name="T60" fmla="*/ 77 w 124"/>
                <a:gd name="T61" fmla="*/ 64 h 218"/>
                <a:gd name="T62" fmla="*/ 90 w 124"/>
                <a:gd name="T63" fmla="*/ 49 h 218"/>
                <a:gd name="T64" fmla="*/ 108 w 124"/>
                <a:gd name="T65" fmla="*/ 36 h 218"/>
                <a:gd name="T66" fmla="*/ 116 w 124"/>
                <a:gd name="T67" fmla="*/ 30 h 218"/>
                <a:gd name="T68" fmla="*/ 121 w 124"/>
                <a:gd name="T69" fmla="*/ 16 h 218"/>
                <a:gd name="T70" fmla="*/ 120 w 124"/>
                <a:gd name="T71" fmla="*/ 11 h 218"/>
                <a:gd name="T72" fmla="*/ 116 w 124"/>
                <a:gd name="T73" fmla="*/ 6 h 218"/>
                <a:gd name="T74" fmla="*/ 112 w 124"/>
                <a:gd name="T75" fmla="*/ 3 h 218"/>
                <a:gd name="T76" fmla="*/ 100 w 124"/>
                <a:gd name="T77" fmla="*/ 2 h 218"/>
                <a:gd name="T78" fmla="*/ 88 w 124"/>
                <a:gd name="T79" fmla="*/ 16 h 218"/>
                <a:gd name="T80" fmla="*/ 80 w 124"/>
                <a:gd name="T81" fmla="*/ 26 h 218"/>
                <a:gd name="T82" fmla="*/ 64 w 124"/>
                <a:gd name="T83" fmla="*/ 32 h 218"/>
                <a:gd name="T84" fmla="*/ 42 w 124"/>
                <a:gd name="T85" fmla="*/ 45 h 218"/>
                <a:gd name="T86" fmla="*/ 42 w 124"/>
                <a:gd name="T87" fmla="*/ 46 h 218"/>
                <a:gd name="T88" fmla="*/ 35 w 124"/>
                <a:gd name="T89" fmla="*/ 51 h 218"/>
                <a:gd name="T90" fmla="*/ 31 w 124"/>
                <a:gd name="T91" fmla="*/ 55 h 218"/>
                <a:gd name="T92" fmla="*/ 28 w 124"/>
                <a:gd name="T93" fmla="*/ 63 h 218"/>
                <a:gd name="T94" fmla="*/ 27 w 124"/>
                <a:gd name="T95" fmla="*/ 70 h 218"/>
                <a:gd name="T96" fmla="*/ 26 w 124"/>
                <a:gd name="T97" fmla="*/ 72 h 218"/>
                <a:gd name="T98" fmla="*/ 25 w 124"/>
                <a:gd name="T99" fmla="*/ 73 h 218"/>
                <a:gd name="T100" fmla="*/ 19 w 124"/>
                <a:gd name="T101" fmla="*/ 78 h 218"/>
                <a:gd name="T102" fmla="*/ 13 w 124"/>
                <a:gd name="T103" fmla="*/ 81 h 218"/>
                <a:gd name="T104" fmla="*/ 11 w 124"/>
                <a:gd name="T105" fmla="*/ 84 h 218"/>
                <a:gd name="T106" fmla="*/ 17 w 124"/>
                <a:gd name="T107" fmla="*/ 94 h 218"/>
                <a:gd name="T108" fmla="*/ 16 w 124"/>
                <a:gd name="T109" fmla="*/ 106 h 218"/>
                <a:gd name="T110" fmla="*/ 14 w 124"/>
                <a:gd name="T111" fmla="*/ 113 h 218"/>
                <a:gd name="T112" fmla="*/ 8 w 124"/>
                <a:gd name="T113" fmla="*/ 123 h 218"/>
                <a:gd name="T114" fmla="*/ 10 w 124"/>
                <a:gd name="T115" fmla="*/ 130 h 218"/>
                <a:gd name="T116" fmla="*/ 12 w 124"/>
                <a:gd name="T117"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4" h="218">
                  <a:moveTo>
                    <a:pt x="12" y="139"/>
                  </a:moveTo>
                  <a:cubicBezTo>
                    <a:pt x="7" y="144"/>
                    <a:pt x="8" y="150"/>
                    <a:pt x="5" y="155"/>
                  </a:cubicBezTo>
                  <a:cubicBezTo>
                    <a:pt x="3" y="157"/>
                    <a:pt x="4" y="160"/>
                    <a:pt x="6" y="162"/>
                  </a:cubicBezTo>
                  <a:cubicBezTo>
                    <a:pt x="7" y="163"/>
                    <a:pt x="8" y="164"/>
                    <a:pt x="9" y="166"/>
                  </a:cubicBezTo>
                  <a:cubicBezTo>
                    <a:pt x="11" y="169"/>
                    <a:pt x="10" y="173"/>
                    <a:pt x="7" y="175"/>
                  </a:cubicBezTo>
                  <a:cubicBezTo>
                    <a:pt x="4" y="176"/>
                    <a:pt x="2" y="177"/>
                    <a:pt x="1" y="180"/>
                  </a:cubicBezTo>
                  <a:cubicBezTo>
                    <a:pt x="0" y="183"/>
                    <a:pt x="0" y="186"/>
                    <a:pt x="2" y="189"/>
                  </a:cubicBezTo>
                  <a:cubicBezTo>
                    <a:pt x="3" y="192"/>
                    <a:pt x="5" y="195"/>
                    <a:pt x="8" y="196"/>
                  </a:cubicBezTo>
                  <a:cubicBezTo>
                    <a:pt x="9" y="197"/>
                    <a:pt x="11" y="198"/>
                    <a:pt x="13" y="197"/>
                  </a:cubicBezTo>
                  <a:cubicBezTo>
                    <a:pt x="15" y="197"/>
                    <a:pt x="17" y="196"/>
                    <a:pt x="19" y="196"/>
                  </a:cubicBezTo>
                  <a:cubicBezTo>
                    <a:pt x="23" y="195"/>
                    <a:pt x="25" y="197"/>
                    <a:pt x="28" y="200"/>
                  </a:cubicBezTo>
                  <a:cubicBezTo>
                    <a:pt x="29" y="201"/>
                    <a:pt x="30" y="203"/>
                    <a:pt x="30" y="205"/>
                  </a:cubicBezTo>
                  <a:cubicBezTo>
                    <a:pt x="31" y="210"/>
                    <a:pt x="34" y="212"/>
                    <a:pt x="39" y="213"/>
                  </a:cubicBezTo>
                  <a:cubicBezTo>
                    <a:pt x="41" y="214"/>
                    <a:pt x="44" y="215"/>
                    <a:pt x="46" y="216"/>
                  </a:cubicBezTo>
                  <a:cubicBezTo>
                    <a:pt x="49" y="217"/>
                    <a:pt x="51" y="218"/>
                    <a:pt x="54" y="217"/>
                  </a:cubicBezTo>
                  <a:cubicBezTo>
                    <a:pt x="57" y="217"/>
                    <a:pt x="59" y="217"/>
                    <a:pt x="61" y="217"/>
                  </a:cubicBezTo>
                  <a:cubicBezTo>
                    <a:pt x="61" y="217"/>
                    <a:pt x="61" y="217"/>
                    <a:pt x="61" y="218"/>
                  </a:cubicBezTo>
                  <a:cubicBezTo>
                    <a:pt x="64" y="218"/>
                    <a:pt x="68" y="218"/>
                    <a:pt x="71" y="217"/>
                  </a:cubicBezTo>
                  <a:cubicBezTo>
                    <a:pt x="72" y="217"/>
                    <a:pt x="73" y="217"/>
                    <a:pt x="73" y="216"/>
                  </a:cubicBezTo>
                  <a:cubicBezTo>
                    <a:pt x="74" y="214"/>
                    <a:pt x="74" y="213"/>
                    <a:pt x="75" y="211"/>
                  </a:cubicBezTo>
                  <a:cubicBezTo>
                    <a:pt x="75" y="209"/>
                    <a:pt x="74" y="207"/>
                    <a:pt x="73" y="206"/>
                  </a:cubicBezTo>
                  <a:cubicBezTo>
                    <a:pt x="69" y="204"/>
                    <a:pt x="66" y="202"/>
                    <a:pt x="63" y="200"/>
                  </a:cubicBezTo>
                  <a:cubicBezTo>
                    <a:pt x="54" y="194"/>
                    <a:pt x="48" y="186"/>
                    <a:pt x="45" y="177"/>
                  </a:cubicBezTo>
                  <a:cubicBezTo>
                    <a:pt x="43" y="172"/>
                    <a:pt x="42" y="168"/>
                    <a:pt x="41" y="163"/>
                  </a:cubicBezTo>
                  <a:cubicBezTo>
                    <a:pt x="39" y="156"/>
                    <a:pt x="41" y="149"/>
                    <a:pt x="41" y="143"/>
                  </a:cubicBezTo>
                  <a:cubicBezTo>
                    <a:pt x="41" y="139"/>
                    <a:pt x="44" y="137"/>
                    <a:pt x="45" y="134"/>
                  </a:cubicBezTo>
                  <a:cubicBezTo>
                    <a:pt x="46" y="133"/>
                    <a:pt x="47" y="130"/>
                    <a:pt x="47" y="128"/>
                  </a:cubicBezTo>
                  <a:cubicBezTo>
                    <a:pt x="49" y="120"/>
                    <a:pt x="50" y="111"/>
                    <a:pt x="51" y="102"/>
                  </a:cubicBezTo>
                  <a:cubicBezTo>
                    <a:pt x="52" y="98"/>
                    <a:pt x="53" y="95"/>
                    <a:pt x="56" y="93"/>
                  </a:cubicBezTo>
                  <a:cubicBezTo>
                    <a:pt x="61" y="90"/>
                    <a:pt x="64" y="86"/>
                    <a:pt x="66" y="81"/>
                  </a:cubicBezTo>
                  <a:cubicBezTo>
                    <a:pt x="69" y="75"/>
                    <a:pt x="74" y="69"/>
                    <a:pt x="77" y="64"/>
                  </a:cubicBezTo>
                  <a:cubicBezTo>
                    <a:pt x="81" y="58"/>
                    <a:pt x="85" y="54"/>
                    <a:pt x="90" y="49"/>
                  </a:cubicBezTo>
                  <a:cubicBezTo>
                    <a:pt x="96" y="45"/>
                    <a:pt x="101" y="40"/>
                    <a:pt x="108" y="36"/>
                  </a:cubicBezTo>
                  <a:cubicBezTo>
                    <a:pt x="111" y="35"/>
                    <a:pt x="113" y="32"/>
                    <a:pt x="116" y="30"/>
                  </a:cubicBezTo>
                  <a:cubicBezTo>
                    <a:pt x="122" y="27"/>
                    <a:pt x="124" y="22"/>
                    <a:pt x="121" y="16"/>
                  </a:cubicBezTo>
                  <a:cubicBezTo>
                    <a:pt x="121" y="14"/>
                    <a:pt x="120" y="13"/>
                    <a:pt x="120" y="11"/>
                  </a:cubicBezTo>
                  <a:cubicBezTo>
                    <a:pt x="119" y="9"/>
                    <a:pt x="118" y="7"/>
                    <a:pt x="116" y="6"/>
                  </a:cubicBezTo>
                  <a:cubicBezTo>
                    <a:pt x="115" y="5"/>
                    <a:pt x="114" y="4"/>
                    <a:pt x="112" y="3"/>
                  </a:cubicBezTo>
                  <a:cubicBezTo>
                    <a:pt x="108" y="0"/>
                    <a:pt x="104" y="0"/>
                    <a:pt x="100" y="2"/>
                  </a:cubicBezTo>
                  <a:cubicBezTo>
                    <a:pt x="94" y="5"/>
                    <a:pt x="89" y="9"/>
                    <a:pt x="88" y="16"/>
                  </a:cubicBezTo>
                  <a:cubicBezTo>
                    <a:pt x="87" y="21"/>
                    <a:pt x="84" y="24"/>
                    <a:pt x="80" y="26"/>
                  </a:cubicBezTo>
                  <a:cubicBezTo>
                    <a:pt x="75" y="29"/>
                    <a:pt x="70" y="32"/>
                    <a:pt x="64" y="32"/>
                  </a:cubicBezTo>
                  <a:cubicBezTo>
                    <a:pt x="54" y="32"/>
                    <a:pt x="48" y="38"/>
                    <a:pt x="42" y="45"/>
                  </a:cubicBezTo>
                  <a:cubicBezTo>
                    <a:pt x="42" y="45"/>
                    <a:pt x="42" y="46"/>
                    <a:pt x="42" y="46"/>
                  </a:cubicBezTo>
                  <a:cubicBezTo>
                    <a:pt x="40" y="49"/>
                    <a:pt x="38" y="50"/>
                    <a:pt x="35" y="51"/>
                  </a:cubicBezTo>
                  <a:cubicBezTo>
                    <a:pt x="33" y="52"/>
                    <a:pt x="32" y="53"/>
                    <a:pt x="31" y="55"/>
                  </a:cubicBezTo>
                  <a:cubicBezTo>
                    <a:pt x="31" y="58"/>
                    <a:pt x="30" y="60"/>
                    <a:pt x="28" y="63"/>
                  </a:cubicBezTo>
                  <a:cubicBezTo>
                    <a:pt x="27" y="65"/>
                    <a:pt x="26" y="67"/>
                    <a:pt x="27" y="70"/>
                  </a:cubicBezTo>
                  <a:cubicBezTo>
                    <a:pt x="27" y="71"/>
                    <a:pt x="26" y="72"/>
                    <a:pt x="26" y="72"/>
                  </a:cubicBezTo>
                  <a:cubicBezTo>
                    <a:pt x="26" y="73"/>
                    <a:pt x="25" y="73"/>
                    <a:pt x="25" y="73"/>
                  </a:cubicBezTo>
                  <a:cubicBezTo>
                    <a:pt x="22" y="74"/>
                    <a:pt x="20" y="76"/>
                    <a:pt x="19" y="78"/>
                  </a:cubicBezTo>
                  <a:cubicBezTo>
                    <a:pt x="17" y="80"/>
                    <a:pt x="15" y="81"/>
                    <a:pt x="13" y="81"/>
                  </a:cubicBezTo>
                  <a:cubicBezTo>
                    <a:pt x="11" y="81"/>
                    <a:pt x="10" y="83"/>
                    <a:pt x="11" y="84"/>
                  </a:cubicBezTo>
                  <a:cubicBezTo>
                    <a:pt x="13" y="87"/>
                    <a:pt x="16" y="90"/>
                    <a:pt x="17" y="94"/>
                  </a:cubicBezTo>
                  <a:cubicBezTo>
                    <a:pt x="17" y="98"/>
                    <a:pt x="16" y="102"/>
                    <a:pt x="16" y="106"/>
                  </a:cubicBezTo>
                  <a:cubicBezTo>
                    <a:pt x="16" y="109"/>
                    <a:pt x="15" y="111"/>
                    <a:pt x="14" y="113"/>
                  </a:cubicBezTo>
                  <a:cubicBezTo>
                    <a:pt x="12" y="117"/>
                    <a:pt x="10" y="120"/>
                    <a:pt x="8" y="123"/>
                  </a:cubicBezTo>
                  <a:cubicBezTo>
                    <a:pt x="7" y="125"/>
                    <a:pt x="7" y="128"/>
                    <a:pt x="10" y="130"/>
                  </a:cubicBezTo>
                  <a:cubicBezTo>
                    <a:pt x="14" y="134"/>
                    <a:pt x="15" y="136"/>
                    <a:pt x="12" y="13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133"/>
            <p:cNvSpPr>
              <a:spLocks noEditPoints="1"/>
            </p:cNvSpPr>
            <p:nvPr/>
          </p:nvSpPr>
          <p:spPr bwMode="auto">
            <a:xfrm>
              <a:off x="5287781" y="3261084"/>
              <a:ext cx="299839" cy="423942"/>
            </a:xfrm>
            <a:custGeom>
              <a:avLst/>
              <a:gdLst>
                <a:gd name="T0" fmla="*/ 25 w 140"/>
                <a:gd name="T1" fmla="*/ 196 h 198"/>
                <a:gd name="T2" fmla="*/ 32 w 140"/>
                <a:gd name="T3" fmla="*/ 164 h 198"/>
                <a:gd name="T4" fmla="*/ 20 w 140"/>
                <a:gd name="T5" fmla="*/ 149 h 198"/>
                <a:gd name="T6" fmla="*/ 23 w 140"/>
                <a:gd name="T7" fmla="*/ 147 h 198"/>
                <a:gd name="T8" fmla="*/ 36 w 140"/>
                <a:gd name="T9" fmla="*/ 141 h 198"/>
                <a:gd name="T10" fmla="*/ 50 w 140"/>
                <a:gd name="T11" fmla="*/ 140 h 198"/>
                <a:gd name="T12" fmla="*/ 50 w 140"/>
                <a:gd name="T13" fmla="*/ 140 h 198"/>
                <a:gd name="T14" fmla="*/ 42 w 140"/>
                <a:gd name="T15" fmla="*/ 145 h 198"/>
                <a:gd name="T16" fmla="*/ 34 w 140"/>
                <a:gd name="T17" fmla="*/ 154 h 198"/>
                <a:gd name="T18" fmla="*/ 38 w 140"/>
                <a:gd name="T19" fmla="*/ 162 h 198"/>
                <a:gd name="T20" fmla="*/ 50 w 140"/>
                <a:gd name="T21" fmla="*/ 155 h 198"/>
                <a:gd name="T22" fmla="*/ 59 w 140"/>
                <a:gd name="T23" fmla="*/ 154 h 198"/>
                <a:gd name="T24" fmla="*/ 58 w 140"/>
                <a:gd name="T25" fmla="*/ 137 h 198"/>
                <a:gd name="T26" fmla="*/ 63 w 140"/>
                <a:gd name="T27" fmla="*/ 131 h 198"/>
                <a:gd name="T28" fmla="*/ 65 w 140"/>
                <a:gd name="T29" fmla="*/ 134 h 198"/>
                <a:gd name="T30" fmla="*/ 69 w 140"/>
                <a:gd name="T31" fmla="*/ 146 h 198"/>
                <a:gd name="T32" fmla="*/ 81 w 140"/>
                <a:gd name="T33" fmla="*/ 150 h 198"/>
                <a:gd name="T34" fmla="*/ 95 w 140"/>
                <a:gd name="T35" fmla="*/ 131 h 198"/>
                <a:gd name="T36" fmla="*/ 111 w 140"/>
                <a:gd name="T37" fmla="*/ 126 h 198"/>
                <a:gd name="T38" fmla="*/ 118 w 140"/>
                <a:gd name="T39" fmla="*/ 126 h 198"/>
                <a:gd name="T40" fmla="*/ 124 w 140"/>
                <a:gd name="T41" fmla="*/ 115 h 198"/>
                <a:gd name="T42" fmla="*/ 126 w 140"/>
                <a:gd name="T43" fmla="*/ 121 h 198"/>
                <a:gd name="T44" fmla="*/ 137 w 140"/>
                <a:gd name="T45" fmla="*/ 106 h 198"/>
                <a:gd name="T46" fmla="*/ 130 w 140"/>
                <a:gd name="T47" fmla="*/ 68 h 198"/>
                <a:gd name="T48" fmla="*/ 136 w 140"/>
                <a:gd name="T49" fmla="*/ 54 h 198"/>
                <a:gd name="T50" fmla="*/ 129 w 140"/>
                <a:gd name="T51" fmla="*/ 24 h 198"/>
                <a:gd name="T52" fmla="*/ 109 w 140"/>
                <a:gd name="T53" fmla="*/ 1 h 198"/>
                <a:gd name="T54" fmla="*/ 105 w 140"/>
                <a:gd name="T55" fmla="*/ 34 h 198"/>
                <a:gd name="T56" fmla="*/ 101 w 140"/>
                <a:gd name="T57" fmla="*/ 71 h 198"/>
                <a:gd name="T58" fmla="*/ 85 w 140"/>
                <a:gd name="T59" fmla="*/ 89 h 198"/>
                <a:gd name="T60" fmla="*/ 81 w 140"/>
                <a:gd name="T61" fmla="*/ 84 h 198"/>
                <a:gd name="T62" fmla="*/ 75 w 140"/>
                <a:gd name="T63" fmla="*/ 83 h 198"/>
                <a:gd name="T64" fmla="*/ 74 w 140"/>
                <a:gd name="T65" fmla="*/ 95 h 198"/>
                <a:gd name="T66" fmla="*/ 66 w 140"/>
                <a:gd name="T67" fmla="*/ 113 h 198"/>
                <a:gd name="T68" fmla="*/ 37 w 140"/>
                <a:gd name="T69" fmla="*/ 118 h 198"/>
                <a:gd name="T70" fmla="*/ 13 w 140"/>
                <a:gd name="T71" fmla="*/ 140 h 198"/>
                <a:gd name="T72" fmla="*/ 10 w 140"/>
                <a:gd name="T73" fmla="*/ 149 h 198"/>
                <a:gd name="T74" fmla="*/ 0 w 140"/>
                <a:gd name="T75" fmla="*/ 164 h 198"/>
                <a:gd name="T76" fmla="*/ 3 w 140"/>
                <a:gd name="T77" fmla="*/ 171 h 198"/>
                <a:gd name="T78" fmla="*/ 4 w 140"/>
                <a:gd name="T79" fmla="*/ 171 h 198"/>
                <a:gd name="T80" fmla="*/ 9 w 140"/>
                <a:gd name="T81" fmla="*/ 172 h 198"/>
                <a:gd name="T82" fmla="*/ 7 w 140"/>
                <a:gd name="T83" fmla="*/ 177 h 198"/>
                <a:gd name="T84" fmla="*/ 7 w 140"/>
                <a:gd name="T85" fmla="*/ 177 h 198"/>
                <a:gd name="T86" fmla="*/ 24 w 140"/>
                <a:gd name="T87" fmla="*/ 197 h 198"/>
                <a:gd name="T88" fmla="*/ 110 w 140"/>
                <a:gd name="T89" fmla="*/ 7 h 198"/>
                <a:gd name="T90" fmla="*/ 109 w 140"/>
                <a:gd name="T91" fmla="*/ 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 h="198">
                  <a:moveTo>
                    <a:pt x="24" y="197"/>
                  </a:moveTo>
                  <a:cubicBezTo>
                    <a:pt x="24" y="196"/>
                    <a:pt x="25" y="196"/>
                    <a:pt x="25" y="196"/>
                  </a:cubicBezTo>
                  <a:cubicBezTo>
                    <a:pt x="26" y="194"/>
                    <a:pt x="29" y="191"/>
                    <a:pt x="29" y="189"/>
                  </a:cubicBezTo>
                  <a:cubicBezTo>
                    <a:pt x="30" y="181"/>
                    <a:pt x="31" y="173"/>
                    <a:pt x="32" y="164"/>
                  </a:cubicBezTo>
                  <a:cubicBezTo>
                    <a:pt x="29" y="159"/>
                    <a:pt x="28" y="152"/>
                    <a:pt x="20" y="151"/>
                  </a:cubicBezTo>
                  <a:cubicBezTo>
                    <a:pt x="20" y="151"/>
                    <a:pt x="20" y="150"/>
                    <a:pt x="20" y="149"/>
                  </a:cubicBezTo>
                  <a:cubicBezTo>
                    <a:pt x="20" y="149"/>
                    <a:pt x="20" y="148"/>
                    <a:pt x="21" y="148"/>
                  </a:cubicBezTo>
                  <a:cubicBezTo>
                    <a:pt x="21" y="148"/>
                    <a:pt x="23" y="147"/>
                    <a:pt x="23" y="147"/>
                  </a:cubicBezTo>
                  <a:cubicBezTo>
                    <a:pt x="27" y="147"/>
                    <a:pt x="30" y="147"/>
                    <a:pt x="32" y="144"/>
                  </a:cubicBezTo>
                  <a:cubicBezTo>
                    <a:pt x="32" y="142"/>
                    <a:pt x="34" y="141"/>
                    <a:pt x="36" y="141"/>
                  </a:cubicBezTo>
                  <a:cubicBezTo>
                    <a:pt x="40" y="140"/>
                    <a:pt x="45" y="139"/>
                    <a:pt x="50" y="140"/>
                  </a:cubicBezTo>
                  <a:cubicBezTo>
                    <a:pt x="50" y="140"/>
                    <a:pt x="50" y="140"/>
                    <a:pt x="50" y="140"/>
                  </a:cubicBezTo>
                  <a:cubicBezTo>
                    <a:pt x="51" y="139"/>
                    <a:pt x="51" y="139"/>
                    <a:pt x="51" y="139"/>
                  </a:cubicBezTo>
                  <a:cubicBezTo>
                    <a:pt x="50" y="140"/>
                    <a:pt x="50" y="140"/>
                    <a:pt x="50" y="140"/>
                  </a:cubicBezTo>
                  <a:cubicBezTo>
                    <a:pt x="50" y="140"/>
                    <a:pt x="50" y="140"/>
                    <a:pt x="50" y="140"/>
                  </a:cubicBezTo>
                  <a:cubicBezTo>
                    <a:pt x="48" y="143"/>
                    <a:pt x="46" y="145"/>
                    <a:pt x="42" y="145"/>
                  </a:cubicBezTo>
                  <a:cubicBezTo>
                    <a:pt x="41" y="145"/>
                    <a:pt x="40" y="145"/>
                    <a:pt x="39" y="145"/>
                  </a:cubicBezTo>
                  <a:cubicBezTo>
                    <a:pt x="36" y="146"/>
                    <a:pt x="33" y="151"/>
                    <a:pt x="34" y="154"/>
                  </a:cubicBezTo>
                  <a:cubicBezTo>
                    <a:pt x="35" y="157"/>
                    <a:pt x="36" y="159"/>
                    <a:pt x="37" y="161"/>
                  </a:cubicBezTo>
                  <a:cubicBezTo>
                    <a:pt x="38" y="162"/>
                    <a:pt x="38" y="162"/>
                    <a:pt x="38" y="162"/>
                  </a:cubicBezTo>
                  <a:cubicBezTo>
                    <a:pt x="41" y="165"/>
                    <a:pt x="45" y="165"/>
                    <a:pt x="46" y="161"/>
                  </a:cubicBezTo>
                  <a:cubicBezTo>
                    <a:pt x="47" y="159"/>
                    <a:pt x="47" y="156"/>
                    <a:pt x="50" y="155"/>
                  </a:cubicBezTo>
                  <a:cubicBezTo>
                    <a:pt x="52" y="153"/>
                    <a:pt x="55" y="154"/>
                    <a:pt x="58" y="154"/>
                  </a:cubicBezTo>
                  <a:cubicBezTo>
                    <a:pt x="58" y="154"/>
                    <a:pt x="59" y="154"/>
                    <a:pt x="59" y="154"/>
                  </a:cubicBezTo>
                  <a:cubicBezTo>
                    <a:pt x="63" y="153"/>
                    <a:pt x="65" y="147"/>
                    <a:pt x="63" y="144"/>
                  </a:cubicBezTo>
                  <a:cubicBezTo>
                    <a:pt x="61" y="141"/>
                    <a:pt x="59" y="140"/>
                    <a:pt x="58" y="137"/>
                  </a:cubicBezTo>
                  <a:cubicBezTo>
                    <a:pt x="57" y="136"/>
                    <a:pt x="58" y="134"/>
                    <a:pt x="59" y="133"/>
                  </a:cubicBezTo>
                  <a:cubicBezTo>
                    <a:pt x="60" y="132"/>
                    <a:pt x="62" y="132"/>
                    <a:pt x="63" y="131"/>
                  </a:cubicBezTo>
                  <a:cubicBezTo>
                    <a:pt x="64" y="131"/>
                    <a:pt x="65" y="131"/>
                    <a:pt x="65" y="131"/>
                  </a:cubicBezTo>
                  <a:cubicBezTo>
                    <a:pt x="66" y="132"/>
                    <a:pt x="66" y="133"/>
                    <a:pt x="65" y="134"/>
                  </a:cubicBezTo>
                  <a:cubicBezTo>
                    <a:pt x="65" y="135"/>
                    <a:pt x="64" y="137"/>
                    <a:pt x="64" y="138"/>
                  </a:cubicBezTo>
                  <a:cubicBezTo>
                    <a:pt x="65" y="141"/>
                    <a:pt x="67" y="144"/>
                    <a:pt x="69" y="146"/>
                  </a:cubicBezTo>
                  <a:cubicBezTo>
                    <a:pt x="70" y="148"/>
                    <a:pt x="73" y="150"/>
                    <a:pt x="75" y="151"/>
                  </a:cubicBezTo>
                  <a:cubicBezTo>
                    <a:pt x="77" y="152"/>
                    <a:pt x="80" y="152"/>
                    <a:pt x="81" y="150"/>
                  </a:cubicBezTo>
                  <a:cubicBezTo>
                    <a:pt x="84" y="145"/>
                    <a:pt x="88" y="139"/>
                    <a:pt x="91" y="134"/>
                  </a:cubicBezTo>
                  <a:cubicBezTo>
                    <a:pt x="92" y="132"/>
                    <a:pt x="93" y="131"/>
                    <a:pt x="95" y="131"/>
                  </a:cubicBezTo>
                  <a:cubicBezTo>
                    <a:pt x="97" y="131"/>
                    <a:pt x="100" y="130"/>
                    <a:pt x="103" y="131"/>
                  </a:cubicBezTo>
                  <a:cubicBezTo>
                    <a:pt x="106" y="131"/>
                    <a:pt x="108" y="128"/>
                    <a:pt x="111" y="126"/>
                  </a:cubicBezTo>
                  <a:cubicBezTo>
                    <a:pt x="112" y="126"/>
                    <a:pt x="113" y="127"/>
                    <a:pt x="114" y="127"/>
                  </a:cubicBezTo>
                  <a:cubicBezTo>
                    <a:pt x="116" y="128"/>
                    <a:pt x="118" y="127"/>
                    <a:pt x="118" y="126"/>
                  </a:cubicBezTo>
                  <a:cubicBezTo>
                    <a:pt x="119" y="123"/>
                    <a:pt x="119" y="119"/>
                    <a:pt x="123" y="116"/>
                  </a:cubicBezTo>
                  <a:cubicBezTo>
                    <a:pt x="123" y="116"/>
                    <a:pt x="124" y="116"/>
                    <a:pt x="124" y="115"/>
                  </a:cubicBezTo>
                  <a:cubicBezTo>
                    <a:pt x="124" y="116"/>
                    <a:pt x="125" y="116"/>
                    <a:pt x="125" y="116"/>
                  </a:cubicBezTo>
                  <a:cubicBezTo>
                    <a:pt x="125" y="118"/>
                    <a:pt x="125" y="119"/>
                    <a:pt x="126" y="121"/>
                  </a:cubicBezTo>
                  <a:cubicBezTo>
                    <a:pt x="127" y="122"/>
                    <a:pt x="128" y="123"/>
                    <a:pt x="130" y="123"/>
                  </a:cubicBezTo>
                  <a:cubicBezTo>
                    <a:pt x="137" y="119"/>
                    <a:pt x="140" y="112"/>
                    <a:pt x="137" y="106"/>
                  </a:cubicBezTo>
                  <a:cubicBezTo>
                    <a:pt x="134" y="101"/>
                    <a:pt x="133" y="96"/>
                    <a:pt x="133" y="91"/>
                  </a:cubicBezTo>
                  <a:cubicBezTo>
                    <a:pt x="134" y="83"/>
                    <a:pt x="133" y="75"/>
                    <a:pt x="130" y="68"/>
                  </a:cubicBezTo>
                  <a:cubicBezTo>
                    <a:pt x="129" y="65"/>
                    <a:pt x="130" y="63"/>
                    <a:pt x="132" y="61"/>
                  </a:cubicBezTo>
                  <a:cubicBezTo>
                    <a:pt x="135" y="59"/>
                    <a:pt x="136" y="57"/>
                    <a:pt x="136" y="54"/>
                  </a:cubicBezTo>
                  <a:cubicBezTo>
                    <a:pt x="135" y="52"/>
                    <a:pt x="135" y="49"/>
                    <a:pt x="135" y="47"/>
                  </a:cubicBezTo>
                  <a:cubicBezTo>
                    <a:pt x="136" y="39"/>
                    <a:pt x="134" y="31"/>
                    <a:pt x="129" y="24"/>
                  </a:cubicBezTo>
                  <a:cubicBezTo>
                    <a:pt x="125" y="17"/>
                    <a:pt x="118" y="10"/>
                    <a:pt x="115" y="2"/>
                  </a:cubicBezTo>
                  <a:cubicBezTo>
                    <a:pt x="114" y="0"/>
                    <a:pt x="110" y="0"/>
                    <a:pt x="109" y="1"/>
                  </a:cubicBezTo>
                  <a:cubicBezTo>
                    <a:pt x="102" y="7"/>
                    <a:pt x="98" y="14"/>
                    <a:pt x="102" y="23"/>
                  </a:cubicBezTo>
                  <a:cubicBezTo>
                    <a:pt x="101" y="27"/>
                    <a:pt x="99" y="32"/>
                    <a:pt x="105" y="34"/>
                  </a:cubicBezTo>
                  <a:cubicBezTo>
                    <a:pt x="105" y="35"/>
                    <a:pt x="106" y="36"/>
                    <a:pt x="106" y="37"/>
                  </a:cubicBezTo>
                  <a:cubicBezTo>
                    <a:pt x="106" y="49"/>
                    <a:pt x="108" y="60"/>
                    <a:pt x="101" y="71"/>
                  </a:cubicBezTo>
                  <a:cubicBezTo>
                    <a:pt x="100" y="72"/>
                    <a:pt x="99" y="75"/>
                    <a:pt x="99" y="77"/>
                  </a:cubicBezTo>
                  <a:cubicBezTo>
                    <a:pt x="97" y="84"/>
                    <a:pt x="92" y="87"/>
                    <a:pt x="85" y="89"/>
                  </a:cubicBezTo>
                  <a:cubicBezTo>
                    <a:pt x="84" y="89"/>
                    <a:pt x="82" y="88"/>
                    <a:pt x="81" y="87"/>
                  </a:cubicBezTo>
                  <a:cubicBezTo>
                    <a:pt x="81" y="86"/>
                    <a:pt x="81" y="85"/>
                    <a:pt x="81" y="84"/>
                  </a:cubicBezTo>
                  <a:cubicBezTo>
                    <a:pt x="80" y="81"/>
                    <a:pt x="79" y="80"/>
                    <a:pt x="78" y="81"/>
                  </a:cubicBezTo>
                  <a:cubicBezTo>
                    <a:pt x="77" y="81"/>
                    <a:pt x="75" y="82"/>
                    <a:pt x="75" y="83"/>
                  </a:cubicBezTo>
                  <a:cubicBezTo>
                    <a:pt x="73" y="85"/>
                    <a:pt x="74" y="87"/>
                    <a:pt x="74" y="89"/>
                  </a:cubicBezTo>
                  <a:cubicBezTo>
                    <a:pt x="75" y="91"/>
                    <a:pt x="75" y="94"/>
                    <a:pt x="74" y="95"/>
                  </a:cubicBezTo>
                  <a:cubicBezTo>
                    <a:pt x="71" y="101"/>
                    <a:pt x="70" y="106"/>
                    <a:pt x="69" y="112"/>
                  </a:cubicBezTo>
                  <a:cubicBezTo>
                    <a:pt x="69" y="113"/>
                    <a:pt x="68" y="113"/>
                    <a:pt x="66" y="113"/>
                  </a:cubicBezTo>
                  <a:cubicBezTo>
                    <a:pt x="62" y="113"/>
                    <a:pt x="58" y="113"/>
                    <a:pt x="53" y="114"/>
                  </a:cubicBezTo>
                  <a:cubicBezTo>
                    <a:pt x="48" y="116"/>
                    <a:pt x="43" y="117"/>
                    <a:pt x="37" y="118"/>
                  </a:cubicBezTo>
                  <a:cubicBezTo>
                    <a:pt x="35" y="118"/>
                    <a:pt x="32" y="119"/>
                    <a:pt x="30" y="122"/>
                  </a:cubicBezTo>
                  <a:cubicBezTo>
                    <a:pt x="25" y="128"/>
                    <a:pt x="19" y="134"/>
                    <a:pt x="13" y="140"/>
                  </a:cubicBezTo>
                  <a:cubicBezTo>
                    <a:pt x="12" y="141"/>
                    <a:pt x="12" y="143"/>
                    <a:pt x="12" y="145"/>
                  </a:cubicBezTo>
                  <a:cubicBezTo>
                    <a:pt x="12" y="146"/>
                    <a:pt x="11" y="148"/>
                    <a:pt x="10" y="149"/>
                  </a:cubicBezTo>
                  <a:cubicBezTo>
                    <a:pt x="8" y="151"/>
                    <a:pt x="5" y="154"/>
                    <a:pt x="2" y="157"/>
                  </a:cubicBezTo>
                  <a:cubicBezTo>
                    <a:pt x="0" y="159"/>
                    <a:pt x="0" y="161"/>
                    <a:pt x="0" y="164"/>
                  </a:cubicBezTo>
                  <a:cubicBezTo>
                    <a:pt x="0" y="167"/>
                    <a:pt x="1" y="169"/>
                    <a:pt x="4" y="171"/>
                  </a:cubicBezTo>
                  <a:cubicBezTo>
                    <a:pt x="3" y="171"/>
                    <a:pt x="3" y="171"/>
                    <a:pt x="3" y="171"/>
                  </a:cubicBezTo>
                  <a:cubicBezTo>
                    <a:pt x="4" y="171"/>
                    <a:pt x="4" y="171"/>
                    <a:pt x="4" y="171"/>
                  </a:cubicBezTo>
                  <a:cubicBezTo>
                    <a:pt x="4" y="171"/>
                    <a:pt x="4" y="171"/>
                    <a:pt x="4" y="171"/>
                  </a:cubicBezTo>
                  <a:cubicBezTo>
                    <a:pt x="4" y="171"/>
                    <a:pt x="4" y="170"/>
                    <a:pt x="5" y="170"/>
                  </a:cubicBezTo>
                  <a:cubicBezTo>
                    <a:pt x="7" y="169"/>
                    <a:pt x="9" y="170"/>
                    <a:pt x="9" y="172"/>
                  </a:cubicBezTo>
                  <a:cubicBezTo>
                    <a:pt x="9" y="174"/>
                    <a:pt x="8" y="176"/>
                    <a:pt x="7" y="177"/>
                  </a:cubicBezTo>
                  <a:cubicBezTo>
                    <a:pt x="7" y="177"/>
                    <a:pt x="7" y="177"/>
                    <a:pt x="7" y="177"/>
                  </a:cubicBezTo>
                  <a:cubicBezTo>
                    <a:pt x="7" y="177"/>
                    <a:pt x="7" y="177"/>
                    <a:pt x="7" y="178"/>
                  </a:cubicBezTo>
                  <a:cubicBezTo>
                    <a:pt x="7" y="177"/>
                    <a:pt x="7" y="177"/>
                    <a:pt x="7" y="177"/>
                  </a:cubicBezTo>
                  <a:cubicBezTo>
                    <a:pt x="9" y="183"/>
                    <a:pt x="11" y="188"/>
                    <a:pt x="13" y="194"/>
                  </a:cubicBezTo>
                  <a:cubicBezTo>
                    <a:pt x="14" y="196"/>
                    <a:pt x="21" y="198"/>
                    <a:pt x="24" y="197"/>
                  </a:cubicBezTo>
                  <a:close/>
                  <a:moveTo>
                    <a:pt x="110" y="8"/>
                  </a:moveTo>
                  <a:cubicBezTo>
                    <a:pt x="110" y="7"/>
                    <a:pt x="110" y="7"/>
                    <a:pt x="110" y="7"/>
                  </a:cubicBezTo>
                  <a:cubicBezTo>
                    <a:pt x="110" y="8"/>
                    <a:pt x="110" y="8"/>
                    <a:pt x="110" y="8"/>
                  </a:cubicBezTo>
                  <a:cubicBezTo>
                    <a:pt x="109" y="8"/>
                    <a:pt x="109" y="8"/>
                    <a:pt x="109" y="8"/>
                  </a:cubicBezTo>
                  <a:lnTo>
                    <a:pt x="110" y="8"/>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36"/>
            <p:cNvSpPr>
              <a:spLocks/>
            </p:cNvSpPr>
            <p:nvPr/>
          </p:nvSpPr>
          <p:spPr bwMode="auto">
            <a:xfrm>
              <a:off x="1420671" y="2800908"/>
              <a:ext cx="220124" cy="331544"/>
            </a:xfrm>
            <a:custGeom>
              <a:avLst/>
              <a:gdLst>
                <a:gd name="T0" fmla="*/ 7 w 103"/>
                <a:gd name="T1" fmla="*/ 37 h 155"/>
                <a:gd name="T2" fmla="*/ 10 w 103"/>
                <a:gd name="T3" fmla="*/ 47 h 155"/>
                <a:gd name="T4" fmla="*/ 9 w 103"/>
                <a:gd name="T5" fmla="*/ 52 h 155"/>
                <a:gd name="T6" fmla="*/ 18 w 103"/>
                <a:gd name="T7" fmla="*/ 56 h 155"/>
                <a:gd name="T8" fmla="*/ 19 w 103"/>
                <a:gd name="T9" fmla="*/ 57 h 155"/>
                <a:gd name="T10" fmla="*/ 23 w 103"/>
                <a:gd name="T11" fmla="*/ 70 h 155"/>
                <a:gd name="T12" fmla="*/ 33 w 103"/>
                <a:gd name="T13" fmla="*/ 70 h 155"/>
                <a:gd name="T14" fmla="*/ 39 w 103"/>
                <a:gd name="T15" fmla="*/ 81 h 155"/>
                <a:gd name="T16" fmla="*/ 29 w 103"/>
                <a:gd name="T17" fmla="*/ 95 h 155"/>
                <a:gd name="T18" fmla="*/ 25 w 103"/>
                <a:gd name="T19" fmla="*/ 97 h 155"/>
                <a:gd name="T20" fmla="*/ 27 w 103"/>
                <a:gd name="T21" fmla="*/ 114 h 155"/>
                <a:gd name="T22" fmla="*/ 18 w 103"/>
                <a:gd name="T23" fmla="*/ 121 h 155"/>
                <a:gd name="T24" fmla="*/ 20 w 103"/>
                <a:gd name="T25" fmla="*/ 126 h 155"/>
                <a:gd name="T26" fmla="*/ 39 w 103"/>
                <a:gd name="T27" fmla="*/ 133 h 155"/>
                <a:gd name="T28" fmla="*/ 24 w 103"/>
                <a:gd name="T29" fmla="*/ 139 h 155"/>
                <a:gd name="T30" fmla="*/ 13 w 103"/>
                <a:gd name="T31" fmla="*/ 154 h 155"/>
                <a:gd name="T32" fmla="*/ 18 w 103"/>
                <a:gd name="T33" fmla="*/ 154 h 155"/>
                <a:gd name="T34" fmla="*/ 40 w 103"/>
                <a:gd name="T35" fmla="*/ 147 h 155"/>
                <a:gd name="T36" fmla="*/ 63 w 103"/>
                <a:gd name="T37" fmla="*/ 144 h 155"/>
                <a:gd name="T38" fmla="*/ 98 w 103"/>
                <a:gd name="T39" fmla="*/ 134 h 155"/>
                <a:gd name="T40" fmla="*/ 95 w 103"/>
                <a:gd name="T41" fmla="*/ 128 h 155"/>
                <a:gd name="T42" fmla="*/ 100 w 103"/>
                <a:gd name="T43" fmla="*/ 115 h 155"/>
                <a:gd name="T44" fmla="*/ 83 w 103"/>
                <a:gd name="T45" fmla="*/ 100 h 155"/>
                <a:gd name="T46" fmla="*/ 83 w 103"/>
                <a:gd name="T47" fmla="*/ 101 h 155"/>
                <a:gd name="T48" fmla="*/ 83 w 103"/>
                <a:gd name="T49" fmla="*/ 100 h 155"/>
                <a:gd name="T50" fmla="*/ 76 w 103"/>
                <a:gd name="T51" fmla="*/ 81 h 155"/>
                <a:gd name="T52" fmla="*/ 60 w 103"/>
                <a:gd name="T53" fmla="*/ 62 h 155"/>
                <a:gd name="T54" fmla="*/ 44 w 103"/>
                <a:gd name="T55" fmla="*/ 44 h 155"/>
                <a:gd name="T56" fmla="*/ 53 w 103"/>
                <a:gd name="T57" fmla="*/ 23 h 155"/>
                <a:gd name="T58" fmla="*/ 46 w 103"/>
                <a:gd name="T59" fmla="*/ 16 h 155"/>
                <a:gd name="T60" fmla="*/ 32 w 103"/>
                <a:gd name="T61" fmla="*/ 15 h 155"/>
                <a:gd name="T62" fmla="*/ 39 w 103"/>
                <a:gd name="T63" fmla="*/ 6 h 155"/>
                <a:gd name="T64" fmla="*/ 36 w 103"/>
                <a:gd name="T65" fmla="*/ 0 h 155"/>
                <a:gd name="T66" fmla="*/ 17 w 103"/>
                <a:gd name="T67" fmla="*/ 5 h 155"/>
                <a:gd name="T68" fmla="*/ 7 w 103"/>
                <a:gd name="T69" fmla="*/ 1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 h="155">
                  <a:moveTo>
                    <a:pt x="3" y="25"/>
                  </a:moveTo>
                  <a:cubicBezTo>
                    <a:pt x="7" y="28"/>
                    <a:pt x="8" y="32"/>
                    <a:pt x="7" y="37"/>
                  </a:cubicBezTo>
                  <a:cubicBezTo>
                    <a:pt x="6" y="39"/>
                    <a:pt x="7" y="40"/>
                    <a:pt x="9" y="41"/>
                  </a:cubicBezTo>
                  <a:cubicBezTo>
                    <a:pt x="11" y="43"/>
                    <a:pt x="11" y="45"/>
                    <a:pt x="10" y="47"/>
                  </a:cubicBezTo>
                  <a:cubicBezTo>
                    <a:pt x="9" y="48"/>
                    <a:pt x="8" y="49"/>
                    <a:pt x="7" y="51"/>
                  </a:cubicBezTo>
                  <a:cubicBezTo>
                    <a:pt x="8" y="51"/>
                    <a:pt x="9" y="52"/>
                    <a:pt x="9" y="52"/>
                  </a:cubicBezTo>
                  <a:cubicBezTo>
                    <a:pt x="10" y="53"/>
                    <a:pt x="10" y="54"/>
                    <a:pt x="11" y="55"/>
                  </a:cubicBezTo>
                  <a:cubicBezTo>
                    <a:pt x="13" y="59"/>
                    <a:pt x="13" y="59"/>
                    <a:pt x="18" y="56"/>
                  </a:cubicBezTo>
                  <a:cubicBezTo>
                    <a:pt x="18" y="55"/>
                    <a:pt x="18" y="55"/>
                    <a:pt x="19" y="54"/>
                  </a:cubicBezTo>
                  <a:cubicBezTo>
                    <a:pt x="19" y="55"/>
                    <a:pt x="20" y="56"/>
                    <a:pt x="19" y="57"/>
                  </a:cubicBezTo>
                  <a:cubicBezTo>
                    <a:pt x="19" y="60"/>
                    <a:pt x="19" y="62"/>
                    <a:pt x="18" y="65"/>
                  </a:cubicBezTo>
                  <a:cubicBezTo>
                    <a:pt x="18" y="68"/>
                    <a:pt x="20" y="70"/>
                    <a:pt x="23" y="70"/>
                  </a:cubicBezTo>
                  <a:cubicBezTo>
                    <a:pt x="23" y="70"/>
                    <a:pt x="24" y="70"/>
                    <a:pt x="24" y="70"/>
                  </a:cubicBezTo>
                  <a:cubicBezTo>
                    <a:pt x="27" y="70"/>
                    <a:pt x="30" y="70"/>
                    <a:pt x="33" y="70"/>
                  </a:cubicBezTo>
                  <a:cubicBezTo>
                    <a:pt x="36" y="71"/>
                    <a:pt x="34" y="75"/>
                    <a:pt x="36" y="77"/>
                  </a:cubicBezTo>
                  <a:cubicBezTo>
                    <a:pt x="37" y="78"/>
                    <a:pt x="37" y="80"/>
                    <a:pt x="39" y="81"/>
                  </a:cubicBezTo>
                  <a:cubicBezTo>
                    <a:pt x="41" y="83"/>
                    <a:pt x="42" y="85"/>
                    <a:pt x="41" y="87"/>
                  </a:cubicBezTo>
                  <a:cubicBezTo>
                    <a:pt x="39" y="95"/>
                    <a:pt x="38" y="97"/>
                    <a:pt x="29" y="95"/>
                  </a:cubicBezTo>
                  <a:cubicBezTo>
                    <a:pt x="28" y="95"/>
                    <a:pt x="27" y="95"/>
                    <a:pt x="27" y="95"/>
                  </a:cubicBezTo>
                  <a:cubicBezTo>
                    <a:pt x="26" y="95"/>
                    <a:pt x="25" y="96"/>
                    <a:pt x="25" y="97"/>
                  </a:cubicBezTo>
                  <a:cubicBezTo>
                    <a:pt x="25" y="101"/>
                    <a:pt x="24" y="105"/>
                    <a:pt x="28" y="108"/>
                  </a:cubicBezTo>
                  <a:cubicBezTo>
                    <a:pt x="29" y="110"/>
                    <a:pt x="29" y="113"/>
                    <a:pt x="27" y="114"/>
                  </a:cubicBezTo>
                  <a:cubicBezTo>
                    <a:pt x="25" y="115"/>
                    <a:pt x="24" y="117"/>
                    <a:pt x="22" y="118"/>
                  </a:cubicBezTo>
                  <a:cubicBezTo>
                    <a:pt x="21" y="119"/>
                    <a:pt x="19" y="120"/>
                    <a:pt x="18" y="121"/>
                  </a:cubicBezTo>
                  <a:cubicBezTo>
                    <a:pt x="18" y="121"/>
                    <a:pt x="17" y="123"/>
                    <a:pt x="18" y="124"/>
                  </a:cubicBezTo>
                  <a:cubicBezTo>
                    <a:pt x="18" y="124"/>
                    <a:pt x="19" y="126"/>
                    <a:pt x="20" y="126"/>
                  </a:cubicBezTo>
                  <a:cubicBezTo>
                    <a:pt x="26" y="127"/>
                    <a:pt x="32" y="129"/>
                    <a:pt x="38" y="132"/>
                  </a:cubicBezTo>
                  <a:cubicBezTo>
                    <a:pt x="38" y="132"/>
                    <a:pt x="39" y="133"/>
                    <a:pt x="39" y="133"/>
                  </a:cubicBezTo>
                  <a:cubicBezTo>
                    <a:pt x="38" y="133"/>
                    <a:pt x="38" y="134"/>
                    <a:pt x="37" y="134"/>
                  </a:cubicBezTo>
                  <a:cubicBezTo>
                    <a:pt x="31" y="133"/>
                    <a:pt x="27" y="135"/>
                    <a:pt x="24" y="139"/>
                  </a:cubicBezTo>
                  <a:cubicBezTo>
                    <a:pt x="21" y="145"/>
                    <a:pt x="16" y="148"/>
                    <a:pt x="12" y="152"/>
                  </a:cubicBezTo>
                  <a:cubicBezTo>
                    <a:pt x="12" y="153"/>
                    <a:pt x="12" y="153"/>
                    <a:pt x="13" y="154"/>
                  </a:cubicBezTo>
                  <a:cubicBezTo>
                    <a:pt x="13" y="154"/>
                    <a:pt x="13" y="155"/>
                    <a:pt x="14" y="155"/>
                  </a:cubicBezTo>
                  <a:cubicBezTo>
                    <a:pt x="15" y="155"/>
                    <a:pt x="17" y="155"/>
                    <a:pt x="18" y="154"/>
                  </a:cubicBezTo>
                  <a:cubicBezTo>
                    <a:pt x="21" y="153"/>
                    <a:pt x="24" y="151"/>
                    <a:pt x="28" y="151"/>
                  </a:cubicBezTo>
                  <a:cubicBezTo>
                    <a:pt x="33" y="152"/>
                    <a:pt x="37" y="151"/>
                    <a:pt x="40" y="147"/>
                  </a:cubicBezTo>
                  <a:cubicBezTo>
                    <a:pt x="41" y="145"/>
                    <a:pt x="44" y="145"/>
                    <a:pt x="46" y="145"/>
                  </a:cubicBezTo>
                  <a:cubicBezTo>
                    <a:pt x="52" y="146"/>
                    <a:pt x="57" y="145"/>
                    <a:pt x="63" y="144"/>
                  </a:cubicBezTo>
                  <a:cubicBezTo>
                    <a:pt x="69" y="143"/>
                    <a:pt x="76" y="142"/>
                    <a:pt x="82" y="142"/>
                  </a:cubicBezTo>
                  <a:cubicBezTo>
                    <a:pt x="89" y="141"/>
                    <a:pt x="94" y="139"/>
                    <a:pt x="98" y="134"/>
                  </a:cubicBezTo>
                  <a:cubicBezTo>
                    <a:pt x="99" y="133"/>
                    <a:pt x="99" y="131"/>
                    <a:pt x="97" y="130"/>
                  </a:cubicBezTo>
                  <a:cubicBezTo>
                    <a:pt x="97" y="129"/>
                    <a:pt x="95" y="129"/>
                    <a:pt x="95" y="128"/>
                  </a:cubicBezTo>
                  <a:cubicBezTo>
                    <a:pt x="93" y="127"/>
                    <a:pt x="92" y="126"/>
                    <a:pt x="93" y="125"/>
                  </a:cubicBezTo>
                  <a:cubicBezTo>
                    <a:pt x="95" y="122"/>
                    <a:pt x="98" y="119"/>
                    <a:pt x="100" y="115"/>
                  </a:cubicBezTo>
                  <a:cubicBezTo>
                    <a:pt x="103" y="109"/>
                    <a:pt x="99" y="101"/>
                    <a:pt x="91" y="100"/>
                  </a:cubicBezTo>
                  <a:cubicBezTo>
                    <a:pt x="89" y="100"/>
                    <a:pt x="86" y="100"/>
                    <a:pt x="83" y="100"/>
                  </a:cubicBezTo>
                  <a:cubicBezTo>
                    <a:pt x="83" y="100"/>
                    <a:pt x="83" y="100"/>
                    <a:pt x="83" y="100"/>
                  </a:cubicBezTo>
                  <a:cubicBezTo>
                    <a:pt x="83" y="101"/>
                    <a:pt x="83" y="101"/>
                    <a:pt x="83" y="101"/>
                  </a:cubicBezTo>
                  <a:cubicBezTo>
                    <a:pt x="83" y="100"/>
                    <a:pt x="83" y="100"/>
                    <a:pt x="83" y="100"/>
                  </a:cubicBezTo>
                  <a:cubicBezTo>
                    <a:pt x="83" y="100"/>
                    <a:pt x="83" y="100"/>
                    <a:pt x="83" y="100"/>
                  </a:cubicBezTo>
                  <a:cubicBezTo>
                    <a:pt x="83" y="98"/>
                    <a:pt x="83" y="97"/>
                    <a:pt x="82" y="96"/>
                  </a:cubicBezTo>
                  <a:cubicBezTo>
                    <a:pt x="80" y="91"/>
                    <a:pt x="77" y="86"/>
                    <a:pt x="76" y="81"/>
                  </a:cubicBezTo>
                  <a:cubicBezTo>
                    <a:pt x="75" y="78"/>
                    <a:pt x="73" y="76"/>
                    <a:pt x="70" y="74"/>
                  </a:cubicBezTo>
                  <a:cubicBezTo>
                    <a:pt x="64" y="71"/>
                    <a:pt x="62" y="67"/>
                    <a:pt x="60" y="62"/>
                  </a:cubicBezTo>
                  <a:cubicBezTo>
                    <a:pt x="58" y="55"/>
                    <a:pt x="53" y="49"/>
                    <a:pt x="45" y="46"/>
                  </a:cubicBezTo>
                  <a:cubicBezTo>
                    <a:pt x="44" y="46"/>
                    <a:pt x="44" y="45"/>
                    <a:pt x="44" y="44"/>
                  </a:cubicBezTo>
                  <a:cubicBezTo>
                    <a:pt x="45" y="42"/>
                    <a:pt x="46" y="39"/>
                    <a:pt x="47" y="37"/>
                  </a:cubicBezTo>
                  <a:cubicBezTo>
                    <a:pt x="50" y="33"/>
                    <a:pt x="52" y="28"/>
                    <a:pt x="53" y="23"/>
                  </a:cubicBezTo>
                  <a:cubicBezTo>
                    <a:pt x="54" y="20"/>
                    <a:pt x="52" y="17"/>
                    <a:pt x="49" y="17"/>
                  </a:cubicBezTo>
                  <a:cubicBezTo>
                    <a:pt x="48" y="17"/>
                    <a:pt x="47" y="16"/>
                    <a:pt x="46" y="16"/>
                  </a:cubicBezTo>
                  <a:cubicBezTo>
                    <a:pt x="42" y="16"/>
                    <a:pt x="38" y="16"/>
                    <a:pt x="34" y="16"/>
                  </a:cubicBezTo>
                  <a:cubicBezTo>
                    <a:pt x="34" y="16"/>
                    <a:pt x="33" y="15"/>
                    <a:pt x="32" y="15"/>
                  </a:cubicBezTo>
                  <a:cubicBezTo>
                    <a:pt x="32" y="14"/>
                    <a:pt x="32" y="13"/>
                    <a:pt x="33" y="13"/>
                  </a:cubicBezTo>
                  <a:cubicBezTo>
                    <a:pt x="35" y="11"/>
                    <a:pt x="37" y="8"/>
                    <a:pt x="39" y="6"/>
                  </a:cubicBezTo>
                  <a:cubicBezTo>
                    <a:pt x="39" y="5"/>
                    <a:pt x="39" y="4"/>
                    <a:pt x="39" y="3"/>
                  </a:cubicBezTo>
                  <a:cubicBezTo>
                    <a:pt x="39" y="2"/>
                    <a:pt x="37" y="0"/>
                    <a:pt x="36" y="0"/>
                  </a:cubicBezTo>
                  <a:cubicBezTo>
                    <a:pt x="31" y="0"/>
                    <a:pt x="27" y="1"/>
                    <a:pt x="22" y="1"/>
                  </a:cubicBezTo>
                  <a:cubicBezTo>
                    <a:pt x="20" y="1"/>
                    <a:pt x="18" y="3"/>
                    <a:pt x="17" y="5"/>
                  </a:cubicBezTo>
                  <a:cubicBezTo>
                    <a:pt x="15" y="9"/>
                    <a:pt x="12" y="14"/>
                    <a:pt x="9" y="18"/>
                  </a:cubicBezTo>
                  <a:cubicBezTo>
                    <a:pt x="9" y="19"/>
                    <a:pt x="8" y="19"/>
                    <a:pt x="7" y="19"/>
                  </a:cubicBezTo>
                  <a:cubicBezTo>
                    <a:pt x="2" y="19"/>
                    <a:pt x="0" y="22"/>
                    <a:pt x="3" y="2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137"/>
            <p:cNvSpPr>
              <a:spLocks noEditPoints="1"/>
            </p:cNvSpPr>
            <p:nvPr/>
          </p:nvSpPr>
          <p:spPr bwMode="auto">
            <a:xfrm>
              <a:off x="1775768" y="1587963"/>
              <a:ext cx="282628" cy="269946"/>
            </a:xfrm>
            <a:custGeom>
              <a:avLst/>
              <a:gdLst>
                <a:gd name="T0" fmla="*/ 13 w 132"/>
                <a:gd name="T1" fmla="*/ 50 h 126"/>
                <a:gd name="T2" fmla="*/ 32 w 132"/>
                <a:gd name="T3" fmla="*/ 70 h 126"/>
                <a:gd name="T4" fmla="*/ 33 w 132"/>
                <a:gd name="T5" fmla="*/ 70 h 126"/>
                <a:gd name="T6" fmla="*/ 41 w 132"/>
                <a:gd name="T7" fmla="*/ 56 h 126"/>
                <a:gd name="T8" fmla="*/ 45 w 132"/>
                <a:gd name="T9" fmla="*/ 55 h 126"/>
                <a:gd name="T10" fmla="*/ 54 w 132"/>
                <a:gd name="T11" fmla="*/ 58 h 126"/>
                <a:gd name="T12" fmla="*/ 44 w 132"/>
                <a:gd name="T13" fmla="*/ 67 h 126"/>
                <a:gd name="T14" fmla="*/ 33 w 132"/>
                <a:gd name="T15" fmla="*/ 70 h 126"/>
                <a:gd name="T16" fmla="*/ 32 w 132"/>
                <a:gd name="T17" fmla="*/ 79 h 126"/>
                <a:gd name="T18" fmla="*/ 42 w 132"/>
                <a:gd name="T19" fmla="*/ 86 h 126"/>
                <a:gd name="T20" fmla="*/ 43 w 132"/>
                <a:gd name="T21" fmla="*/ 87 h 126"/>
                <a:gd name="T22" fmla="*/ 48 w 132"/>
                <a:gd name="T23" fmla="*/ 88 h 126"/>
                <a:gd name="T24" fmla="*/ 43 w 132"/>
                <a:gd name="T25" fmla="*/ 87 h 126"/>
                <a:gd name="T26" fmla="*/ 42 w 132"/>
                <a:gd name="T27" fmla="*/ 86 h 126"/>
                <a:gd name="T28" fmla="*/ 37 w 132"/>
                <a:gd name="T29" fmla="*/ 96 h 126"/>
                <a:gd name="T30" fmla="*/ 56 w 132"/>
                <a:gd name="T31" fmla="*/ 112 h 126"/>
                <a:gd name="T32" fmla="*/ 56 w 132"/>
                <a:gd name="T33" fmla="*/ 112 h 126"/>
                <a:gd name="T34" fmla="*/ 56 w 132"/>
                <a:gd name="T35" fmla="*/ 115 h 126"/>
                <a:gd name="T36" fmla="*/ 69 w 132"/>
                <a:gd name="T37" fmla="*/ 124 h 126"/>
                <a:gd name="T38" fmla="*/ 73 w 132"/>
                <a:gd name="T39" fmla="*/ 101 h 126"/>
                <a:gd name="T40" fmla="*/ 79 w 132"/>
                <a:gd name="T41" fmla="*/ 85 h 126"/>
                <a:gd name="T42" fmla="*/ 83 w 132"/>
                <a:gd name="T43" fmla="*/ 58 h 126"/>
                <a:gd name="T44" fmla="*/ 93 w 132"/>
                <a:gd name="T45" fmla="*/ 51 h 126"/>
                <a:gd name="T46" fmla="*/ 101 w 132"/>
                <a:gd name="T47" fmla="*/ 74 h 126"/>
                <a:gd name="T48" fmla="*/ 100 w 132"/>
                <a:gd name="T49" fmla="*/ 89 h 126"/>
                <a:gd name="T50" fmla="*/ 112 w 132"/>
                <a:gd name="T51" fmla="*/ 90 h 126"/>
                <a:gd name="T52" fmla="*/ 116 w 132"/>
                <a:gd name="T53" fmla="*/ 94 h 126"/>
                <a:gd name="T54" fmla="*/ 132 w 132"/>
                <a:gd name="T55" fmla="*/ 77 h 126"/>
                <a:gd name="T56" fmla="*/ 127 w 132"/>
                <a:gd name="T57" fmla="*/ 74 h 126"/>
                <a:gd name="T58" fmla="*/ 111 w 132"/>
                <a:gd name="T59" fmla="*/ 62 h 126"/>
                <a:gd name="T60" fmla="*/ 110 w 132"/>
                <a:gd name="T61" fmla="*/ 55 h 126"/>
                <a:gd name="T62" fmla="*/ 99 w 132"/>
                <a:gd name="T63" fmla="*/ 44 h 126"/>
                <a:gd name="T64" fmla="*/ 89 w 132"/>
                <a:gd name="T65" fmla="*/ 33 h 126"/>
                <a:gd name="T66" fmla="*/ 74 w 132"/>
                <a:gd name="T67" fmla="*/ 23 h 126"/>
                <a:gd name="T68" fmla="*/ 63 w 132"/>
                <a:gd name="T69" fmla="*/ 9 h 126"/>
                <a:gd name="T70" fmla="*/ 50 w 132"/>
                <a:gd name="T71" fmla="*/ 1 h 126"/>
                <a:gd name="T72" fmla="*/ 43 w 132"/>
                <a:gd name="T73" fmla="*/ 13 h 126"/>
                <a:gd name="T74" fmla="*/ 43 w 132"/>
                <a:gd name="T75" fmla="*/ 14 h 126"/>
                <a:gd name="T76" fmla="*/ 45 w 132"/>
                <a:gd name="T77" fmla="*/ 22 h 126"/>
                <a:gd name="T78" fmla="*/ 43 w 132"/>
                <a:gd name="T79" fmla="*/ 14 h 126"/>
                <a:gd name="T80" fmla="*/ 43 w 132"/>
                <a:gd name="T81" fmla="*/ 13 h 126"/>
                <a:gd name="T82" fmla="*/ 30 w 132"/>
                <a:gd name="T83" fmla="*/ 13 h 126"/>
                <a:gd name="T84" fmla="*/ 29 w 132"/>
                <a:gd name="T85" fmla="*/ 14 h 126"/>
                <a:gd name="T86" fmla="*/ 27 w 132"/>
                <a:gd name="T87" fmla="*/ 18 h 126"/>
                <a:gd name="T88" fmla="*/ 27 w 132"/>
                <a:gd name="T89" fmla="*/ 15 h 126"/>
                <a:gd name="T90" fmla="*/ 29 w 132"/>
                <a:gd name="T91" fmla="*/ 14 h 126"/>
                <a:gd name="T92" fmla="*/ 29 w 132"/>
                <a:gd name="T93" fmla="*/ 12 h 126"/>
                <a:gd name="T94" fmla="*/ 10 w 132"/>
                <a:gd name="T95" fmla="*/ 11 h 126"/>
                <a:gd name="T96" fmla="*/ 2 w 132"/>
                <a:gd name="T97" fmla="*/ 20 h 126"/>
                <a:gd name="T98" fmla="*/ 9 w 132"/>
                <a:gd name="T99" fmla="*/ 39 h 126"/>
                <a:gd name="T100" fmla="*/ 48 w 132"/>
                <a:gd name="T101" fmla="*/ 81 h 126"/>
                <a:gd name="T102" fmla="*/ 50 w 132"/>
                <a:gd name="T103" fmla="*/ 82 h 126"/>
                <a:gd name="T104" fmla="*/ 46 w 132"/>
                <a:gd name="T105" fmla="*/ 33 h 126"/>
                <a:gd name="T106" fmla="*/ 45 w 132"/>
                <a:gd name="T107" fmla="*/ 3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26">
                  <a:moveTo>
                    <a:pt x="9" y="39"/>
                  </a:moveTo>
                  <a:cubicBezTo>
                    <a:pt x="8" y="43"/>
                    <a:pt x="11" y="47"/>
                    <a:pt x="13" y="50"/>
                  </a:cubicBezTo>
                  <a:cubicBezTo>
                    <a:pt x="16" y="53"/>
                    <a:pt x="19" y="55"/>
                    <a:pt x="20" y="59"/>
                  </a:cubicBezTo>
                  <a:cubicBezTo>
                    <a:pt x="24" y="63"/>
                    <a:pt x="27" y="68"/>
                    <a:pt x="32" y="70"/>
                  </a:cubicBezTo>
                  <a:cubicBezTo>
                    <a:pt x="32" y="70"/>
                    <a:pt x="32" y="70"/>
                    <a:pt x="32" y="70"/>
                  </a:cubicBezTo>
                  <a:cubicBezTo>
                    <a:pt x="33" y="70"/>
                    <a:pt x="33" y="70"/>
                    <a:pt x="33" y="70"/>
                  </a:cubicBezTo>
                  <a:cubicBezTo>
                    <a:pt x="35" y="68"/>
                    <a:pt x="37" y="66"/>
                    <a:pt x="39" y="63"/>
                  </a:cubicBezTo>
                  <a:cubicBezTo>
                    <a:pt x="41" y="61"/>
                    <a:pt x="41" y="59"/>
                    <a:pt x="41" y="56"/>
                  </a:cubicBezTo>
                  <a:cubicBezTo>
                    <a:pt x="41" y="55"/>
                    <a:pt x="41" y="54"/>
                    <a:pt x="42" y="54"/>
                  </a:cubicBezTo>
                  <a:cubicBezTo>
                    <a:pt x="43" y="53"/>
                    <a:pt x="44" y="54"/>
                    <a:pt x="45" y="55"/>
                  </a:cubicBezTo>
                  <a:cubicBezTo>
                    <a:pt x="46" y="59"/>
                    <a:pt x="50" y="58"/>
                    <a:pt x="53" y="57"/>
                  </a:cubicBezTo>
                  <a:cubicBezTo>
                    <a:pt x="53" y="57"/>
                    <a:pt x="54" y="58"/>
                    <a:pt x="54" y="58"/>
                  </a:cubicBezTo>
                  <a:cubicBezTo>
                    <a:pt x="54" y="59"/>
                    <a:pt x="54" y="59"/>
                    <a:pt x="54" y="60"/>
                  </a:cubicBezTo>
                  <a:cubicBezTo>
                    <a:pt x="50" y="61"/>
                    <a:pt x="47" y="64"/>
                    <a:pt x="44" y="67"/>
                  </a:cubicBezTo>
                  <a:cubicBezTo>
                    <a:pt x="41" y="70"/>
                    <a:pt x="37" y="71"/>
                    <a:pt x="33" y="70"/>
                  </a:cubicBezTo>
                  <a:cubicBezTo>
                    <a:pt x="33" y="70"/>
                    <a:pt x="33" y="70"/>
                    <a:pt x="33" y="70"/>
                  </a:cubicBezTo>
                  <a:cubicBezTo>
                    <a:pt x="33" y="70"/>
                    <a:pt x="33" y="70"/>
                    <a:pt x="32" y="70"/>
                  </a:cubicBezTo>
                  <a:cubicBezTo>
                    <a:pt x="32" y="73"/>
                    <a:pt x="32" y="76"/>
                    <a:pt x="32" y="79"/>
                  </a:cubicBezTo>
                  <a:cubicBezTo>
                    <a:pt x="33" y="81"/>
                    <a:pt x="34" y="83"/>
                    <a:pt x="36" y="83"/>
                  </a:cubicBezTo>
                  <a:cubicBezTo>
                    <a:pt x="38" y="84"/>
                    <a:pt x="41" y="84"/>
                    <a:pt x="42" y="86"/>
                  </a:cubicBezTo>
                  <a:cubicBezTo>
                    <a:pt x="42" y="86"/>
                    <a:pt x="43" y="86"/>
                    <a:pt x="43" y="86"/>
                  </a:cubicBezTo>
                  <a:cubicBezTo>
                    <a:pt x="43" y="86"/>
                    <a:pt x="43" y="86"/>
                    <a:pt x="43" y="87"/>
                  </a:cubicBezTo>
                  <a:cubicBezTo>
                    <a:pt x="44" y="87"/>
                    <a:pt x="46" y="87"/>
                    <a:pt x="47" y="87"/>
                  </a:cubicBezTo>
                  <a:cubicBezTo>
                    <a:pt x="49" y="87"/>
                    <a:pt x="49" y="87"/>
                    <a:pt x="48" y="88"/>
                  </a:cubicBezTo>
                  <a:cubicBezTo>
                    <a:pt x="48" y="88"/>
                    <a:pt x="47" y="88"/>
                    <a:pt x="47" y="88"/>
                  </a:cubicBezTo>
                  <a:cubicBezTo>
                    <a:pt x="45" y="88"/>
                    <a:pt x="44" y="88"/>
                    <a:pt x="43" y="87"/>
                  </a:cubicBezTo>
                  <a:cubicBezTo>
                    <a:pt x="43" y="87"/>
                    <a:pt x="43" y="86"/>
                    <a:pt x="42" y="86"/>
                  </a:cubicBezTo>
                  <a:cubicBezTo>
                    <a:pt x="42" y="86"/>
                    <a:pt x="42" y="86"/>
                    <a:pt x="42" y="86"/>
                  </a:cubicBezTo>
                  <a:cubicBezTo>
                    <a:pt x="40" y="87"/>
                    <a:pt x="38" y="87"/>
                    <a:pt x="37" y="89"/>
                  </a:cubicBezTo>
                  <a:cubicBezTo>
                    <a:pt x="36" y="91"/>
                    <a:pt x="36" y="94"/>
                    <a:pt x="37" y="96"/>
                  </a:cubicBezTo>
                  <a:cubicBezTo>
                    <a:pt x="42" y="104"/>
                    <a:pt x="48" y="109"/>
                    <a:pt x="56" y="112"/>
                  </a:cubicBezTo>
                  <a:cubicBezTo>
                    <a:pt x="56" y="112"/>
                    <a:pt x="56" y="112"/>
                    <a:pt x="56" y="112"/>
                  </a:cubicBezTo>
                  <a:cubicBezTo>
                    <a:pt x="57" y="111"/>
                    <a:pt x="57" y="111"/>
                    <a:pt x="57" y="111"/>
                  </a:cubicBezTo>
                  <a:cubicBezTo>
                    <a:pt x="56" y="112"/>
                    <a:pt x="56" y="112"/>
                    <a:pt x="56" y="112"/>
                  </a:cubicBezTo>
                  <a:cubicBezTo>
                    <a:pt x="56" y="112"/>
                    <a:pt x="56" y="112"/>
                    <a:pt x="56" y="112"/>
                  </a:cubicBezTo>
                  <a:cubicBezTo>
                    <a:pt x="56" y="113"/>
                    <a:pt x="56" y="114"/>
                    <a:pt x="56" y="115"/>
                  </a:cubicBezTo>
                  <a:cubicBezTo>
                    <a:pt x="57" y="119"/>
                    <a:pt x="60" y="122"/>
                    <a:pt x="63" y="125"/>
                  </a:cubicBezTo>
                  <a:cubicBezTo>
                    <a:pt x="64" y="126"/>
                    <a:pt x="68" y="125"/>
                    <a:pt x="69" y="124"/>
                  </a:cubicBezTo>
                  <a:cubicBezTo>
                    <a:pt x="70" y="123"/>
                    <a:pt x="70" y="122"/>
                    <a:pt x="70" y="121"/>
                  </a:cubicBezTo>
                  <a:cubicBezTo>
                    <a:pt x="70" y="114"/>
                    <a:pt x="73" y="108"/>
                    <a:pt x="73" y="101"/>
                  </a:cubicBezTo>
                  <a:cubicBezTo>
                    <a:pt x="73" y="97"/>
                    <a:pt x="74" y="94"/>
                    <a:pt x="77" y="91"/>
                  </a:cubicBezTo>
                  <a:cubicBezTo>
                    <a:pt x="78" y="89"/>
                    <a:pt x="79" y="87"/>
                    <a:pt x="79" y="85"/>
                  </a:cubicBezTo>
                  <a:cubicBezTo>
                    <a:pt x="79" y="77"/>
                    <a:pt x="84" y="69"/>
                    <a:pt x="83" y="61"/>
                  </a:cubicBezTo>
                  <a:cubicBezTo>
                    <a:pt x="83" y="60"/>
                    <a:pt x="83" y="59"/>
                    <a:pt x="83" y="58"/>
                  </a:cubicBezTo>
                  <a:cubicBezTo>
                    <a:pt x="85" y="54"/>
                    <a:pt x="87" y="51"/>
                    <a:pt x="91" y="50"/>
                  </a:cubicBezTo>
                  <a:cubicBezTo>
                    <a:pt x="92" y="49"/>
                    <a:pt x="93" y="50"/>
                    <a:pt x="93" y="51"/>
                  </a:cubicBezTo>
                  <a:cubicBezTo>
                    <a:pt x="94" y="53"/>
                    <a:pt x="92" y="55"/>
                    <a:pt x="93" y="57"/>
                  </a:cubicBezTo>
                  <a:cubicBezTo>
                    <a:pt x="97" y="62"/>
                    <a:pt x="98" y="68"/>
                    <a:pt x="101" y="74"/>
                  </a:cubicBezTo>
                  <a:cubicBezTo>
                    <a:pt x="102" y="76"/>
                    <a:pt x="103" y="79"/>
                    <a:pt x="102" y="81"/>
                  </a:cubicBezTo>
                  <a:cubicBezTo>
                    <a:pt x="101" y="84"/>
                    <a:pt x="101" y="86"/>
                    <a:pt x="100" y="89"/>
                  </a:cubicBezTo>
                  <a:cubicBezTo>
                    <a:pt x="100" y="91"/>
                    <a:pt x="102" y="93"/>
                    <a:pt x="104" y="93"/>
                  </a:cubicBezTo>
                  <a:cubicBezTo>
                    <a:pt x="107" y="92"/>
                    <a:pt x="109" y="91"/>
                    <a:pt x="112" y="90"/>
                  </a:cubicBezTo>
                  <a:cubicBezTo>
                    <a:pt x="114" y="89"/>
                    <a:pt x="114" y="89"/>
                    <a:pt x="116" y="92"/>
                  </a:cubicBezTo>
                  <a:cubicBezTo>
                    <a:pt x="116" y="93"/>
                    <a:pt x="116" y="93"/>
                    <a:pt x="116" y="94"/>
                  </a:cubicBezTo>
                  <a:cubicBezTo>
                    <a:pt x="117" y="97"/>
                    <a:pt x="119" y="97"/>
                    <a:pt x="121" y="96"/>
                  </a:cubicBezTo>
                  <a:cubicBezTo>
                    <a:pt x="127" y="91"/>
                    <a:pt x="130" y="84"/>
                    <a:pt x="132" y="77"/>
                  </a:cubicBezTo>
                  <a:cubicBezTo>
                    <a:pt x="132" y="76"/>
                    <a:pt x="131" y="75"/>
                    <a:pt x="130" y="75"/>
                  </a:cubicBezTo>
                  <a:cubicBezTo>
                    <a:pt x="130" y="74"/>
                    <a:pt x="128" y="74"/>
                    <a:pt x="127" y="74"/>
                  </a:cubicBezTo>
                  <a:cubicBezTo>
                    <a:pt x="122" y="74"/>
                    <a:pt x="120" y="71"/>
                    <a:pt x="120" y="66"/>
                  </a:cubicBezTo>
                  <a:cubicBezTo>
                    <a:pt x="119" y="61"/>
                    <a:pt x="118" y="61"/>
                    <a:pt x="111" y="62"/>
                  </a:cubicBezTo>
                  <a:cubicBezTo>
                    <a:pt x="108" y="63"/>
                    <a:pt x="108" y="63"/>
                    <a:pt x="109" y="60"/>
                  </a:cubicBezTo>
                  <a:cubicBezTo>
                    <a:pt x="109" y="58"/>
                    <a:pt x="110" y="57"/>
                    <a:pt x="110" y="55"/>
                  </a:cubicBezTo>
                  <a:cubicBezTo>
                    <a:pt x="111" y="52"/>
                    <a:pt x="110" y="50"/>
                    <a:pt x="107" y="49"/>
                  </a:cubicBezTo>
                  <a:cubicBezTo>
                    <a:pt x="104" y="48"/>
                    <a:pt x="101" y="48"/>
                    <a:pt x="99" y="44"/>
                  </a:cubicBezTo>
                  <a:cubicBezTo>
                    <a:pt x="97" y="41"/>
                    <a:pt x="92" y="39"/>
                    <a:pt x="92" y="34"/>
                  </a:cubicBezTo>
                  <a:cubicBezTo>
                    <a:pt x="91" y="34"/>
                    <a:pt x="90" y="33"/>
                    <a:pt x="89" y="33"/>
                  </a:cubicBezTo>
                  <a:cubicBezTo>
                    <a:pt x="87" y="32"/>
                    <a:pt x="85" y="32"/>
                    <a:pt x="83" y="31"/>
                  </a:cubicBezTo>
                  <a:cubicBezTo>
                    <a:pt x="79" y="30"/>
                    <a:pt x="75" y="28"/>
                    <a:pt x="74" y="23"/>
                  </a:cubicBezTo>
                  <a:cubicBezTo>
                    <a:pt x="73" y="19"/>
                    <a:pt x="71" y="15"/>
                    <a:pt x="66" y="13"/>
                  </a:cubicBezTo>
                  <a:cubicBezTo>
                    <a:pt x="65" y="12"/>
                    <a:pt x="64" y="11"/>
                    <a:pt x="63" y="9"/>
                  </a:cubicBezTo>
                  <a:cubicBezTo>
                    <a:pt x="62" y="7"/>
                    <a:pt x="60" y="5"/>
                    <a:pt x="56" y="4"/>
                  </a:cubicBezTo>
                  <a:cubicBezTo>
                    <a:pt x="54" y="3"/>
                    <a:pt x="52" y="2"/>
                    <a:pt x="50" y="1"/>
                  </a:cubicBezTo>
                  <a:cubicBezTo>
                    <a:pt x="48" y="0"/>
                    <a:pt x="46" y="1"/>
                    <a:pt x="45" y="3"/>
                  </a:cubicBezTo>
                  <a:cubicBezTo>
                    <a:pt x="45" y="7"/>
                    <a:pt x="44" y="10"/>
                    <a:pt x="43" y="13"/>
                  </a:cubicBezTo>
                  <a:cubicBezTo>
                    <a:pt x="43" y="13"/>
                    <a:pt x="43" y="13"/>
                    <a:pt x="43" y="13"/>
                  </a:cubicBezTo>
                  <a:cubicBezTo>
                    <a:pt x="43" y="14"/>
                    <a:pt x="43" y="14"/>
                    <a:pt x="43" y="14"/>
                  </a:cubicBezTo>
                  <a:cubicBezTo>
                    <a:pt x="45" y="16"/>
                    <a:pt x="45" y="18"/>
                    <a:pt x="45" y="21"/>
                  </a:cubicBezTo>
                  <a:cubicBezTo>
                    <a:pt x="45" y="21"/>
                    <a:pt x="45" y="22"/>
                    <a:pt x="45" y="22"/>
                  </a:cubicBezTo>
                  <a:cubicBezTo>
                    <a:pt x="44" y="23"/>
                    <a:pt x="43" y="22"/>
                    <a:pt x="43" y="21"/>
                  </a:cubicBezTo>
                  <a:cubicBezTo>
                    <a:pt x="43" y="19"/>
                    <a:pt x="43" y="16"/>
                    <a:pt x="43" y="14"/>
                  </a:cubicBezTo>
                  <a:cubicBezTo>
                    <a:pt x="43" y="14"/>
                    <a:pt x="43" y="14"/>
                    <a:pt x="43" y="14"/>
                  </a:cubicBezTo>
                  <a:cubicBezTo>
                    <a:pt x="43" y="14"/>
                    <a:pt x="43" y="14"/>
                    <a:pt x="43" y="13"/>
                  </a:cubicBezTo>
                  <a:cubicBezTo>
                    <a:pt x="42" y="14"/>
                    <a:pt x="41" y="14"/>
                    <a:pt x="40" y="13"/>
                  </a:cubicBezTo>
                  <a:cubicBezTo>
                    <a:pt x="37" y="11"/>
                    <a:pt x="33" y="12"/>
                    <a:pt x="30" y="13"/>
                  </a:cubicBezTo>
                  <a:cubicBezTo>
                    <a:pt x="30" y="14"/>
                    <a:pt x="30" y="14"/>
                    <a:pt x="30" y="14"/>
                  </a:cubicBezTo>
                  <a:cubicBezTo>
                    <a:pt x="29" y="14"/>
                    <a:pt x="29" y="14"/>
                    <a:pt x="29" y="14"/>
                  </a:cubicBezTo>
                  <a:cubicBezTo>
                    <a:pt x="29" y="15"/>
                    <a:pt x="29" y="16"/>
                    <a:pt x="29" y="16"/>
                  </a:cubicBezTo>
                  <a:cubicBezTo>
                    <a:pt x="29" y="18"/>
                    <a:pt x="28" y="18"/>
                    <a:pt x="27" y="18"/>
                  </a:cubicBezTo>
                  <a:cubicBezTo>
                    <a:pt x="26" y="18"/>
                    <a:pt x="26" y="17"/>
                    <a:pt x="26" y="17"/>
                  </a:cubicBezTo>
                  <a:cubicBezTo>
                    <a:pt x="25" y="16"/>
                    <a:pt x="25" y="15"/>
                    <a:pt x="27" y="15"/>
                  </a:cubicBezTo>
                  <a:cubicBezTo>
                    <a:pt x="27" y="15"/>
                    <a:pt x="28" y="14"/>
                    <a:pt x="29" y="14"/>
                  </a:cubicBezTo>
                  <a:cubicBezTo>
                    <a:pt x="29" y="14"/>
                    <a:pt x="29" y="14"/>
                    <a:pt x="29" y="14"/>
                  </a:cubicBezTo>
                  <a:cubicBezTo>
                    <a:pt x="29" y="13"/>
                    <a:pt x="29" y="13"/>
                    <a:pt x="30" y="13"/>
                  </a:cubicBezTo>
                  <a:cubicBezTo>
                    <a:pt x="30" y="13"/>
                    <a:pt x="30" y="13"/>
                    <a:pt x="29" y="12"/>
                  </a:cubicBezTo>
                  <a:cubicBezTo>
                    <a:pt x="28" y="8"/>
                    <a:pt x="26" y="7"/>
                    <a:pt x="23" y="8"/>
                  </a:cubicBezTo>
                  <a:cubicBezTo>
                    <a:pt x="19" y="9"/>
                    <a:pt x="14" y="10"/>
                    <a:pt x="10" y="11"/>
                  </a:cubicBezTo>
                  <a:cubicBezTo>
                    <a:pt x="7" y="11"/>
                    <a:pt x="5" y="13"/>
                    <a:pt x="4" y="15"/>
                  </a:cubicBezTo>
                  <a:cubicBezTo>
                    <a:pt x="4" y="17"/>
                    <a:pt x="3" y="18"/>
                    <a:pt x="2" y="20"/>
                  </a:cubicBezTo>
                  <a:cubicBezTo>
                    <a:pt x="0" y="26"/>
                    <a:pt x="1" y="31"/>
                    <a:pt x="6" y="35"/>
                  </a:cubicBezTo>
                  <a:cubicBezTo>
                    <a:pt x="7" y="36"/>
                    <a:pt x="9" y="37"/>
                    <a:pt x="9" y="39"/>
                  </a:cubicBezTo>
                  <a:close/>
                  <a:moveTo>
                    <a:pt x="50" y="82"/>
                  </a:moveTo>
                  <a:cubicBezTo>
                    <a:pt x="48" y="81"/>
                    <a:pt x="48" y="81"/>
                    <a:pt x="48" y="81"/>
                  </a:cubicBezTo>
                  <a:cubicBezTo>
                    <a:pt x="50" y="81"/>
                    <a:pt x="50" y="81"/>
                    <a:pt x="50" y="81"/>
                  </a:cubicBezTo>
                  <a:lnTo>
                    <a:pt x="50" y="82"/>
                  </a:lnTo>
                  <a:close/>
                  <a:moveTo>
                    <a:pt x="46" y="33"/>
                  </a:moveTo>
                  <a:cubicBezTo>
                    <a:pt x="46" y="33"/>
                    <a:pt x="46" y="33"/>
                    <a:pt x="46" y="33"/>
                  </a:cubicBezTo>
                  <a:cubicBezTo>
                    <a:pt x="45" y="33"/>
                    <a:pt x="45" y="33"/>
                    <a:pt x="45" y="33"/>
                  </a:cubicBezTo>
                  <a:cubicBezTo>
                    <a:pt x="45" y="32"/>
                    <a:pt x="45" y="32"/>
                    <a:pt x="45" y="32"/>
                  </a:cubicBezTo>
                  <a:lnTo>
                    <a:pt x="46" y="33"/>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138"/>
            <p:cNvSpPr>
              <a:spLocks/>
            </p:cNvSpPr>
            <p:nvPr/>
          </p:nvSpPr>
          <p:spPr bwMode="auto">
            <a:xfrm>
              <a:off x="6174616" y="6095514"/>
              <a:ext cx="293498" cy="276287"/>
            </a:xfrm>
            <a:custGeom>
              <a:avLst/>
              <a:gdLst>
                <a:gd name="T0" fmla="*/ 134 w 137"/>
                <a:gd name="T1" fmla="*/ 10 h 129"/>
                <a:gd name="T2" fmla="*/ 127 w 137"/>
                <a:gd name="T3" fmla="*/ 11 h 129"/>
                <a:gd name="T4" fmla="*/ 124 w 137"/>
                <a:gd name="T5" fmla="*/ 5 h 129"/>
                <a:gd name="T6" fmla="*/ 122 w 137"/>
                <a:gd name="T7" fmla="*/ 2 h 129"/>
                <a:gd name="T8" fmla="*/ 116 w 137"/>
                <a:gd name="T9" fmla="*/ 1 h 129"/>
                <a:gd name="T10" fmla="*/ 112 w 137"/>
                <a:gd name="T11" fmla="*/ 4 h 129"/>
                <a:gd name="T12" fmla="*/ 96 w 137"/>
                <a:gd name="T13" fmla="*/ 24 h 129"/>
                <a:gd name="T14" fmla="*/ 92 w 137"/>
                <a:gd name="T15" fmla="*/ 28 h 129"/>
                <a:gd name="T16" fmla="*/ 88 w 137"/>
                <a:gd name="T17" fmla="*/ 35 h 129"/>
                <a:gd name="T18" fmla="*/ 76 w 137"/>
                <a:gd name="T19" fmla="*/ 48 h 129"/>
                <a:gd name="T20" fmla="*/ 58 w 137"/>
                <a:gd name="T21" fmla="*/ 58 h 129"/>
                <a:gd name="T22" fmla="*/ 42 w 137"/>
                <a:gd name="T23" fmla="*/ 66 h 129"/>
                <a:gd name="T24" fmla="*/ 38 w 137"/>
                <a:gd name="T25" fmla="*/ 68 h 129"/>
                <a:gd name="T26" fmla="*/ 14 w 137"/>
                <a:gd name="T27" fmla="*/ 88 h 129"/>
                <a:gd name="T28" fmla="*/ 1 w 137"/>
                <a:gd name="T29" fmla="*/ 107 h 129"/>
                <a:gd name="T30" fmla="*/ 4 w 137"/>
                <a:gd name="T31" fmla="*/ 114 h 129"/>
                <a:gd name="T32" fmla="*/ 17 w 137"/>
                <a:gd name="T33" fmla="*/ 122 h 129"/>
                <a:gd name="T34" fmla="*/ 19 w 137"/>
                <a:gd name="T35" fmla="*/ 125 h 129"/>
                <a:gd name="T36" fmla="*/ 33 w 137"/>
                <a:gd name="T37" fmla="*/ 127 h 129"/>
                <a:gd name="T38" fmla="*/ 55 w 137"/>
                <a:gd name="T39" fmla="*/ 112 h 129"/>
                <a:gd name="T40" fmla="*/ 61 w 137"/>
                <a:gd name="T41" fmla="*/ 102 h 129"/>
                <a:gd name="T42" fmla="*/ 66 w 137"/>
                <a:gd name="T43" fmla="*/ 95 h 129"/>
                <a:gd name="T44" fmla="*/ 73 w 137"/>
                <a:gd name="T45" fmla="*/ 86 h 129"/>
                <a:gd name="T46" fmla="*/ 89 w 137"/>
                <a:gd name="T47" fmla="*/ 72 h 129"/>
                <a:gd name="T48" fmla="*/ 99 w 137"/>
                <a:gd name="T49" fmla="*/ 70 h 129"/>
                <a:gd name="T50" fmla="*/ 104 w 137"/>
                <a:gd name="T51" fmla="*/ 66 h 129"/>
                <a:gd name="T52" fmla="*/ 109 w 137"/>
                <a:gd name="T53" fmla="*/ 54 h 129"/>
                <a:gd name="T54" fmla="*/ 114 w 137"/>
                <a:gd name="T55" fmla="*/ 50 h 129"/>
                <a:gd name="T56" fmla="*/ 133 w 137"/>
                <a:gd name="T57" fmla="*/ 30 h 129"/>
                <a:gd name="T58" fmla="*/ 135 w 137"/>
                <a:gd name="T59" fmla="*/ 25 h 129"/>
                <a:gd name="T60" fmla="*/ 136 w 137"/>
                <a:gd name="T61" fmla="*/ 20 h 129"/>
                <a:gd name="T62" fmla="*/ 136 w 137"/>
                <a:gd name="T63" fmla="*/ 17 h 129"/>
                <a:gd name="T64" fmla="*/ 137 w 137"/>
                <a:gd name="T65" fmla="*/ 14 h 129"/>
                <a:gd name="T66" fmla="*/ 137 w 137"/>
                <a:gd name="T67" fmla="*/ 12 h 129"/>
                <a:gd name="T68" fmla="*/ 134 w 137"/>
                <a:gd name="T69"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29">
                  <a:moveTo>
                    <a:pt x="134" y="10"/>
                  </a:moveTo>
                  <a:cubicBezTo>
                    <a:pt x="131" y="10"/>
                    <a:pt x="129" y="11"/>
                    <a:pt x="127" y="11"/>
                  </a:cubicBezTo>
                  <a:cubicBezTo>
                    <a:pt x="124" y="10"/>
                    <a:pt x="125" y="6"/>
                    <a:pt x="124" y="5"/>
                  </a:cubicBezTo>
                  <a:cubicBezTo>
                    <a:pt x="123" y="4"/>
                    <a:pt x="122" y="3"/>
                    <a:pt x="122" y="2"/>
                  </a:cubicBezTo>
                  <a:cubicBezTo>
                    <a:pt x="121" y="0"/>
                    <a:pt x="118" y="0"/>
                    <a:pt x="116" y="1"/>
                  </a:cubicBezTo>
                  <a:cubicBezTo>
                    <a:pt x="114" y="2"/>
                    <a:pt x="113" y="3"/>
                    <a:pt x="112" y="4"/>
                  </a:cubicBezTo>
                  <a:cubicBezTo>
                    <a:pt x="109" y="12"/>
                    <a:pt x="104" y="19"/>
                    <a:pt x="96" y="24"/>
                  </a:cubicBezTo>
                  <a:cubicBezTo>
                    <a:pt x="94" y="25"/>
                    <a:pt x="93" y="27"/>
                    <a:pt x="92" y="28"/>
                  </a:cubicBezTo>
                  <a:cubicBezTo>
                    <a:pt x="91" y="31"/>
                    <a:pt x="89" y="33"/>
                    <a:pt x="88" y="35"/>
                  </a:cubicBezTo>
                  <a:cubicBezTo>
                    <a:pt x="86" y="41"/>
                    <a:pt x="82" y="45"/>
                    <a:pt x="76" y="48"/>
                  </a:cubicBezTo>
                  <a:cubicBezTo>
                    <a:pt x="70" y="51"/>
                    <a:pt x="64" y="54"/>
                    <a:pt x="58" y="58"/>
                  </a:cubicBezTo>
                  <a:cubicBezTo>
                    <a:pt x="52" y="60"/>
                    <a:pt x="49" y="66"/>
                    <a:pt x="42" y="66"/>
                  </a:cubicBezTo>
                  <a:cubicBezTo>
                    <a:pt x="40" y="66"/>
                    <a:pt x="39" y="67"/>
                    <a:pt x="38" y="68"/>
                  </a:cubicBezTo>
                  <a:cubicBezTo>
                    <a:pt x="29" y="74"/>
                    <a:pt x="22" y="81"/>
                    <a:pt x="14" y="88"/>
                  </a:cubicBezTo>
                  <a:cubicBezTo>
                    <a:pt x="8" y="93"/>
                    <a:pt x="5" y="100"/>
                    <a:pt x="1" y="107"/>
                  </a:cubicBezTo>
                  <a:cubicBezTo>
                    <a:pt x="0" y="109"/>
                    <a:pt x="1" y="113"/>
                    <a:pt x="4" y="114"/>
                  </a:cubicBezTo>
                  <a:cubicBezTo>
                    <a:pt x="9" y="116"/>
                    <a:pt x="14" y="118"/>
                    <a:pt x="17" y="122"/>
                  </a:cubicBezTo>
                  <a:cubicBezTo>
                    <a:pt x="18" y="123"/>
                    <a:pt x="19" y="124"/>
                    <a:pt x="19" y="125"/>
                  </a:cubicBezTo>
                  <a:cubicBezTo>
                    <a:pt x="23" y="128"/>
                    <a:pt x="28" y="129"/>
                    <a:pt x="33" y="127"/>
                  </a:cubicBezTo>
                  <a:cubicBezTo>
                    <a:pt x="41" y="123"/>
                    <a:pt x="47" y="116"/>
                    <a:pt x="55" y="112"/>
                  </a:cubicBezTo>
                  <a:cubicBezTo>
                    <a:pt x="57" y="109"/>
                    <a:pt x="59" y="105"/>
                    <a:pt x="61" y="102"/>
                  </a:cubicBezTo>
                  <a:cubicBezTo>
                    <a:pt x="63" y="99"/>
                    <a:pt x="65" y="97"/>
                    <a:pt x="66" y="95"/>
                  </a:cubicBezTo>
                  <a:cubicBezTo>
                    <a:pt x="69" y="93"/>
                    <a:pt x="71" y="90"/>
                    <a:pt x="73" y="86"/>
                  </a:cubicBezTo>
                  <a:cubicBezTo>
                    <a:pt x="79" y="75"/>
                    <a:pt x="78" y="78"/>
                    <a:pt x="89" y="72"/>
                  </a:cubicBezTo>
                  <a:cubicBezTo>
                    <a:pt x="92" y="70"/>
                    <a:pt x="95" y="70"/>
                    <a:pt x="99" y="70"/>
                  </a:cubicBezTo>
                  <a:cubicBezTo>
                    <a:pt x="102" y="70"/>
                    <a:pt x="104" y="68"/>
                    <a:pt x="104" y="66"/>
                  </a:cubicBezTo>
                  <a:cubicBezTo>
                    <a:pt x="102" y="60"/>
                    <a:pt x="104" y="57"/>
                    <a:pt x="109" y="54"/>
                  </a:cubicBezTo>
                  <a:cubicBezTo>
                    <a:pt x="111" y="53"/>
                    <a:pt x="113" y="52"/>
                    <a:pt x="114" y="50"/>
                  </a:cubicBezTo>
                  <a:cubicBezTo>
                    <a:pt x="120" y="43"/>
                    <a:pt x="126" y="37"/>
                    <a:pt x="133" y="30"/>
                  </a:cubicBezTo>
                  <a:cubicBezTo>
                    <a:pt x="134" y="29"/>
                    <a:pt x="135" y="27"/>
                    <a:pt x="135" y="25"/>
                  </a:cubicBezTo>
                  <a:cubicBezTo>
                    <a:pt x="135" y="23"/>
                    <a:pt x="135" y="20"/>
                    <a:pt x="136" y="20"/>
                  </a:cubicBezTo>
                  <a:cubicBezTo>
                    <a:pt x="136" y="18"/>
                    <a:pt x="136" y="17"/>
                    <a:pt x="136" y="17"/>
                  </a:cubicBezTo>
                  <a:cubicBezTo>
                    <a:pt x="137" y="16"/>
                    <a:pt x="137" y="15"/>
                    <a:pt x="137" y="14"/>
                  </a:cubicBezTo>
                  <a:cubicBezTo>
                    <a:pt x="137" y="13"/>
                    <a:pt x="137" y="13"/>
                    <a:pt x="137" y="12"/>
                  </a:cubicBezTo>
                  <a:cubicBezTo>
                    <a:pt x="137" y="11"/>
                    <a:pt x="135" y="9"/>
                    <a:pt x="134" y="1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139"/>
            <p:cNvSpPr>
              <a:spLocks/>
            </p:cNvSpPr>
            <p:nvPr/>
          </p:nvSpPr>
          <p:spPr bwMode="auto">
            <a:xfrm>
              <a:off x="3229670" y="1225620"/>
              <a:ext cx="240052" cy="199289"/>
            </a:xfrm>
            <a:custGeom>
              <a:avLst/>
              <a:gdLst>
                <a:gd name="T0" fmla="*/ 4 w 112"/>
                <a:gd name="T1" fmla="*/ 47 h 93"/>
                <a:gd name="T2" fmla="*/ 7 w 112"/>
                <a:gd name="T3" fmla="*/ 50 h 93"/>
                <a:gd name="T4" fmla="*/ 12 w 112"/>
                <a:gd name="T5" fmla="*/ 51 h 93"/>
                <a:gd name="T6" fmla="*/ 22 w 112"/>
                <a:gd name="T7" fmla="*/ 55 h 93"/>
                <a:gd name="T8" fmla="*/ 24 w 112"/>
                <a:gd name="T9" fmla="*/ 55 h 93"/>
                <a:gd name="T10" fmla="*/ 22 w 112"/>
                <a:gd name="T11" fmla="*/ 57 h 93"/>
                <a:gd name="T12" fmla="*/ 16 w 112"/>
                <a:gd name="T13" fmla="*/ 58 h 93"/>
                <a:gd name="T14" fmla="*/ 10 w 112"/>
                <a:gd name="T15" fmla="*/ 61 h 93"/>
                <a:gd name="T16" fmla="*/ 13 w 112"/>
                <a:gd name="T17" fmla="*/ 66 h 93"/>
                <a:gd name="T18" fmla="*/ 22 w 112"/>
                <a:gd name="T19" fmla="*/ 75 h 93"/>
                <a:gd name="T20" fmla="*/ 25 w 112"/>
                <a:gd name="T21" fmla="*/ 75 h 93"/>
                <a:gd name="T22" fmla="*/ 35 w 112"/>
                <a:gd name="T23" fmla="*/ 61 h 93"/>
                <a:gd name="T24" fmla="*/ 34 w 112"/>
                <a:gd name="T25" fmla="*/ 57 h 93"/>
                <a:gd name="T26" fmla="*/ 35 w 112"/>
                <a:gd name="T27" fmla="*/ 56 h 93"/>
                <a:gd name="T28" fmla="*/ 37 w 112"/>
                <a:gd name="T29" fmla="*/ 56 h 93"/>
                <a:gd name="T30" fmla="*/ 41 w 112"/>
                <a:gd name="T31" fmla="*/ 66 h 93"/>
                <a:gd name="T32" fmla="*/ 40 w 112"/>
                <a:gd name="T33" fmla="*/ 72 h 93"/>
                <a:gd name="T34" fmla="*/ 44 w 112"/>
                <a:gd name="T35" fmla="*/ 78 h 93"/>
                <a:gd name="T36" fmla="*/ 54 w 112"/>
                <a:gd name="T37" fmla="*/ 82 h 93"/>
                <a:gd name="T38" fmla="*/ 68 w 112"/>
                <a:gd name="T39" fmla="*/ 89 h 93"/>
                <a:gd name="T40" fmla="*/ 95 w 112"/>
                <a:gd name="T41" fmla="*/ 92 h 93"/>
                <a:gd name="T42" fmla="*/ 100 w 112"/>
                <a:gd name="T43" fmla="*/ 92 h 93"/>
                <a:gd name="T44" fmla="*/ 111 w 112"/>
                <a:gd name="T45" fmla="*/ 85 h 93"/>
                <a:gd name="T46" fmla="*/ 111 w 112"/>
                <a:gd name="T47" fmla="*/ 79 h 93"/>
                <a:gd name="T48" fmla="*/ 109 w 112"/>
                <a:gd name="T49" fmla="*/ 77 h 93"/>
                <a:gd name="T50" fmla="*/ 104 w 112"/>
                <a:gd name="T51" fmla="*/ 73 h 93"/>
                <a:gd name="T52" fmla="*/ 101 w 112"/>
                <a:gd name="T53" fmla="*/ 68 h 93"/>
                <a:gd name="T54" fmla="*/ 97 w 112"/>
                <a:gd name="T55" fmla="*/ 57 h 93"/>
                <a:gd name="T56" fmla="*/ 82 w 112"/>
                <a:gd name="T57" fmla="*/ 40 h 93"/>
                <a:gd name="T58" fmla="*/ 73 w 112"/>
                <a:gd name="T59" fmla="*/ 40 h 93"/>
                <a:gd name="T60" fmla="*/ 65 w 112"/>
                <a:gd name="T61" fmla="*/ 40 h 93"/>
                <a:gd name="T62" fmla="*/ 55 w 112"/>
                <a:gd name="T63" fmla="*/ 40 h 93"/>
                <a:gd name="T64" fmla="*/ 52 w 112"/>
                <a:gd name="T65" fmla="*/ 42 h 93"/>
                <a:gd name="T66" fmla="*/ 52 w 112"/>
                <a:gd name="T67" fmla="*/ 42 h 93"/>
                <a:gd name="T68" fmla="*/ 51 w 112"/>
                <a:gd name="T69" fmla="*/ 42 h 93"/>
                <a:gd name="T70" fmla="*/ 44 w 112"/>
                <a:gd name="T71" fmla="*/ 49 h 93"/>
                <a:gd name="T72" fmla="*/ 42 w 112"/>
                <a:gd name="T73" fmla="*/ 49 h 93"/>
                <a:gd name="T74" fmla="*/ 42 w 112"/>
                <a:gd name="T75" fmla="*/ 47 h 93"/>
                <a:gd name="T76" fmla="*/ 51 w 112"/>
                <a:gd name="T77" fmla="*/ 42 h 93"/>
                <a:gd name="T78" fmla="*/ 52 w 112"/>
                <a:gd name="T79" fmla="*/ 42 h 93"/>
                <a:gd name="T80" fmla="*/ 52 w 112"/>
                <a:gd name="T81" fmla="*/ 42 h 93"/>
                <a:gd name="T82" fmla="*/ 48 w 112"/>
                <a:gd name="T83" fmla="*/ 30 h 93"/>
                <a:gd name="T84" fmla="*/ 42 w 112"/>
                <a:gd name="T85" fmla="*/ 19 h 93"/>
                <a:gd name="T86" fmla="*/ 38 w 112"/>
                <a:gd name="T87" fmla="*/ 15 h 93"/>
                <a:gd name="T88" fmla="*/ 22 w 112"/>
                <a:gd name="T89" fmla="*/ 5 h 93"/>
                <a:gd name="T90" fmla="*/ 15 w 112"/>
                <a:gd name="T91" fmla="*/ 1 h 93"/>
                <a:gd name="T92" fmla="*/ 9 w 112"/>
                <a:gd name="T93" fmla="*/ 3 h 93"/>
                <a:gd name="T94" fmla="*/ 4 w 112"/>
                <a:gd name="T95" fmla="*/ 14 h 93"/>
                <a:gd name="T96" fmla="*/ 2 w 112"/>
                <a:gd name="T97" fmla="*/ 32 h 93"/>
                <a:gd name="T98" fmla="*/ 4 w 112"/>
                <a:gd name="T9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2" h="93">
                  <a:moveTo>
                    <a:pt x="4" y="47"/>
                  </a:moveTo>
                  <a:cubicBezTo>
                    <a:pt x="4" y="49"/>
                    <a:pt x="5" y="50"/>
                    <a:pt x="7" y="50"/>
                  </a:cubicBezTo>
                  <a:cubicBezTo>
                    <a:pt x="9" y="51"/>
                    <a:pt x="11" y="50"/>
                    <a:pt x="12" y="51"/>
                  </a:cubicBezTo>
                  <a:cubicBezTo>
                    <a:pt x="15" y="53"/>
                    <a:pt x="18" y="55"/>
                    <a:pt x="22" y="55"/>
                  </a:cubicBezTo>
                  <a:cubicBezTo>
                    <a:pt x="23" y="55"/>
                    <a:pt x="23" y="55"/>
                    <a:pt x="24" y="55"/>
                  </a:cubicBezTo>
                  <a:cubicBezTo>
                    <a:pt x="24" y="56"/>
                    <a:pt x="24" y="57"/>
                    <a:pt x="22" y="57"/>
                  </a:cubicBezTo>
                  <a:cubicBezTo>
                    <a:pt x="20" y="57"/>
                    <a:pt x="18" y="58"/>
                    <a:pt x="16" y="58"/>
                  </a:cubicBezTo>
                  <a:cubicBezTo>
                    <a:pt x="14" y="58"/>
                    <a:pt x="12" y="59"/>
                    <a:pt x="10" y="61"/>
                  </a:cubicBezTo>
                  <a:cubicBezTo>
                    <a:pt x="10" y="62"/>
                    <a:pt x="10" y="64"/>
                    <a:pt x="13" y="66"/>
                  </a:cubicBezTo>
                  <a:cubicBezTo>
                    <a:pt x="16" y="69"/>
                    <a:pt x="19" y="72"/>
                    <a:pt x="22" y="75"/>
                  </a:cubicBezTo>
                  <a:cubicBezTo>
                    <a:pt x="23" y="75"/>
                    <a:pt x="25" y="76"/>
                    <a:pt x="25" y="75"/>
                  </a:cubicBezTo>
                  <a:cubicBezTo>
                    <a:pt x="32" y="74"/>
                    <a:pt x="37" y="68"/>
                    <a:pt x="35" y="61"/>
                  </a:cubicBezTo>
                  <a:cubicBezTo>
                    <a:pt x="34" y="60"/>
                    <a:pt x="33" y="59"/>
                    <a:pt x="34" y="57"/>
                  </a:cubicBezTo>
                  <a:cubicBezTo>
                    <a:pt x="34" y="57"/>
                    <a:pt x="35" y="56"/>
                    <a:pt x="35" y="56"/>
                  </a:cubicBezTo>
                  <a:cubicBezTo>
                    <a:pt x="36" y="56"/>
                    <a:pt x="36" y="56"/>
                    <a:pt x="37" y="56"/>
                  </a:cubicBezTo>
                  <a:cubicBezTo>
                    <a:pt x="39" y="59"/>
                    <a:pt x="41" y="62"/>
                    <a:pt x="41" y="66"/>
                  </a:cubicBezTo>
                  <a:cubicBezTo>
                    <a:pt x="41" y="68"/>
                    <a:pt x="40" y="70"/>
                    <a:pt x="40" y="72"/>
                  </a:cubicBezTo>
                  <a:cubicBezTo>
                    <a:pt x="39" y="77"/>
                    <a:pt x="39" y="78"/>
                    <a:pt x="44" y="78"/>
                  </a:cubicBezTo>
                  <a:cubicBezTo>
                    <a:pt x="48" y="78"/>
                    <a:pt x="52" y="79"/>
                    <a:pt x="54" y="82"/>
                  </a:cubicBezTo>
                  <a:cubicBezTo>
                    <a:pt x="57" y="87"/>
                    <a:pt x="62" y="89"/>
                    <a:pt x="68" y="89"/>
                  </a:cubicBezTo>
                  <a:cubicBezTo>
                    <a:pt x="77" y="89"/>
                    <a:pt x="86" y="90"/>
                    <a:pt x="95" y="92"/>
                  </a:cubicBezTo>
                  <a:cubicBezTo>
                    <a:pt x="97" y="93"/>
                    <a:pt x="99" y="93"/>
                    <a:pt x="100" y="92"/>
                  </a:cubicBezTo>
                  <a:cubicBezTo>
                    <a:pt x="104" y="91"/>
                    <a:pt x="108" y="89"/>
                    <a:pt x="111" y="85"/>
                  </a:cubicBezTo>
                  <a:cubicBezTo>
                    <a:pt x="112" y="84"/>
                    <a:pt x="112" y="81"/>
                    <a:pt x="111" y="79"/>
                  </a:cubicBezTo>
                  <a:cubicBezTo>
                    <a:pt x="110" y="79"/>
                    <a:pt x="110" y="78"/>
                    <a:pt x="109" y="77"/>
                  </a:cubicBezTo>
                  <a:cubicBezTo>
                    <a:pt x="107" y="76"/>
                    <a:pt x="105" y="74"/>
                    <a:pt x="104" y="73"/>
                  </a:cubicBezTo>
                  <a:cubicBezTo>
                    <a:pt x="101" y="72"/>
                    <a:pt x="101" y="70"/>
                    <a:pt x="101" y="68"/>
                  </a:cubicBezTo>
                  <a:cubicBezTo>
                    <a:pt x="102" y="63"/>
                    <a:pt x="97" y="61"/>
                    <a:pt x="97" y="57"/>
                  </a:cubicBezTo>
                  <a:cubicBezTo>
                    <a:pt x="95" y="49"/>
                    <a:pt x="89" y="44"/>
                    <a:pt x="82" y="40"/>
                  </a:cubicBezTo>
                  <a:cubicBezTo>
                    <a:pt x="79" y="39"/>
                    <a:pt x="76" y="38"/>
                    <a:pt x="73" y="40"/>
                  </a:cubicBezTo>
                  <a:cubicBezTo>
                    <a:pt x="70" y="42"/>
                    <a:pt x="68" y="41"/>
                    <a:pt x="65" y="40"/>
                  </a:cubicBezTo>
                  <a:cubicBezTo>
                    <a:pt x="62" y="38"/>
                    <a:pt x="58" y="38"/>
                    <a:pt x="55" y="40"/>
                  </a:cubicBezTo>
                  <a:cubicBezTo>
                    <a:pt x="54" y="41"/>
                    <a:pt x="53" y="41"/>
                    <a:pt x="52" y="42"/>
                  </a:cubicBezTo>
                  <a:cubicBezTo>
                    <a:pt x="52" y="42"/>
                    <a:pt x="52" y="42"/>
                    <a:pt x="52" y="42"/>
                  </a:cubicBezTo>
                  <a:cubicBezTo>
                    <a:pt x="52" y="42"/>
                    <a:pt x="52" y="42"/>
                    <a:pt x="51" y="42"/>
                  </a:cubicBezTo>
                  <a:cubicBezTo>
                    <a:pt x="49" y="45"/>
                    <a:pt x="47" y="47"/>
                    <a:pt x="44" y="49"/>
                  </a:cubicBezTo>
                  <a:cubicBezTo>
                    <a:pt x="43" y="50"/>
                    <a:pt x="42" y="50"/>
                    <a:pt x="42" y="49"/>
                  </a:cubicBezTo>
                  <a:cubicBezTo>
                    <a:pt x="41" y="48"/>
                    <a:pt x="42" y="48"/>
                    <a:pt x="42" y="47"/>
                  </a:cubicBezTo>
                  <a:cubicBezTo>
                    <a:pt x="44" y="44"/>
                    <a:pt x="47" y="42"/>
                    <a:pt x="51" y="42"/>
                  </a:cubicBezTo>
                  <a:cubicBezTo>
                    <a:pt x="52" y="42"/>
                    <a:pt x="52" y="42"/>
                    <a:pt x="52" y="42"/>
                  </a:cubicBezTo>
                  <a:cubicBezTo>
                    <a:pt x="52" y="42"/>
                    <a:pt x="52" y="42"/>
                    <a:pt x="52" y="42"/>
                  </a:cubicBezTo>
                  <a:cubicBezTo>
                    <a:pt x="53" y="37"/>
                    <a:pt x="52" y="33"/>
                    <a:pt x="48" y="30"/>
                  </a:cubicBezTo>
                  <a:cubicBezTo>
                    <a:pt x="44" y="27"/>
                    <a:pt x="43" y="23"/>
                    <a:pt x="42" y="19"/>
                  </a:cubicBezTo>
                  <a:cubicBezTo>
                    <a:pt x="42" y="17"/>
                    <a:pt x="41" y="15"/>
                    <a:pt x="38" y="15"/>
                  </a:cubicBezTo>
                  <a:cubicBezTo>
                    <a:pt x="31" y="14"/>
                    <a:pt x="26" y="10"/>
                    <a:pt x="22" y="5"/>
                  </a:cubicBezTo>
                  <a:cubicBezTo>
                    <a:pt x="20" y="3"/>
                    <a:pt x="17" y="2"/>
                    <a:pt x="15" y="1"/>
                  </a:cubicBezTo>
                  <a:cubicBezTo>
                    <a:pt x="13" y="0"/>
                    <a:pt x="10" y="1"/>
                    <a:pt x="9" y="3"/>
                  </a:cubicBezTo>
                  <a:cubicBezTo>
                    <a:pt x="8" y="7"/>
                    <a:pt x="7" y="11"/>
                    <a:pt x="4" y="14"/>
                  </a:cubicBezTo>
                  <a:cubicBezTo>
                    <a:pt x="0" y="20"/>
                    <a:pt x="0" y="26"/>
                    <a:pt x="2" y="32"/>
                  </a:cubicBezTo>
                  <a:cubicBezTo>
                    <a:pt x="5" y="37"/>
                    <a:pt x="5" y="42"/>
                    <a:pt x="4" y="4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140"/>
            <p:cNvSpPr>
              <a:spLocks/>
            </p:cNvSpPr>
            <p:nvPr/>
          </p:nvSpPr>
          <p:spPr bwMode="auto">
            <a:xfrm>
              <a:off x="6476267" y="5819228"/>
              <a:ext cx="164866" cy="325203"/>
            </a:xfrm>
            <a:custGeom>
              <a:avLst/>
              <a:gdLst>
                <a:gd name="T0" fmla="*/ 73 w 77"/>
                <a:gd name="T1" fmla="*/ 73 h 152"/>
                <a:gd name="T2" fmla="*/ 69 w 77"/>
                <a:gd name="T3" fmla="*/ 73 h 152"/>
                <a:gd name="T4" fmla="*/ 66 w 77"/>
                <a:gd name="T5" fmla="*/ 75 h 152"/>
                <a:gd name="T6" fmla="*/ 53 w 77"/>
                <a:gd name="T7" fmla="*/ 74 h 152"/>
                <a:gd name="T8" fmla="*/ 48 w 77"/>
                <a:gd name="T9" fmla="*/ 66 h 152"/>
                <a:gd name="T10" fmla="*/ 46 w 77"/>
                <a:gd name="T11" fmla="*/ 55 h 152"/>
                <a:gd name="T12" fmla="*/ 45 w 77"/>
                <a:gd name="T13" fmla="*/ 51 h 152"/>
                <a:gd name="T14" fmla="*/ 42 w 77"/>
                <a:gd name="T15" fmla="*/ 50 h 152"/>
                <a:gd name="T16" fmla="*/ 41 w 77"/>
                <a:gd name="T17" fmla="*/ 51 h 152"/>
                <a:gd name="T18" fmla="*/ 40 w 77"/>
                <a:gd name="T19" fmla="*/ 54 h 152"/>
                <a:gd name="T20" fmla="*/ 38 w 77"/>
                <a:gd name="T21" fmla="*/ 56 h 152"/>
                <a:gd name="T22" fmla="*/ 35 w 77"/>
                <a:gd name="T23" fmla="*/ 53 h 152"/>
                <a:gd name="T24" fmla="*/ 37 w 77"/>
                <a:gd name="T25" fmla="*/ 31 h 152"/>
                <a:gd name="T26" fmla="*/ 35 w 77"/>
                <a:gd name="T27" fmla="*/ 20 h 152"/>
                <a:gd name="T28" fmla="*/ 24 w 77"/>
                <a:gd name="T29" fmla="*/ 6 h 152"/>
                <a:gd name="T30" fmla="*/ 21 w 77"/>
                <a:gd name="T31" fmla="*/ 2 h 152"/>
                <a:gd name="T32" fmla="*/ 20 w 77"/>
                <a:gd name="T33" fmla="*/ 1 h 152"/>
                <a:gd name="T34" fmla="*/ 18 w 77"/>
                <a:gd name="T35" fmla="*/ 1 h 152"/>
                <a:gd name="T36" fmla="*/ 17 w 77"/>
                <a:gd name="T37" fmla="*/ 2 h 152"/>
                <a:gd name="T38" fmla="*/ 19 w 77"/>
                <a:gd name="T39" fmla="*/ 15 h 152"/>
                <a:gd name="T40" fmla="*/ 19 w 77"/>
                <a:gd name="T41" fmla="*/ 24 h 152"/>
                <a:gd name="T42" fmla="*/ 23 w 77"/>
                <a:gd name="T43" fmla="*/ 37 h 152"/>
                <a:gd name="T44" fmla="*/ 24 w 77"/>
                <a:gd name="T45" fmla="*/ 51 h 152"/>
                <a:gd name="T46" fmla="*/ 26 w 77"/>
                <a:gd name="T47" fmla="*/ 55 h 152"/>
                <a:gd name="T48" fmla="*/ 28 w 77"/>
                <a:gd name="T49" fmla="*/ 61 h 152"/>
                <a:gd name="T50" fmla="*/ 25 w 77"/>
                <a:gd name="T51" fmla="*/ 75 h 152"/>
                <a:gd name="T52" fmla="*/ 18 w 77"/>
                <a:gd name="T53" fmla="*/ 89 h 152"/>
                <a:gd name="T54" fmla="*/ 13 w 77"/>
                <a:gd name="T55" fmla="*/ 95 h 152"/>
                <a:gd name="T56" fmla="*/ 5 w 77"/>
                <a:gd name="T57" fmla="*/ 98 h 152"/>
                <a:gd name="T58" fmla="*/ 3 w 77"/>
                <a:gd name="T59" fmla="*/ 109 h 152"/>
                <a:gd name="T60" fmla="*/ 11 w 77"/>
                <a:gd name="T61" fmla="*/ 116 h 152"/>
                <a:gd name="T62" fmla="*/ 14 w 77"/>
                <a:gd name="T63" fmla="*/ 125 h 152"/>
                <a:gd name="T64" fmla="*/ 11 w 77"/>
                <a:gd name="T65" fmla="*/ 132 h 152"/>
                <a:gd name="T66" fmla="*/ 2 w 77"/>
                <a:gd name="T67" fmla="*/ 143 h 152"/>
                <a:gd name="T68" fmla="*/ 2 w 77"/>
                <a:gd name="T69" fmla="*/ 146 h 152"/>
                <a:gd name="T70" fmla="*/ 8 w 77"/>
                <a:gd name="T71" fmla="*/ 151 h 152"/>
                <a:gd name="T72" fmla="*/ 11 w 77"/>
                <a:gd name="T73" fmla="*/ 152 h 152"/>
                <a:gd name="T74" fmla="*/ 21 w 77"/>
                <a:gd name="T75" fmla="*/ 144 h 152"/>
                <a:gd name="T76" fmla="*/ 37 w 77"/>
                <a:gd name="T77" fmla="*/ 129 h 152"/>
                <a:gd name="T78" fmla="*/ 46 w 77"/>
                <a:gd name="T79" fmla="*/ 111 h 152"/>
                <a:gd name="T80" fmla="*/ 54 w 77"/>
                <a:gd name="T81" fmla="*/ 104 h 152"/>
                <a:gd name="T82" fmla="*/ 58 w 77"/>
                <a:gd name="T83" fmla="*/ 104 h 152"/>
                <a:gd name="T84" fmla="*/ 60 w 77"/>
                <a:gd name="T85" fmla="*/ 103 h 152"/>
                <a:gd name="T86" fmla="*/ 70 w 77"/>
                <a:gd name="T87" fmla="*/ 92 h 152"/>
                <a:gd name="T88" fmla="*/ 73 w 77"/>
                <a:gd name="T89" fmla="*/ 87 h 152"/>
                <a:gd name="T90" fmla="*/ 76 w 77"/>
                <a:gd name="T91" fmla="*/ 78 h 152"/>
                <a:gd name="T92" fmla="*/ 73 w 77"/>
                <a:gd name="T93" fmla="*/ 7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152">
                  <a:moveTo>
                    <a:pt x="73" y="73"/>
                  </a:moveTo>
                  <a:cubicBezTo>
                    <a:pt x="72" y="72"/>
                    <a:pt x="70" y="72"/>
                    <a:pt x="69" y="73"/>
                  </a:cubicBezTo>
                  <a:cubicBezTo>
                    <a:pt x="68" y="73"/>
                    <a:pt x="67" y="74"/>
                    <a:pt x="66" y="75"/>
                  </a:cubicBezTo>
                  <a:cubicBezTo>
                    <a:pt x="60" y="78"/>
                    <a:pt x="58" y="78"/>
                    <a:pt x="53" y="74"/>
                  </a:cubicBezTo>
                  <a:cubicBezTo>
                    <a:pt x="50" y="72"/>
                    <a:pt x="48" y="70"/>
                    <a:pt x="48" y="66"/>
                  </a:cubicBezTo>
                  <a:cubicBezTo>
                    <a:pt x="48" y="63"/>
                    <a:pt x="47" y="59"/>
                    <a:pt x="46" y="55"/>
                  </a:cubicBezTo>
                  <a:cubicBezTo>
                    <a:pt x="46" y="54"/>
                    <a:pt x="45" y="52"/>
                    <a:pt x="45" y="51"/>
                  </a:cubicBezTo>
                  <a:cubicBezTo>
                    <a:pt x="44" y="50"/>
                    <a:pt x="43" y="50"/>
                    <a:pt x="42" y="50"/>
                  </a:cubicBezTo>
                  <a:cubicBezTo>
                    <a:pt x="42" y="50"/>
                    <a:pt x="41" y="50"/>
                    <a:pt x="41" y="51"/>
                  </a:cubicBezTo>
                  <a:cubicBezTo>
                    <a:pt x="41" y="52"/>
                    <a:pt x="40" y="53"/>
                    <a:pt x="40" y="54"/>
                  </a:cubicBezTo>
                  <a:cubicBezTo>
                    <a:pt x="39" y="55"/>
                    <a:pt x="39" y="55"/>
                    <a:pt x="38" y="56"/>
                  </a:cubicBezTo>
                  <a:cubicBezTo>
                    <a:pt x="37" y="56"/>
                    <a:pt x="35" y="54"/>
                    <a:pt x="35" y="53"/>
                  </a:cubicBezTo>
                  <a:cubicBezTo>
                    <a:pt x="36" y="46"/>
                    <a:pt x="35" y="38"/>
                    <a:pt x="37" y="31"/>
                  </a:cubicBezTo>
                  <a:cubicBezTo>
                    <a:pt x="38" y="27"/>
                    <a:pt x="38" y="23"/>
                    <a:pt x="35" y="20"/>
                  </a:cubicBezTo>
                  <a:cubicBezTo>
                    <a:pt x="31" y="15"/>
                    <a:pt x="29" y="10"/>
                    <a:pt x="24" y="6"/>
                  </a:cubicBezTo>
                  <a:cubicBezTo>
                    <a:pt x="23" y="6"/>
                    <a:pt x="22" y="4"/>
                    <a:pt x="21" y="2"/>
                  </a:cubicBezTo>
                  <a:cubicBezTo>
                    <a:pt x="21" y="2"/>
                    <a:pt x="21" y="1"/>
                    <a:pt x="20" y="1"/>
                  </a:cubicBezTo>
                  <a:cubicBezTo>
                    <a:pt x="19" y="0"/>
                    <a:pt x="19" y="0"/>
                    <a:pt x="18" y="1"/>
                  </a:cubicBezTo>
                  <a:cubicBezTo>
                    <a:pt x="17" y="1"/>
                    <a:pt x="17" y="2"/>
                    <a:pt x="17" y="2"/>
                  </a:cubicBezTo>
                  <a:cubicBezTo>
                    <a:pt x="17" y="7"/>
                    <a:pt x="21" y="10"/>
                    <a:pt x="19" y="15"/>
                  </a:cubicBezTo>
                  <a:cubicBezTo>
                    <a:pt x="17" y="18"/>
                    <a:pt x="18" y="20"/>
                    <a:pt x="19" y="24"/>
                  </a:cubicBezTo>
                  <a:cubicBezTo>
                    <a:pt x="21" y="28"/>
                    <a:pt x="22" y="33"/>
                    <a:pt x="23" y="37"/>
                  </a:cubicBezTo>
                  <a:cubicBezTo>
                    <a:pt x="24" y="42"/>
                    <a:pt x="27" y="46"/>
                    <a:pt x="24" y="51"/>
                  </a:cubicBezTo>
                  <a:cubicBezTo>
                    <a:pt x="24" y="52"/>
                    <a:pt x="25" y="54"/>
                    <a:pt x="26" y="55"/>
                  </a:cubicBezTo>
                  <a:cubicBezTo>
                    <a:pt x="26" y="57"/>
                    <a:pt x="27" y="59"/>
                    <a:pt x="28" y="61"/>
                  </a:cubicBezTo>
                  <a:cubicBezTo>
                    <a:pt x="27" y="66"/>
                    <a:pt x="27" y="70"/>
                    <a:pt x="25" y="75"/>
                  </a:cubicBezTo>
                  <a:cubicBezTo>
                    <a:pt x="22" y="80"/>
                    <a:pt x="20" y="85"/>
                    <a:pt x="18" y="89"/>
                  </a:cubicBezTo>
                  <a:cubicBezTo>
                    <a:pt x="17" y="92"/>
                    <a:pt x="16" y="94"/>
                    <a:pt x="13" y="95"/>
                  </a:cubicBezTo>
                  <a:cubicBezTo>
                    <a:pt x="10" y="95"/>
                    <a:pt x="8" y="96"/>
                    <a:pt x="5" y="98"/>
                  </a:cubicBezTo>
                  <a:cubicBezTo>
                    <a:pt x="1" y="100"/>
                    <a:pt x="0" y="106"/>
                    <a:pt x="3" y="109"/>
                  </a:cubicBezTo>
                  <a:cubicBezTo>
                    <a:pt x="6" y="111"/>
                    <a:pt x="9" y="114"/>
                    <a:pt x="11" y="116"/>
                  </a:cubicBezTo>
                  <a:cubicBezTo>
                    <a:pt x="14" y="119"/>
                    <a:pt x="14" y="122"/>
                    <a:pt x="14" y="125"/>
                  </a:cubicBezTo>
                  <a:cubicBezTo>
                    <a:pt x="14" y="128"/>
                    <a:pt x="13" y="130"/>
                    <a:pt x="11" y="132"/>
                  </a:cubicBezTo>
                  <a:cubicBezTo>
                    <a:pt x="8" y="136"/>
                    <a:pt x="5" y="139"/>
                    <a:pt x="2" y="143"/>
                  </a:cubicBezTo>
                  <a:cubicBezTo>
                    <a:pt x="1" y="144"/>
                    <a:pt x="1" y="145"/>
                    <a:pt x="2" y="146"/>
                  </a:cubicBezTo>
                  <a:cubicBezTo>
                    <a:pt x="4" y="148"/>
                    <a:pt x="6" y="150"/>
                    <a:pt x="8" y="151"/>
                  </a:cubicBezTo>
                  <a:cubicBezTo>
                    <a:pt x="8" y="152"/>
                    <a:pt x="10" y="152"/>
                    <a:pt x="11" y="152"/>
                  </a:cubicBezTo>
                  <a:cubicBezTo>
                    <a:pt x="15" y="150"/>
                    <a:pt x="18" y="147"/>
                    <a:pt x="21" y="144"/>
                  </a:cubicBezTo>
                  <a:cubicBezTo>
                    <a:pt x="27" y="139"/>
                    <a:pt x="32" y="134"/>
                    <a:pt x="37" y="129"/>
                  </a:cubicBezTo>
                  <a:cubicBezTo>
                    <a:pt x="42" y="123"/>
                    <a:pt x="46" y="118"/>
                    <a:pt x="46" y="111"/>
                  </a:cubicBezTo>
                  <a:cubicBezTo>
                    <a:pt x="46" y="107"/>
                    <a:pt x="50" y="104"/>
                    <a:pt x="54" y="104"/>
                  </a:cubicBezTo>
                  <a:cubicBezTo>
                    <a:pt x="55" y="104"/>
                    <a:pt x="57" y="104"/>
                    <a:pt x="58" y="104"/>
                  </a:cubicBezTo>
                  <a:cubicBezTo>
                    <a:pt x="59" y="104"/>
                    <a:pt x="60" y="103"/>
                    <a:pt x="60" y="103"/>
                  </a:cubicBezTo>
                  <a:cubicBezTo>
                    <a:pt x="62" y="98"/>
                    <a:pt x="66" y="95"/>
                    <a:pt x="70" y="92"/>
                  </a:cubicBezTo>
                  <a:cubicBezTo>
                    <a:pt x="71" y="91"/>
                    <a:pt x="72" y="89"/>
                    <a:pt x="73" y="87"/>
                  </a:cubicBezTo>
                  <a:cubicBezTo>
                    <a:pt x="74" y="84"/>
                    <a:pt x="75" y="81"/>
                    <a:pt x="76" y="78"/>
                  </a:cubicBezTo>
                  <a:cubicBezTo>
                    <a:pt x="77" y="76"/>
                    <a:pt x="75" y="74"/>
                    <a:pt x="73" y="7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141"/>
            <p:cNvSpPr>
              <a:spLocks noEditPoints="1"/>
            </p:cNvSpPr>
            <p:nvPr/>
          </p:nvSpPr>
          <p:spPr bwMode="auto">
            <a:xfrm>
              <a:off x="4371052" y="1335229"/>
              <a:ext cx="203818" cy="134973"/>
            </a:xfrm>
            <a:custGeom>
              <a:avLst/>
              <a:gdLst>
                <a:gd name="T0" fmla="*/ 8 w 95"/>
                <a:gd name="T1" fmla="*/ 36 h 63"/>
                <a:gd name="T2" fmla="*/ 14 w 95"/>
                <a:gd name="T3" fmla="*/ 47 h 63"/>
                <a:gd name="T4" fmla="*/ 17 w 95"/>
                <a:gd name="T5" fmla="*/ 50 h 63"/>
                <a:gd name="T6" fmla="*/ 26 w 95"/>
                <a:gd name="T7" fmla="*/ 54 h 63"/>
                <a:gd name="T8" fmla="*/ 35 w 95"/>
                <a:gd name="T9" fmla="*/ 60 h 63"/>
                <a:gd name="T10" fmla="*/ 44 w 95"/>
                <a:gd name="T11" fmla="*/ 62 h 63"/>
                <a:gd name="T12" fmla="*/ 52 w 95"/>
                <a:gd name="T13" fmla="*/ 62 h 63"/>
                <a:gd name="T14" fmla="*/ 56 w 95"/>
                <a:gd name="T15" fmla="*/ 60 h 63"/>
                <a:gd name="T16" fmla="*/ 60 w 95"/>
                <a:gd name="T17" fmla="*/ 53 h 63"/>
                <a:gd name="T18" fmla="*/ 65 w 95"/>
                <a:gd name="T19" fmla="*/ 47 h 63"/>
                <a:gd name="T20" fmla="*/ 78 w 95"/>
                <a:gd name="T21" fmla="*/ 42 h 63"/>
                <a:gd name="T22" fmla="*/ 83 w 95"/>
                <a:gd name="T23" fmla="*/ 41 h 63"/>
                <a:gd name="T24" fmla="*/ 86 w 95"/>
                <a:gd name="T25" fmla="*/ 38 h 63"/>
                <a:gd name="T26" fmla="*/ 87 w 95"/>
                <a:gd name="T27" fmla="*/ 35 h 63"/>
                <a:gd name="T28" fmla="*/ 90 w 95"/>
                <a:gd name="T29" fmla="*/ 32 h 63"/>
                <a:gd name="T30" fmla="*/ 92 w 95"/>
                <a:gd name="T31" fmla="*/ 30 h 63"/>
                <a:gd name="T32" fmla="*/ 94 w 95"/>
                <a:gd name="T33" fmla="*/ 26 h 63"/>
                <a:gd name="T34" fmla="*/ 94 w 95"/>
                <a:gd name="T35" fmla="*/ 19 h 63"/>
                <a:gd name="T36" fmla="*/ 91 w 95"/>
                <a:gd name="T37" fmla="*/ 12 h 63"/>
                <a:gd name="T38" fmla="*/ 85 w 95"/>
                <a:gd name="T39" fmla="*/ 5 h 63"/>
                <a:gd name="T40" fmla="*/ 65 w 95"/>
                <a:gd name="T41" fmla="*/ 1 h 63"/>
                <a:gd name="T42" fmla="*/ 63 w 95"/>
                <a:gd name="T43" fmla="*/ 1 h 63"/>
                <a:gd name="T44" fmla="*/ 59 w 95"/>
                <a:gd name="T45" fmla="*/ 3 h 63"/>
                <a:gd name="T46" fmla="*/ 59 w 95"/>
                <a:gd name="T47" fmla="*/ 6 h 63"/>
                <a:gd name="T48" fmla="*/ 63 w 95"/>
                <a:gd name="T49" fmla="*/ 21 h 63"/>
                <a:gd name="T50" fmla="*/ 64 w 95"/>
                <a:gd name="T51" fmla="*/ 25 h 63"/>
                <a:gd name="T52" fmla="*/ 65 w 95"/>
                <a:gd name="T53" fmla="*/ 25 h 63"/>
                <a:gd name="T54" fmla="*/ 65 w 95"/>
                <a:gd name="T55" fmla="*/ 26 h 63"/>
                <a:gd name="T56" fmla="*/ 64 w 95"/>
                <a:gd name="T57" fmla="*/ 25 h 63"/>
                <a:gd name="T58" fmla="*/ 64 w 95"/>
                <a:gd name="T59" fmla="*/ 25 h 63"/>
                <a:gd name="T60" fmla="*/ 62 w 95"/>
                <a:gd name="T61" fmla="*/ 23 h 63"/>
                <a:gd name="T62" fmla="*/ 55 w 95"/>
                <a:gd name="T63" fmla="*/ 8 h 63"/>
                <a:gd name="T64" fmla="*/ 49 w 95"/>
                <a:gd name="T65" fmla="*/ 2 h 63"/>
                <a:gd name="T66" fmla="*/ 39 w 95"/>
                <a:gd name="T67" fmla="*/ 0 h 63"/>
                <a:gd name="T68" fmla="*/ 36 w 95"/>
                <a:gd name="T69" fmla="*/ 1 h 63"/>
                <a:gd name="T70" fmla="*/ 34 w 95"/>
                <a:gd name="T71" fmla="*/ 7 h 63"/>
                <a:gd name="T72" fmla="*/ 34 w 95"/>
                <a:gd name="T73" fmla="*/ 16 h 63"/>
                <a:gd name="T74" fmla="*/ 35 w 95"/>
                <a:gd name="T75" fmla="*/ 16 h 63"/>
                <a:gd name="T76" fmla="*/ 36 w 95"/>
                <a:gd name="T77" fmla="*/ 17 h 63"/>
                <a:gd name="T78" fmla="*/ 34 w 95"/>
                <a:gd name="T79" fmla="*/ 16 h 63"/>
                <a:gd name="T80" fmla="*/ 34 w 95"/>
                <a:gd name="T81" fmla="*/ 16 h 63"/>
                <a:gd name="T82" fmla="*/ 22 w 95"/>
                <a:gd name="T83" fmla="*/ 10 h 63"/>
                <a:gd name="T84" fmla="*/ 10 w 95"/>
                <a:gd name="T85" fmla="*/ 4 h 63"/>
                <a:gd name="T86" fmla="*/ 5 w 95"/>
                <a:gd name="T87" fmla="*/ 7 h 63"/>
                <a:gd name="T88" fmla="*/ 1 w 95"/>
                <a:gd name="T89" fmla="*/ 19 h 63"/>
                <a:gd name="T90" fmla="*/ 1 w 95"/>
                <a:gd name="T91" fmla="*/ 24 h 63"/>
                <a:gd name="T92" fmla="*/ 8 w 95"/>
                <a:gd name="T93" fmla="*/ 36 h 63"/>
                <a:gd name="T94" fmla="*/ 68 w 95"/>
                <a:gd name="T95" fmla="*/ 28 h 63"/>
                <a:gd name="T96" fmla="*/ 68 w 95"/>
                <a:gd name="T97" fmla="*/ 29 h 63"/>
                <a:gd name="T98" fmla="*/ 67 w 95"/>
                <a:gd name="T99" fmla="*/ 29 h 63"/>
                <a:gd name="T100" fmla="*/ 67 w 95"/>
                <a:gd name="T101" fmla="*/ 28 h 63"/>
                <a:gd name="T102" fmla="*/ 68 w 95"/>
                <a:gd name="T103" fmla="*/ 28 h 63"/>
                <a:gd name="T104" fmla="*/ 38 w 95"/>
                <a:gd name="T105" fmla="*/ 18 h 63"/>
                <a:gd name="T106" fmla="*/ 38 w 95"/>
                <a:gd name="T107" fmla="*/ 19 h 63"/>
                <a:gd name="T108" fmla="*/ 38 w 95"/>
                <a:gd name="T109" fmla="*/ 19 h 63"/>
                <a:gd name="T110" fmla="*/ 36 w 95"/>
                <a:gd name="T111" fmla="*/ 18 h 63"/>
                <a:gd name="T112" fmla="*/ 38 w 95"/>
                <a:gd name="T11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 h="63">
                  <a:moveTo>
                    <a:pt x="8" y="36"/>
                  </a:moveTo>
                  <a:cubicBezTo>
                    <a:pt x="10" y="39"/>
                    <a:pt x="14" y="42"/>
                    <a:pt x="14" y="47"/>
                  </a:cubicBezTo>
                  <a:cubicBezTo>
                    <a:pt x="14" y="48"/>
                    <a:pt x="15" y="49"/>
                    <a:pt x="17" y="50"/>
                  </a:cubicBezTo>
                  <a:cubicBezTo>
                    <a:pt x="20" y="52"/>
                    <a:pt x="22" y="53"/>
                    <a:pt x="26" y="54"/>
                  </a:cubicBezTo>
                  <a:cubicBezTo>
                    <a:pt x="29" y="55"/>
                    <a:pt x="33" y="57"/>
                    <a:pt x="35" y="60"/>
                  </a:cubicBezTo>
                  <a:cubicBezTo>
                    <a:pt x="38" y="62"/>
                    <a:pt x="41" y="63"/>
                    <a:pt x="44" y="62"/>
                  </a:cubicBezTo>
                  <a:cubicBezTo>
                    <a:pt x="47" y="62"/>
                    <a:pt x="50" y="63"/>
                    <a:pt x="52" y="62"/>
                  </a:cubicBezTo>
                  <a:cubicBezTo>
                    <a:pt x="54" y="62"/>
                    <a:pt x="55" y="61"/>
                    <a:pt x="56" y="60"/>
                  </a:cubicBezTo>
                  <a:cubicBezTo>
                    <a:pt x="57" y="57"/>
                    <a:pt x="57" y="55"/>
                    <a:pt x="60" y="53"/>
                  </a:cubicBezTo>
                  <a:cubicBezTo>
                    <a:pt x="62" y="52"/>
                    <a:pt x="64" y="49"/>
                    <a:pt x="65" y="47"/>
                  </a:cubicBezTo>
                  <a:cubicBezTo>
                    <a:pt x="68" y="43"/>
                    <a:pt x="72" y="41"/>
                    <a:pt x="78" y="42"/>
                  </a:cubicBezTo>
                  <a:cubicBezTo>
                    <a:pt x="79" y="43"/>
                    <a:pt x="81" y="42"/>
                    <a:pt x="83" y="41"/>
                  </a:cubicBezTo>
                  <a:cubicBezTo>
                    <a:pt x="84" y="41"/>
                    <a:pt x="85" y="39"/>
                    <a:pt x="86" y="38"/>
                  </a:cubicBezTo>
                  <a:cubicBezTo>
                    <a:pt x="87" y="37"/>
                    <a:pt x="87" y="36"/>
                    <a:pt x="87" y="35"/>
                  </a:cubicBezTo>
                  <a:cubicBezTo>
                    <a:pt x="87" y="33"/>
                    <a:pt x="88" y="33"/>
                    <a:pt x="90" y="32"/>
                  </a:cubicBezTo>
                  <a:cubicBezTo>
                    <a:pt x="91" y="31"/>
                    <a:pt x="92" y="30"/>
                    <a:pt x="92" y="30"/>
                  </a:cubicBezTo>
                  <a:cubicBezTo>
                    <a:pt x="93" y="28"/>
                    <a:pt x="94" y="27"/>
                    <a:pt x="94" y="26"/>
                  </a:cubicBezTo>
                  <a:cubicBezTo>
                    <a:pt x="95" y="24"/>
                    <a:pt x="95" y="21"/>
                    <a:pt x="94" y="19"/>
                  </a:cubicBezTo>
                  <a:cubicBezTo>
                    <a:pt x="93" y="17"/>
                    <a:pt x="92" y="15"/>
                    <a:pt x="91" y="12"/>
                  </a:cubicBezTo>
                  <a:cubicBezTo>
                    <a:pt x="93" y="7"/>
                    <a:pt x="90" y="6"/>
                    <a:pt x="85" y="5"/>
                  </a:cubicBezTo>
                  <a:cubicBezTo>
                    <a:pt x="78" y="4"/>
                    <a:pt x="71" y="2"/>
                    <a:pt x="65" y="1"/>
                  </a:cubicBezTo>
                  <a:cubicBezTo>
                    <a:pt x="64" y="1"/>
                    <a:pt x="63" y="1"/>
                    <a:pt x="63" y="1"/>
                  </a:cubicBezTo>
                  <a:cubicBezTo>
                    <a:pt x="62" y="2"/>
                    <a:pt x="60" y="2"/>
                    <a:pt x="59" y="3"/>
                  </a:cubicBezTo>
                  <a:cubicBezTo>
                    <a:pt x="58" y="4"/>
                    <a:pt x="59" y="5"/>
                    <a:pt x="59" y="6"/>
                  </a:cubicBezTo>
                  <a:cubicBezTo>
                    <a:pt x="62" y="11"/>
                    <a:pt x="64" y="15"/>
                    <a:pt x="63" y="21"/>
                  </a:cubicBezTo>
                  <a:cubicBezTo>
                    <a:pt x="63" y="22"/>
                    <a:pt x="64" y="23"/>
                    <a:pt x="64" y="25"/>
                  </a:cubicBezTo>
                  <a:cubicBezTo>
                    <a:pt x="64" y="25"/>
                    <a:pt x="64" y="25"/>
                    <a:pt x="65" y="25"/>
                  </a:cubicBezTo>
                  <a:cubicBezTo>
                    <a:pt x="65" y="25"/>
                    <a:pt x="65" y="26"/>
                    <a:pt x="65" y="26"/>
                  </a:cubicBezTo>
                  <a:cubicBezTo>
                    <a:pt x="65" y="26"/>
                    <a:pt x="65" y="26"/>
                    <a:pt x="64" y="25"/>
                  </a:cubicBezTo>
                  <a:cubicBezTo>
                    <a:pt x="64" y="25"/>
                    <a:pt x="64" y="25"/>
                    <a:pt x="64" y="25"/>
                  </a:cubicBezTo>
                  <a:cubicBezTo>
                    <a:pt x="63" y="24"/>
                    <a:pt x="62" y="24"/>
                    <a:pt x="62" y="23"/>
                  </a:cubicBezTo>
                  <a:cubicBezTo>
                    <a:pt x="59" y="18"/>
                    <a:pt x="55" y="14"/>
                    <a:pt x="55" y="8"/>
                  </a:cubicBezTo>
                  <a:cubicBezTo>
                    <a:pt x="55" y="4"/>
                    <a:pt x="52" y="2"/>
                    <a:pt x="49" y="2"/>
                  </a:cubicBezTo>
                  <a:cubicBezTo>
                    <a:pt x="46" y="1"/>
                    <a:pt x="42" y="0"/>
                    <a:pt x="39" y="0"/>
                  </a:cubicBezTo>
                  <a:cubicBezTo>
                    <a:pt x="38" y="0"/>
                    <a:pt x="37" y="0"/>
                    <a:pt x="36" y="1"/>
                  </a:cubicBezTo>
                  <a:cubicBezTo>
                    <a:pt x="35" y="3"/>
                    <a:pt x="34" y="5"/>
                    <a:pt x="34" y="7"/>
                  </a:cubicBezTo>
                  <a:cubicBezTo>
                    <a:pt x="34" y="10"/>
                    <a:pt x="34" y="13"/>
                    <a:pt x="34" y="16"/>
                  </a:cubicBezTo>
                  <a:cubicBezTo>
                    <a:pt x="34" y="16"/>
                    <a:pt x="35" y="16"/>
                    <a:pt x="35" y="16"/>
                  </a:cubicBezTo>
                  <a:cubicBezTo>
                    <a:pt x="35" y="16"/>
                    <a:pt x="36" y="17"/>
                    <a:pt x="36" y="17"/>
                  </a:cubicBezTo>
                  <a:cubicBezTo>
                    <a:pt x="36" y="17"/>
                    <a:pt x="35" y="17"/>
                    <a:pt x="34" y="16"/>
                  </a:cubicBezTo>
                  <a:cubicBezTo>
                    <a:pt x="34" y="16"/>
                    <a:pt x="34" y="16"/>
                    <a:pt x="34" y="16"/>
                  </a:cubicBezTo>
                  <a:cubicBezTo>
                    <a:pt x="30" y="14"/>
                    <a:pt x="25" y="14"/>
                    <a:pt x="22" y="10"/>
                  </a:cubicBezTo>
                  <a:cubicBezTo>
                    <a:pt x="19" y="7"/>
                    <a:pt x="14" y="6"/>
                    <a:pt x="10" y="4"/>
                  </a:cubicBezTo>
                  <a:cubicBezTo>
                    <a:pt x="8" y="4"/>
                    <a:pt x="6" y="5"/>
                    <a:pt x="5" y="7"/>
                  </a:cubicBezTo>
                  <a:cubicBezTo>
                    <a:pt x="3" y="11"/>
                    <a:pt x="2" y="15"/>
                    <a:pt x="1" y="19"/>
                  </a:cubicBezTo>
                  <a:cubicBezTo>
                    <a:pt x="0" y="21"/>
                    <a:pt x="0" y="22"/>
                    <a:pt x="1" y="24"/>
                  </a:cubicBezTo>
                  <a:cubicBezTo>
                    <a:pt x="3" y="28"/>
                    <a:pt x="5" y="32"/>
                    <a:pt x="8" y="36"/>
                  </a:cubicBezTo>
                  <a:close/>
                  <a:moveTo>
                    <a:pt x="68" y="28"/>
                  </a:moveTo>
                  <a:cubicBezTo>
                    <a:pt x="68" y="29"/>
                    <a:pt x="68" y="29"/>
                    <a:pt x="68" y="29"/>
                  </a:cubicBezTo>
                  <a:cubicBezTo>
                    <a:pt x="67" y="29"/>
                    <a:pt x="67" y="29"/>
                    <a:pt x="67" y="29"/>
                  </a:cubicBezTo>
                  <a:cubicBezTo>
                    <a:pt x="67" y="28"/>
                    <a:pt x="67" y="28"/>
                    <a:pt x="67" y="28"/>
                  </a:cubicBezTo>
                  <a:cubicBezTo>
                    <a:pt x="67" y="28"/>
                    <a:pt x="67" y="28"/>
                    <a:pt x="68" y="28"/>
                  </a:cubicBezTo>
                  <a:close/>
                  <a:moveTo>
                    <a:pt x="38" y="18"/>
                  </a:moveTo>
                  <a:cubicBezTo>
                    <a:pt x="38" y="19"/>
                    <a:pt x="38" y="19"/>
                    <a:pt x="38" y="19"/>
                  </a:cubicBezTo>
                  <a:cubicBezTo>
                    <a:pt x="38" y="19"/>
                    <a:pt x="38" y="19"/>
                    <a:pt x="38" y="19"/>
                  </a:cubicBezTo>
                  <a:cubicBezTo>
                    <a:pt x="37" y="18"/>
                    <a:pt x="37" y="18"/>
                    <a:pt x="36" y="18"/>
                  </a:cubicBezTo>
                  <a:cubicBezTo>
                    <a:pt x="37" y="18"/>
                    <a:pt x="37" y="18"/>
                    <a:pt x="38" y="1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142"/>
            <p:cNvSpPr>
              <a:spLocks noEditPoints="1"/>
            </p:cNvSpPr>
            <p:nvPr/>
          </p:nvSpPr>
          <p:spPr bwMode="auto">
            <a:xfrm>
              <a:off x="5073998" y="4610813"/>
              <a:ext cx="192042" cy="210159"/>
            </a:xfrm>
            <a:custGeom>
              <a:avLst/>
              <a:gdLst>
                <a:gd name="T0" fmla="*/ 64 w 90"/>
                <a:gd name="T1" fmla="*/ 19 h 98"/>
                <a:gd name="T2" fmla="*/ 89 w 90"/>
                <a:gd name="T3" fmla="*/ 2 h 98"/>
                <a:gd name="T4" fmla="*/ 78 w 90"/>
                <a:gd name="T5" fmla="*/ 6 h 98"/>
                <a:gd name="T6" fmla="*/ 46 w 90"/>
                <a:gd name="T7" fmla="*/ 8 h 98"/>
                <a:gd name="T8" fmla="*/ 21 w 90"/>
                <a:gd name="T9" fmla="*/ 12 h 98"/>
                <a:gd name="T10" fmla="*/ 14 w 90"/>
                <a:gd name="T11" fmla="*/ 20 h 98"/>
                <a:gd name="T12" fmla="*/ 11 w 90"/>
                <a:gd name="T13" fmla="*/ 32 h 98"/>
                <a:gd name="T14" fmla="*/ 4 w 90"/>
                <a:gd name="T15" fmla="*/ 54 h 98"/>
                <a:gd name="T16" fmla="*/ 3 w 90"/>
                <a:gd name="T17" fmla="*/ 69 h 98"/>
                <a:gd name="T18" fmla="*/ 10 w 90"/>
                <a:gd name="T19" fmla="*/ 81 h 98"/>
                <a:gd name="T20" fmla="*/ 10 w 90"/>
                <a:gd name="T21" fmla="*/ 95 h 98"/>
                <a:gd name="T22" fmla="*/ 22 w 90"/>
                <a:gd name="T23" fmla="*/ 91 h 98"/>
                <a:gd name="T24" fmla="*/ 28 w 90"/>
                <a:gd name="T25" fmla="*/ 61 h 98"/>
                <a:gd name="T26" fmla="*/ 35 w 90"/>
                <a:gd name="T27" fmla="*/ 77 h 98"/>
                <a:gd name="T28" fmla="*/ 44 w 90"/>
                <a:gd name="T29" fmla="*/ 87 h 98"/>
                <a:gd name="T30" fmla="*/ 47 w 90"/>
                <a:gd name="T31" fmla="*/ 87 h 98"/>
                <a:gd name="T32" fmla="*/ 47 w 90"/>
                <a:gd name="T33" fmla="*/ 87 h 98"/>
                <a:gd name="T34" fmla="*/ 52 w 90"/>
                <a:gd name="T35" fmla="*/ 94 h 98"/>
                <a:gd name="T36" fmla="*/ 60 w 90"/>
                <a:gd name="T37" fmla="*/ 92 h 98"/>
                <a:gd name="T38" fmla="*/ 57 w 90"/>
                <a:gd name="T39" fmla="*/ 75 h 98"/>
                <a:gd name="T40" fmla="*/ 50 w 90"/>
                <a:gd name="T41" fmla="*/ 67 h 98"/>
                <a:gd name="T42" fmla="*/ 43 w 90"/>
                <a:gd name="T43" fmla="*/ 53 h 98"/>
                <a:gd name="T44" fmla="*/ 52 w 90"/>
                <a:gd name="T45" fmla="*/ 43 h 98"/>
                <a:gd name="T46" fmla="*/ 63 w 90"/>
                <a:gd name="T47" fmla="*/ 43 h 98"/>
                <a:gd name="T48" fmla="*/ 66 w 90"/>
                <a:gd name="T49" fmla="*/ 32 h 98"/>
                <a:gd name="T50" fmla="*/ 58 w 90"/>
                <a:gd name="T51" fmla="*/ 30 h 98"/>
                <a:gd name="T52" fmla="*/ 32 w 90"/>
                <a:gd name="T53" fmla="*/ 38 h 98"/>
                <a:gd name="T54" fmla="*/ 20 w 90"/>
                <a:gd name="T55" fmla="*/ 28 h 98"/>
                <a:gd name="T56" fmla="*/ 51 w 90"/>
                <a:gd name="T57" fmla="*/ 83 h 98"/>
                <a:gd name="T58" fmla="*/ 55 w 90"/>
                <a:gd name="T59" fmla="*/ 82 h 98"/>
                <a:gd name="T60" fmla="*/ 55 w 90"/>
                <a:gd name="T61" fmla="*/ 85 h 98"/>
                <a:gd name="T62" fmla="*/ 51 w 90"/>
                <a:gd name="T63" fmla="*/ 84 h 98"/>
                <a:gd name="T64" fmla="*/ 51 w 90"/>
                <a:gd name="T65"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8">
                  <a:moveTo>
                    <a:pt x="28" y="18"/>
                  </a:moveTo>
                  <a:cubicBezTo>
                    <a:pt x="40" y="17"/>
                    <a:pt x="52" y="17"/>
                    <a:pt x="64" y="19"/>
                  </a:cubicBezTo>
                  <a:cubicBezTo>
                    <a:pt x="75" y="20"/>
                    <a:pt x="84" y="16"/>
                    <a:pt x="90" y="6"/>
                  </a:cubicBezTo>
                  <a:cubicBezTo>
                    <a:pt x="90" y="5"/>
                    <a:pt x="90" y="3"/>
                    <a:pt x="89" y="2"/>
                  </a:cubicBezTo>
                  <a:cubicBezTo>
                    <a:pt x="88" y="1"/>
                    <a:pt x="85" y="0"/>
                    <a:pt x="84" y="1"/>
                  </a:cubicBezTo>
                  <a:cubicBezTo>
                    <a:pt x="82" y="3"/>
                    <a:pt x="80" y="5"/>
                    <a:pt x="78" y="6"/>
                  </a:cubicBezTo>
                  <a:cubicBezTo>
                    <a:pt x="75" y="9"/>
                    <a:pt x="71" y="11"/>
                    <a:pt x="66" y="10"/>
                  </a:cubicBezTo>
                  <a:cubicBezTo>
                    <a:pt x="60" y="9"/>
                    <a:pt x="53" y="9"/>
                    <a:pt x="46" y="8"/>
                  </a:cubicBezTo>
                  <a:cubicBezTo>
                    <a:pt x="42" y="7"/>
                    <a:pt x="38" y="5"/>
                    <a:pt x="33" y="5"/>
                  </a:cubicBezTo>
                  <a:cubicBezTo>
                    <a:pt x="28" y="5"/>
                    <a:pt x="26" y="12"/>
                    <a:pt x="21" y="12"/>
                  </a:cubicBezTo>
                  <a:cubicBezTo>
                    <a:pt x="20" y="12"/>
                    <a:pt x="20" y="12"/>
                    <a:pt x="19" y="12"/>
                  </a:cubicBezTo>
                  <a:cubicBezTo>
                    <a:pt x="16" y="14"/>
                    <a:pt x="14" y="16"/>
                    <a:pt x="14" y="20"/>
                  </a:cubicBezTo>
                  <a:cubicBezTo>
                    <a:pt x="13" y="22"/>
                    <a:pt x="14" y="24"/>
                    <a:pt x="13" y="26"/>
                  </a:cubicBezTo>
                  <a:cubicBezTo>
                    <a:pt x="13" y="28"/>
                    <a:pt x="12" y="30"/>
                    <a:pt x="11" y="32"/>
                  </a:cubicBezTo>
                  <a:cubicBezTo>
                    <a:pt x="8" y="35"/>
                    <a:pt x="7" y="39"/>
                    <a:pt x="7" y="43"/>
                  </a:cubicBezTo>
                  <a:cubicBezTo>
                    <a:pt x="7" y="47"/>
                    <a:pt x="5" y="50"/>
                    <a:pt x="4" y="54"/>
                  </a:cubicBezTo>
                  <a:cubicBezTo>
                    <a:pt x="3" y="56"/>
                    <a:pt x="1" y="58"/>
                    <a:pt x="1" y="61"/>
                  </a:cubicBezTo>
                  <a:cubicBezTo>
                    <a:pt x="0" y="64"/>
                    <a:pt x="0" y="67"/>
                    <a:pt x="3" y="69"/>
                  </a:cubicBezTo>
                  <a:cubicBezTo>
                    <a:pt x="4" y="70"/>
                    <a:pt x="6" y="71"/>
                    <a:pt x="7" y="72"/>
                  </a:cubicBezTo>
                  <a:cubicBezTo>
                    <a:pt x="10" y="74"/>
                    <a:pt x="11" y="77"/>
                    <a:pt x="10" y="81"/>
                  </a:cubicBezTo>
                  <a:cubicBezTo>
                    <a:pt x="9" y="84"/>
                    <a:pt x="7" y="88"/>
                    <a:pt x="8" y="91"/>
                  </a:cubicBezTo>
                  <a:cubicBezTo>
                    <a:pt x="8" y="93"/>
                    <a:pt x="9" y="94"/>
                    <a:pt x="10" y="95"/>
                  </a:cubicBezTo>
                  <a:cubicBezTo>
                    <a:pt x="13" y="98"/>
                    <a:pt x="17" y="97"/>
                    <a:pt x="21" y="96"/>
                  </a:cubicBezTo>
                  <a:cubicBezTo>
                    <a:pt x="23" y="95"/>
                    <a:pt x="22" y="93"/>
                    <a:pt x="22" y="91"/>
                  </a:cubicBezTo>
                  <a:cubicBezTo>
                    <a:pt x="22" y="81"/>
                    <a:pt x="24" y="72"/>
                    <a:pt x="25" y="63"/>
                  </a:cubicBezTo>
                  <a:cubicBezTo>
                    <a:pt x="25" y="62"/>
                    <a:pt x="27" y="61"/>
                    <a:pt x="28" y="61"/>
                  </a:cubicBezTo>
                  <a:cubicBezTo>
                    <a:pt x="29" y="61"/>
                    <a:pt x="30" y="62"/>
                    <a:pt x="30" y="63"/>
                  </a:cubicBezTo>
                  <a:cubicBezTo>
                    <a:pt x="30" y="68"/>
                    <a:pt x="30" y="73"/>
                    <a:pt x="35" y="77"/>
                  </a:cubicBezTo>
                  <a:cubicBezTo>
                    <a:pt x="36" y="78"/>
                    <a:pt x="36" y="81"/>
                    <a:pt x="37" y="83"/>
                  </a:cubicBezTo>
                  <a:cubicBezTo>
                    <a:pt x="38" y="86"/>
                    <a:pt x="39" y="87"/>
                    <a:pt x="44" y="87"/>
                  </a:cubicBezTo>
                  <a:cubicBezTo>
                    <a:pt x="45" y="87"/>
                    <a:pt x="46" y="87"/>
                    <a:pt x="47" y="87"/>
                  </a:cubicBezTo>
                  <a:cubicBezTo>
                    <a:pt x="47" y="87"/>
                    <a:pt x="47" y="87"/>
                    <a:pt x="47" y="87"/>
                  </a:cubicBezTo>
                  <a:cubicBezTo>
                    <a:pt x="47" y="87"/>
                    <a:pt x="48" y="86"/>
                    <a:pt x="48" y="86"/>
                  </a:cubicBezTo>
                  <a:cubicBezTo>
                    <a:pt x="48" y="86"/>
                    <a:pt x="48" y="87"/>
                    <a:pt x="47" y="87"/>
                  </a:cubicBezTo>
                  <a:cubicBezTo>
                    <a:pt x="47" y="87"/>
                    <a:pt x="47" y="87"/>
                    <a:pt x="47" y="87"/>
                  </a:cubicBezTo>
                  <a:cubicBezTo>
                    <a:pt x="48" y="90"/>
                    <a:pt x="48" y="93"/>
                    <a:pt x="52" y="94"/>
                  </a:cubicBezTo>
                  <a:cubicBezTo>
                    <a:pt x="53" y="94"/>
                    <a:pt x="53" y="95"/>
                    <a:pt x="53" y="95"/>
                  </a:cubicBezTo>
                  <a:cubicBezTo>
                    <a:pt x="56" y="96"/>
                    <a:pt x="60" y="95"/>
                    <a:pt x="60" y="92"/>
                  </a:cubicBezTo>
                  <a:cubicBezTo>
                    <a:pt x="61" y="88"/>
                    <a:pt x="61" y="84"/>
                    <a:pt x="61" y="80"/>
                  </a:cubicBezTo>
                  <a:cubicBezTo>
                    <a:pt x="60" y="78"/>
                    <a:pt x="59" y="76"/>
                    <a:pt x="57" y="75"/>
                  </a:cubicBezTo>
                  <a:cubicBezTo>
                    <a:pt x="56" y="74"/>
                    <a:pt x="54" y="74"/>
                    <a:pt x="53" y="73"/>
                  </a:cubicBezTo>
                  <a:cubicBezTo>
                    <a:pt x="51" y="71"/>
                    <a:pt x="50" y="70"/>
                    <a:pt x="50" y="67"/>
                  </a:cubicBezTo>
                  <a:cubicBezTo>
                    <a:pt x="51" y="65"/>
                    <a:pt x="50" y="62"/>
                    <a:pt x="49" y="60"/>
                  </a:cubicBezTo>
                  <a:cubicBezTo>
                    <a:pt x="47" y="58"/>
                    <a:pt x="45" y="55"/>
                    <a:pt x="43" y="53"/>
                  </a:cubicBezTo>
                  <a:cubicBezTo>
                    <a:pt x="42" y="51"/>
                    <a:pt x="42" y="49"/>
                    <a:pt x="44" y="48"/>
                  </a:cubicBezTo>
                  <a:cubicBezTo>
                    <a:pt x="46" y="47"/>
                    <a:pt x="49" y="45"/>
                    <a:pt x="52" y="43"/>
                  </a:cubicBezTo>
                  <a:cubicBezTo>
                    <a:pt x="54" y="42"/>
                    <a:pt x="56" y="42"/>
                    <a:pt x="58" y="43"/>
                  </a:cubicBezTo>
                  <a:cubicBezTo>
                    <a:pt x="60" y="43"/>
                    <a:pt x="62" y="43"/>
                    <a:pt x="63" y="43"/>
                  </a:cubicBezTo>
                  <a:cubicBezTo>
                    <a:pt x="64" y="43"/>
                    <a:pt x="66" y="42"/>
                    <a:pt x="66" y="42"/>
                  </a:cubicBezTo>
                  <a:cubicBezTo>
                    <a:pt x="66" y="39"/>
                    <a:pt x="66" y="35"/>
                    <a:pt x="66" y="32"/>
                  </a:cubicBezTo>
                  <a:cubicBezTo>
                    <a:pt x="66" y="32"/>
                    <a:pt x="65" y="30"/>
                    <a:pt x="64" y="30"/>
                  </a:cubicBezTo>
                  <a:cubicBezTo>
                    <a:pt x="62" y="30"/>
                    <a:pt x="60" y="30"/>
                    <a:pt x="58" y="30"/>
                  </a:cubicBezTo>
                  <a:cubicBezTo>
                    <a:pt x="54" y="31"/>
                    <a:pt x="49" y="33"/>
                    <a:pt x="45" y="33"/>
                  </a:cubicBezTo>
                  <a:cubicBezTo>
                    <a:pt x="40" y="33"/>
                    <a:pt x="35" y="34"/>
                    <a:pt x="32" y="38"/>
                  </a:cubicBezTo>
                  <a:cubicBezTo>
                    <a:pt x="32" y="39"/>
                    <a:pt x="30" y="39"/>
                    <a:pt x="29" y="38"/>
                  </a:cubicBezTo>
                  <a:cubicBezTo>
                    <a:pt x="24" y="36"/>
                    <a:pt x="21" y="33"/>
                    <a:pt x="20" y="28"/>
                  </a:cubicBezTo>
                  <a:cubicBezTo>
                    <a:pt x="19" y="24"/>
                    <a:pt x="23" y="19"/>
                    <a:pt x="28" y="18"/>
                  </a:cubicBezTo>
                  <a:close/>
                  <a:moveTo>
                    <a:pt x="51" y="83"/>
                  </a:moveTo>
                  <a:cubicBezTo>
                    <a:pt x="51" y="83"/>
                    <a:pt x="51" y="83"/>
                    <a:pt x="51" y="84"/>
                  </a:cubicBezTo>
                  <a:cubicBezTo>
                    <a:pt x="52" y="82"/>
                    <a:pt x="53" y="82"/>
                    <a:pt x="55" y="82"/>
                  </a:cubicBezTo>
                  <a:cubicBezTo>
                    <a:pt x="56" y="82"/>
                    <a:pt x="56" y="83"/>
                    <a:pt x="56" y="84"/>
                  </a:cubicBezTo>
                  <a:cubicBezTo>
                    <a:pt x="56" y="84"/>
                    <a:pt x="55" y="85"/>
                    <a:pt x="55" y="85"/>
                  </a:cubicBezTo>
                  <a:cubicBezTo>
                    <a:pt x="54" y="84"/>
                    <a:pt x="52" y="84"/>
                    <a:pt x="51" y="84"/>
                  </a:cubicBezTo>
                  <a:cubicBezTo>
                    <a:pt x="51" y="84"/>
                    <a:pt x="51" y="84"/>
                    <a:pt x="51" y="84"/>
                  </a:cubicBezTo>
                  <a:cubicBezTo>
                    <a:pt x="51" y="84"/>
                    <a:pt x="50" y="84"/>
                    <a:pt x="50" y="84"/>
                  </a:cubicBezTo>
                  <a:cubicBezTo>
                    <a:pt x="50" y="84"/>
                    <a:pt x="51" y="84"/>
                    <a:pt x="51" y="8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143"/>
            <p:cNvSpPr>
              <a:spLocks/>
            </p:cNvSpPr>
            <p:nvPr/>
          </p:nvSpPr>
          <p:spPr bwMode="auto">
            <a:xfrm>
              <a:off x="1910741" y="1545388"/>
              <a:ext cx="177548" cy="111421"/>
            </a:xfrm>
            <a:custGeom>
              <a:avLst/>
              <a:gdLst>
                <a:gd name="T0" fmla="*/ 2 w 83"/>
                <a:gd name="T1" fmla="*/ 22 h 52"/>
                <a:gd name="T2" fmla="*/ 14 w 83"/>
                <a:gd name="T3" fmla="*/ 32 h 52"/>
                <a:gd name="T4" fmla="*/ 22 w 83"/>
                <a:gd name="T5" fmla="*/ 31 h 52"/>
                <a:gd name="T6" fmla="*/ 22 w 83"/>
                <a:gd name="T7" fmla="*/ 30 h 52"/>
                <a:gd name="T8" fmla="*/ 23 w 83"/>
                <a:gd name="T9" fmla="*/ 30 h 52"/>
                <a:gd name="T10" fmla="*/ 27 w 83"/>
                <a:gd name="T11" fmla="*/ 29 h 52"/>
                <a:gd name="T12" fmla="*/ 28 w 83"/>
                <a:gd name="T13" fmla="*/ 29 h 52"/>
                <a:gd name="T14" fmla="*/ 27 w 83"/>
                <a:gd name="T15" fmla="*/ 30 h 52"/>
                <a:gd name="T16" fmla="*/ 23 w 83"/>
                <a:gd name="T17" fmla="*/ 30 h 52"/>
                <a:gd name="T18" fmla="*/ 22 w 83"/>
                <a:gd name="T19" fmla="*/ 31 h 52"/>
                <a:gd name="T20" fmla="*/ 22 w 83"/>
                <a:gd name="T21" fmla="*/ 31 h 52"/>
                <a:gd name="T22" fmla="*/ 19 w 83"/>
                <a:gd name="T23" fmla="*/ 34 h 52"/>
                <a:gd name="T24" fmla="*/ 19 w 83"/>
                <a:gd name="T25" fmla="*/ 39 h 52"/>
                <a:gd name="T26" fmla="*/ 27 w 83"/>
                <a:gd name="T27" fmla="*/ 43 h 52"/>
                <a:gd name="T28" fmla="*/ 36 w 83"/>
                <a:gd name="T29" fmla="*/ 45 h 52"/>
                <a:gd name="T30" fmla="*/ 47 w 83"/>
                <a:gd name="T31" fmla="*/ 48 h 52"/>
                <a:gd name="T32" fmla="*/ 58 w 83"/>
                <a:gd name="T33" fmla="*/ 47 h 52"/>
                <a:gd name="T34" fmla="*/ 63 w 83"/>
                <a:gd name="T35" fmla="*/ 44 h 52"/>
                <a:gd name="T36" fmla="*/ 73 w 83"/>
                <a:gd name="T37" fmla="*/ 36 h 52"/>
                <a:gd name="T38" fmla="*/ 78 w 83"/>
                <a:gd name="T39" fmla="*/ 28 h 52"/>
                <a:gd name="T40" fmla="*/ 82 w 83"/>
                <a:gd name="T41" fmla="*/ 12 h 52"/>
                <a:gd name="T42" fmla="*/ 74 w 83"/>
                <a:gd name="T43" fmla="*/ 9 h 52"/>
                <a:gd name="T44" fmla="*/ 56 w 83"/>
                <a:gd name="T45" fmla="*/ 4 h 52"/>
                <a:gd name="T46" fmla="*/ 49 w 83"/>
                <a:gd name="T47" fmla="*/ 6 h 52"/>
                <a:gd name="T48" fmla="*/ 45 w 83"/>
                <a:gd name="T49" fmla="*/ 5 h 52"/>
                <a:gd name="T50" fmla="*/ 43 w 83"/>
                <a:gd name="T51" fmla="*/ 2 h 52"/>
                <a:gd name="T52" fmla="*/ 39 w 83"/>
                <a:gd name="T53" fmla="*/ 0 h 52"/>
                <a:gd name="T54" fmla="*/ 37 w 83"/>
                <a:gd name="T55" fmla="*/ 2 h 52"/>
                <a:gd name="T56" fmla="*/ 36 w 83"/>
                <a:gd name="T57" fmla="*/ 7 h 52"/>
                <a:gd name="T58" fmla="*/ 35 w 83"/>
                <a:gd name="T59" fmla="*/ 11 h 52"/>
                <a:gd name="T60" fmla="*/ 31 w 83"/>
                <a:gd name="T61" fmla="*/ 10 h 52"/>
                <a:gd name="T62" fmla="*/ 30 w 83"/>
                <a:gd name="T63" fmla="*/ 9 h 52"/>
                <a:gd name="T64" fmla="*/ 17 w 83"/>
                <a:gd name="T65" fmla="*/ 3 h 52"/>
                <a:gd name="T66" fmla="*/ 15 w 83"/>
                <a:gd name="T67" fmla="*/ 1 h 52"/>
                <a:gd name="T68" fmla="*/ 10 w 83"/>
                <a:gd name="T69" fmla="*/ 4 h 52"/>
                <a:gd name="T70" fmla="*/ 10 w 83"/>
                <a:gd name="T71" fmla="*/ 7 h 52"/>
                <a:gd name="T72" fmla="*/ 9 w 83"/>
                <a:gd name="T73" fmla="*/ 9 h 52"/>
                <a:gd name="T74" fmla="*/ 6 w 83"/>
                <a:gd name="T75" fmla="*/ 8 h 52"/>
                <a:gd name="T76" fmla="*/ 3 w 83"/>
                <a:gd name="T77" fmla="*/ 8 h 52"/>
                <a:gd name="T78" fmla="*/ 1 w 83"/>
                <a:gd name="T79" fmla="*/ 16 h 52"/>
                <a:gd name="T80" fmla="*/ 2 w 83"/>
                <a:gd name="T81"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 h="52">
                  <a:moveTo>
                    <a:pt x="2" y="22"/>
                  </a:moveTo>
                  <a:cubicBezTo>
                    <a:pt x="4" y="29"/>
                    <a:pt x="6" y="31"/>
                    <a:pt x="14" y="32"/>
                  </a:cubicBezTo>
                  <a:cubicBezTo>
                    <a:pt x="17" y="32"/>
                    <a:pt x="19" y="31"/>
                    <a:pt x="22" y="31"/>
                  </a:cubicBezTo>
                  <a:cubicBezTo>
                    <a:pt x="22" y="31"/>
                    <a:pt x="22" y="30"/>
                    <a:pt x="22" y="30"/>
                  </a:cubicBezTo>
                  <a:cubicBezTo>
                    <a:pt x="23" y="30"/>
                    <a:pt x="23" y="30"/>
                    <a:pt x="23" y="30"/>
                  </a:cubicBezTo>
                  <a:cubicBezTo>
                    <a:pt x="25" y="30"/>
                    <a:pt x="26" y="29"/>
                    <a:pt x="27" y="29"/>
                  </a:cubicBezTo>
                  <a:cubicBezTo>
                    <a:pt x="27" y="29"/>
                    <a:pt x="28" y="29"/>
                    <a:pt x="28" y="29"/>
                  </a:cubicBezTo>
                  <a:cubicBezTo>
                    <a:pt x="29" y="30"/>
                    <a:pt x="28" y="30"/>
                    <a:pt x="27" y="30"/>
                  </a:cubicBezTo>
                  <a:cubicBezTo>
                    <a:pt x="26" y="30"/>
                    <a:pt x="25" y="30"/>
                    <a:pt x="23" y="30"/>
                  </a:cubicBezTo>
                  <a:cubicBezTo>
                    <a:pt x="23" y="30"/>
                    <a:pt x="23" y="31"/>
                    <a:pt x="22" y="31"/>
                  </a:cubicBezTo>
                  <a:cubicBezTo>
                    <a:pt x="22" y="31"/>
                    <a:pt x="22" y="31"/>
                    <a:pt x="22" y="31"/>
                  </a:cubicBezTo>
                  <a:cubicBezTo>
                    <a:pt x="21" y="32"/>
                    <a:pt x="20" y="33"/>
                    <a:pt x="19" y="34"/>
                  </a:cubicBezTo>
                  <a:cubicBezTo>
                    <a:pt x="17" y="35"/>
                    <a:pt x="17" y="37"/>
                    <a:pt x="19" y="39"/>
                  </a:cubicBezTo>
                  <a:cubicBezTo>
                    <a:pt x="22" y="40"/>
                    <a:pt x="25" y="41"/>
                    <a:pt x="27" y="43"/>
                  </a:cubicBezTo>
                  <a:cubicBezTo>
                    <a:pt x="30" y="45"/>
                    <a:pt x="33" y="46"/>
                    <a:pt x="36" y="45"/>
                  </a:cubicBezTo>
                  <a:cubicBezTo>
                    <a:pt x="40" y="44"/>
                    <a:pt x="43" y="44"/>
                    <a:pt x="47" y="48"/>
                  </a:cubicBezTo>
                  <a:cubicBezTo>
                    <a:pt x="50" y="52"/>
                    <a:pt x="53" y="51"/>
                    <a:pt x="58" y="47"/>
                  </a:cubicBezTo>
                  <a:cubicBezTo>
                    <a:pt x="59" y="46"/>
                    <a:pt x="61" y="44"/>
                    <a:pt x="63" y="44"/>
                  </a:cubicBezTo>
                  <a:cubicBezTo>
                    <a:pt x="69" y="44"/>
                    <a:pt x="72" y="42"/>
                    <a:pt x="73" y="36"/>
                  </a:cubicBezTo>
                  <a:cubicBezTo>
                    <a:pt x="74" y="33"/>
                    <a:pt x="76" y="31"/>
                    <a:pt x="78" y="28"/>
                  </a:cubicBezTo>
                  <a:cubicBezTo>
                    <a:pt x="82" y="23"/>
                    <a:pt x="83" y="18"/>
                    <a:pt x="82" y="12"/>
                  </a:cubicBezTo>
                  <a:cubicBezTo>
                    <a:pt x="79" y="11"/>
                    <a:pt x="77" y="9"/>
                    <a:pt x="74" y="9"/>
                  </a:cubicBezTo>
                  <a:cubicBezTo>
                    <a:pt x="67" y="8"/>
                    <a:pt x="62" y="7"/>
                    <a:pt x="56" y="4"/>
                  </a:cubicBezTo>
                  <a:cubicBezTo>
                    <a:pt x="53" y="3"/>
                    <a:pt x="51" y="4"/>
                    <a:pt x="49" y="6"/>
                  </a:cubicBezTo>
                  <a:cubicBezTo>
                    <a:pt x="46" y="8"/>
                    <a:pt x="46" y="8"/>
                    <a:pt x="45" y="5"/>
                  </a:cubicBezTo>
                  <a:cubicBezTo>
                    <a:pt x="44" y="4"/>
                    <a:pt x="44" y="3"/>
                    <a:pt x="43" y="2"/>
                  </a:cubicBezTo>
                  <a:cubicBezTo>
                    <a:pt x="43" y="0"/>
                    <a:pt x="41" y="0"/>
                    <a:pt x="39" y="0"/>
                  </a:cubicBezTo>
                  <a:cubicBezTo>
                    <a:pt x="38" y="1"/>
                    <a:pt x="37" y="1"/>
                    <a:pt x="37" y="2"/>
                  </a:cubicBezTo>
                  <a:cubicBezTo>
                    <a:pt x="36" y="4"/>
                    <a:pt x="37" y="5"/>
                    <a:pt x="36" y="7"/>
                  </a:cubicBezTo>
                  <a:cubicBezTo>
                    <a:pt x="36" y="8"/>
                    <a:pt x="36" y="10"/>
                    <a:pt x="35" y="11"/>
                  </a:cubicBezTo>
                  <a:cubicBezTo>
                    <a:pt x="34" y="12"/>
                    <a:pt x="33" y="10"/>
                    <a:pt x="31" y="10"/>
                  </a:cubicBezTo>
                  <a:cubicBezTo>
                    <a:pt x="31" y="9"/>
                    <a:pt x="30" y="9"/>
                    <a:pt x="30" y="9"/>
                  </a:cubicBezTo>
                  <a:cubicBezTo>
                    <a:pt x="24" y="9"/>
                    <a:pt x="21" y="7"/>
                    <a:pt x="17" y="3"/>
                  </a:cubicBezTo>
                  <a:cubicBezTo>
                    <a:pt x="17" y="2"/>
                    <a:pt x="16" y="2"/>
                    <a:pt x="15" y="1"/>
                  </a:cubicBezTo>
                  <a:cubicBezTo>
                    <a:pt x="13" y="0"/>
                    <a:pt x="11" y="1"/>
                    <a:pt x="10" y="4"/>
                  </a:cubicBezTo>
                  <a:cubicBezTo>
                    <a:pt x="10" y="5"/>
                    <a:pt x="11" y="6"/>
                    <a:pt x="10" y="7"/>
                  </a:cubicBezTo>
                  <a:cubicBezTo>
                    <a:pt x="10" y="8"/>
                    <a:pt x="10" y="9"/>
                    <a:pt x="9" y="9"/>
                  </a:cubicBezTo>
                  <a:cubicBezTo>
                    <a:pt x="8" y="9"/>
                    <a:pt x="7" y="8"/>
                    <a:pt x="6" y="8"/>
                  </a:cubicBezTo>
                  <a:cubicBezTo>
                    <a:pt x="5" y="8"/>
                    <a:pt x="4" y="8"/>
                    <a:pt x="3" y="8"/>
                  </a:cubicBezTo>
                  <a:cubicBezTo>
                    <a:pt x="2" y="10"/>
                    <a:pt x="0" y="13"/>
                    <a:pt x="1" y="16"/>
                  </a:cubicBezTo>
                  <a:cubicBezTo>
                    <a:pt x="1" y="18"/>
                    <a:pt x="2" y="20"/>
                    <a:pt x="2" y="2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44"/>
            <p:cNvSpPr>
              <a:spLocks/>
            </p:cNvSpPr>
            <p:nvPr/>
          </p:nvSpPr>
          <p:spPr bwMode="auto">
            <a:xfrm>
              <a:off x="1317404" y="2928634"/>
              <a:ext cx="131349" cy="145843"/>
            </a:xfrm>
            <a:custGeom>
              <a:avLst/>
              <a:gdLst>
                <a:gd name="T0" fmla="*/ 27 w 61"/>
                <a:gd name="T1" fmla="*/ 6 h 68"/>
                <a:gd name="T2" fmla="*/ 24 w 61"/>
                <a:gd name="T3" fmla="*/ 13 h 68"/>
                <a:gd name="T4" fmla="*/ 21 w 61"/>
                <a:gd name="T5" fmla="*/ 15 h 68"/>
                <a:gd name="T6" fmla="*/ 11 w 61"/>
                <a:gd name="T7" fmla="*/ 15 h 68"/>
                <a:gd name="T8" fmla="*/ 8 w 61"/>
                <a:gd name="T9" fmla="*/ 18 h 68"/>
                <a:gd name="T10" fmla="*/ 7 w 61"/>
                <a:gd name="T11" fmla="*/ 28 h 68"/>
                <a:gd name="T12" fmla="*/ 10 w 61"/>
                <a:gd name="T13" fmla="*/ 34 h 68"/>
                <a:gd name="T14" fmla="*/ 11 w 61"/>
                <a:gd name="T15" fmla="*/ 43 h 68"/>
                <a:gd name="T16" fmla="*/ 6 w 61"/>
                <a:gd name="T17" fmla="*/ 51 h 68"/>
                <a:gd name="T18" fmla="*/ 3 w 61"/>
                <a:gd name="T19" fmla="*/ 53 h 68"/>
                <a:gd name="T20" fmla="*/ 5 w 61"/>
                <a:gd name="T21" fmla="*/ 64 h 68"/>
                <a:gd name="T22" fmla="*/ 21 w 61"/>
                <a:gd name="T23" fmla="*/ 66 h 68"/>
                <a:gd name="T24" fmla="*/ 30 w 61"/>
                <a:gd name="T25" fmla="*/ 62 h 68"/>
                <a:gd name="T26" fmla="*/ 45 w 61"/>
                <a:gd name="T27" fmla="*/ 56 h 68"/>
                <a:gd name="T28" fmla="*/ 50 w 61"/>
                <a:gd name="T29" fmla="*/ 53 h 68"/>
                <a:gd name="T30" fmla="*/ 54 w 61"/>
                <a:gd name="T31" fmla="*/ 33 h 68"/>
                <a:gd name="T32" fmla="*/ 53 w 61"/>
                <a:gd name="T33" fmla="*/ 29 h 68"/>
                <a:gd name="T34" fmla="*/ 55 w 61"/>
                <a:gd name="T35" fmla="*/ 23 h 68"/>
                <a:gd name="T36" fmla="*/ 58 w 61"/>
                <a:gd name="T37" fmla="*/ 21 h 68"/>
                <a:gd name="T38" fmla="*/ 59 w 61"/>
                <a:gd name="T39" fmla="*/ 9 h 68"/>
                <a:gd name="T40" fmla="*/ 55 w 61"/>
                <a:gd name="T41" fmla="*/ 4 h 68"/>
                <a:gd name="T42" fmla="*/ 52 w 61"/>
                <a:gd name="T43" fmla="*/ 1 h 68"/>
                <a:gd name="T44" fmla="*/ 39 w 61"/>
                <a:gd name="T45" fmla="*/ 0 h 68"/>
                <a:gd name="T46" fmla="*/ 35 w 61"/>
                <a:gd name="T47" fmla="*/ 0 h 68"/>
                <a:gd name="T48" fmla="*/ 27 w 61"/>
                <a:gd name="T49"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8">
                  <a:moveTo>
                    <a:pt x="27" y="6"/>
                  </a:moveTo>
                  <a:cubicBezTo>
                    <a:pt x="26" y="9"/>
                    <a:pt x="25" y="11"/>
                    <a:pt x="24" y="13"/>
                  </a:cubicBezTo>
                  <a:cubicBezTo>
                    <a:pt x="23" y="14"/>
                    <a:pt x="22" y="15"/>
                    <a:pt x="21" y="15"/>
                  </a:cubicBezTo>
                  <a:cubicBezTo>
                    <a:pt x="18" y="15"/>
                    <a:pt x="15" y="15"/>
                    <a:pt x="11" y="15"/>
                  </a:cubicBezTo>
                  <a:cubicBezTo>
                    <a:pt x="9" y="16"/>
                    <a:pt x="8" y="17"/>
                    <a:pt x="8" y="18"/>
                  </a:cubicBezTo>
                  <a:cubicBezTo>
                    <a:pt x="8" y="21"/>
                    <a:pt x="8" y="25"/>
                    <a:pt x="7" y="28"/>
                  </a:cubicBezTo>
                  <a:cubicBezTo>
                    <a:pt x="7" y="31"/>
                    <a:pt x="8" y="32"/>
                    <a:pt x="10" y="34"/>
                  </a:cubicBezTo>
                  <a:cubicBezTo>
                    <a:pt x="12" y="37"/>
                    <a:pt x="12" y="40"/>
                    <a:pt x="11" y="43"/>
                  </a:cubicBezTo>
                  <a:cubicBezTo>
                    <a:pt x="9" y="46"/>
                    <a:pt x="7" y="48"/>
                    <a:pt x="6" y="51"/>
                  </a:cubicBezTo>
                  <a:cubicBezTo>
                    <a:pt x="5" y="52"/>
                    <a:pt x="4" y="52"/>
                    <a:pt x="3" y="53"/>
                  </a:cubicBezTo>
                  <a:cubicBezTo>
                    <a:pt x="0" y="56"/>
                    <a:pt x="1" y="61"/>
                    <a:pt x="5" y="64"/>
                  </a:cubicBezTo>
                  <a:cubicBezTo>
                    <a:pt x="10" y="67"/>
                    <a:pt x="15" y="68"/>
                    <a:pt x="21" y="66"/>
                  </a:cubicBezTo>
                  <a:cubicBezTo>
                    <a:pt x="24" y="65"/>
                    <a:pt x="27" y="63"/>
                    <a:pt x="30" y="62"/>
                  </a:cubicBezTo>
                  <a:cubicBezTo>
                    <a:pt x="35" y="59"/>
                    <a:pt x="40" y="57"/>
                    <a:pt x="45" y="56"/>
                  </a:cubicBezTo>
                  <a:cubicBezTo>
                    <a:pt x="47" y="56"/>
                    <a:pt x="49" y="55"/>
                    <a:pt x="50" y="53"/>
                  </a:cubicBezTo>
                  <a:cubicBezTo>
                    <a:pt x="54" y="47"/>
                    <a:pt x="56" y="41"/>
                    <a:pt x="54" y="33"/>
                  </a:cubicBezTo>
                  <a:cubicBezTo>
                    <a:pt x="54" y="32"/>
                    <a:pt x="54" y="30"/>
                    <a:pt x="53" y="29"/>
                  </a:cubicBezTo>
                  <a:cubicBezTo>
                    <a:pt x="53" y="27"/>
                    <a:pt x="54" y="25"/>
                    <a:pt x="55" y="23"/>
                  </a:cubicBezTo>
                  <a:cubicBezTo>
                    <a:pt x="56" y="22"/>
                    <a:pt x="57" y="22"/>
                    <a:pt x="58" y="21"/>
                  </a:cubicBezTo>
                  <a:cubicBezTo>
                    <a:pt x="61" y="17"/>
                    <a:pt x="61" y="14"/>
                    <a:pt x="59" y="9"/>
                  </a:cubicBezTo>
                  <a:cubicBezTo>
                    <a:pt x="58" y="8"/>
                    <a:pt x="57" y="6"/>
                    <a:pt x="55" y="4"/>
                  </a:cubicBezTo>
                  <a:cubicBezTo>
                    <a:pt x="54" y="3"/>
                    <a:pt x="53" y="2"/>
                    <a:pt x="52" y="1"/>
                  </a:cubicBezTo>
                  <a:cubicBezTo>
                    <a:pt x="47" y="1"/>
                    <a:pt x="43" y="0"/>
                    <a:pt x="39" y="0"/>
                  </a:cubicBezTo>
                  <a:cubicBezTo>
                    <a:pt x="38" y="0"/>
                    <a:pt x="37" y="0"/>
                    <a:pt x="35" y="0"/>
                  </a:cubicBezTo>
                  <a:cubicBezTo>
                    <a:pt x="31" y="1"/>
                    <a:pt x="28" y="2"/>
                    <a:pt x="27"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45"/>
            <p:cNvSpPr>
              <a:spLocks/>
            </p:cNvSpPr>
            <p:nvPr/>
          </p:nvSpPr>
          <p:spPr bwMode="auto">
            <a:xfrm>
              <a:off x="5471670" y="3089877"/>
              <a:ext cx="156713" cy="173019"/>
            </a:xfrm>
            <a:custGeom>
              <a:avLst/>
              <a:gdLst>
                <a:gd name="T0" fmla="*/ 0 w 73"/>
                <a:gd name="T1" fmla="*/ 61 h 81"/>
                <a:gd name="T2" fmla="*/ 7 w 73"/>
                <a:gd name="T3" fmla="*/ 71 h 81"/>
                <a:gd name="T4" fmla="*/ 11 w 73"/>
                <a:gd name="T5" fmla="*/ 80 h 81"/>
                <a:gd name="T6" fmla="*/ 13 w 73"/>
                <a:gd name="T7" fmla="*/ 81 h 81"/>
                <a:gd name="T8" fmla="*/ 24 w 73"/>
                <a:gd name="T9" fmla="*/ 74 h 81"/>
                <a:gd name="T10" fmla="*/ 24 w 73"/>
                <a:gd name="T11" fmla="*/ 69 h 81"/>
                <a:gd name="T12" fmla="*/ 13 w 73"/>
                <a:gd name="T13" fmla="*/ 63 h 81"/>
                <a:gd name="T14" fmla="*/ 12 w 73"/>
                <a:gd name="T15" fmla="*/ 62 h 81"/>
                <a:gd name="T16" fmla="*/ 18 w 73"/>
                <a:gd name="T17" fmla="*/ 60 h 81"/>
                <a:gd name="T18" fmla="*/ 36 w 73"/>
                <a:gd name="T19" fmla="*/ 61 h 81"/>
                <a:gd name="T20" fmla="*/ 47 w 73"/>
                <a:gd name="T21" fmla="*/ 65 h 81"/>
                <a:gd name="T22" fmla="*/ 49 w 73"/>
                <a:gd name="T23" fmla="*/ 64 h 81"/>
                <a:gd name="T24" fmla="*/ 52 w 73"/>
                <a:gd name="T25" fmla="*/ 55 h 81"/>
                <a:gd name="T26" fmla="*/ 59 w 73"/>
                <a:gd name="T27" fmla="*/ 47 h 81"/>
                <a:gd name="T28" fmla="*/ 69 w 73"/>
                <a:gd name="T29" fmla="*/ 43 h 81"/>
                <a:gd name="T30" fmla="*/ 71 w 73"/>
                <a:gd name="T31" fmla="*/ 35 h 81"/>
                <a:gd name="T32" fmla="*/ 66 w 73"/>
                <a:gd name="T33" fmla="*/ 28 h 81"/>
                <a:gd name="T34" fmla="*/ 63 w 73"/>
                <a:gd name="T35" fmla="*/ 24 h 81"/>
                <a:gd name="T36" fmla="*/ 60 w 73"/>
                <a:gd name="T37" fmla="*/ 22 h 81"/>
                <a:gd name="T38" fmla="*/ 44 w 73"/>
                <a:gd name="T39" fmla="*/ 23 h 81"/>
                <a:gd name="T40" fmla="*/ 26 w 73"/>
                <a:gd name="T41" fmla="*/ 10 h 81"/>
                <a:gd name="T42" fmla="*/ 13 w 73"/>
                <a:gd name="T43" fmla="*/ 1 h 81"/>
                <a:gd name="T44" fmla="*/ 8 w 73"/>
                <a:gd name="T45" fmla="*/ 1 h 81"/>
                <a:gd name="T46" fmla="*/ 7 w 73"/>
                <a:gd name="T47" fmla="*/ 6 h 81"/>
                <a:gd name="T48" fmla="*/ 10 w 73"/>
                <a:gd name="T49" fmla="*/ 13 h 81"/>
                <a:gd name="T50" fmla="*/ 13 w 73"/>
                <a:gd name="T51" fmla="*/ 20 h 81"/>
                <a:gd name="T52" fmla="*/ 14 w 73"/>
                <a:gd name="T53" fmla="*/ 42 h 81"/>
                <a:gd name="T54" fmla="*/ 11 w 73"/>
                <a:gd name="T55" fmla="*/ 44 h 81"/>
                <a:gd name="T56" fmla="*/ 8 w 73"/>
                <a:gd name="T57" fmla="*/ 44 h 81"/>
                <a:gd name="T58" fmla="*/ 5 w 73"/>
                <a:gd name="T59" fmla="*/ 48 h 81"/>
                <a:gd name="T60" fmla="*/ 5 w 73"/>
                <a:gd name="T61" fmla="*/ 51 h 81"/>
                <a:gd name="T62" fmla="*/ 0 w 73"/>
                <a:gd name="T63" fmla="*/ 6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 h="81">
                  <a:moveTo>
                    <a:pt x="0" y="61"/>
                  </a:moveTo>
                  <a:cubicBezTo>
                    <a:pt x="0" y="66"/>
                    <a:pt x="5" y="67"/>
                    <a:pt x="7" y="71"/>
                  </a:cubicBezTo>
                  <a:cubicBezTo>
                    <a:pt x="8" y="74"/>
                    <a:pt x="9" y="77"/>
                    <a:pt x="11" y="80"/>
                  </a:cubicBezTo>
                  <a:cubicBezTo>
                    <a:pt x="11" y="80"/>
                    <a:pt x="13" y="81"/>
                    <a:pt x="13" y="81"/>
                  </a:cubicBezTo>
                  <a:cubicBezTo>
                    <a:pt x="17" y="78"/>
                    <a:pt x="20" y="76"/>
                    <a:pt x="24" y="74"/>
                  </a:cubicBezTo>
                  <a:cubicBezTo>
                    <a:pt x="25" y="73"/>
                    <a:pt x="25" y="70"/>
                    <a:pt x="24" y="69"/>
                  </a:cubicBezTo>
                  <a:cubicBezTo>
                    <a:pt x="20" y="67"/>
                    <a:pt x="16" y="65"/>
                    <a:pt x="13" y="63"/>
                  </a:cubicBezTo>
                  <a:cubicBezTo>
                    <a:pt x="12" y="63"/>
                    <a:pt x="12" y="62"/>
                    <a:pt x="12" y="62"/>
                  </a:cubicBezTo>
                  <a:cubicBezTo>
                    <a:pt x="14" y="61"/>
                    <a:pt x="17" y="61"/>
                    <a:pt x="18" y="60"/>
                  </a:cubicBezTo>
                  <a:cubicBezTo>
                    <a:pt x="25" y="55"/>
                    <a:pt x="31" y="57"/>
                    <a:pt x="36" y="61"/>
                  </a:cubicBezTo>
                  <a:cubicBezTo>
                    <a:pt x="39" y="64"/>
                    <a:pt x="43" y="65"/>
                    <a:pt x="47" y="65"/>
                  </a:cubicBezTo>
                  <a:cubicBezTo>
                    <a:pt x="48" y="65"/>
                    <a:pt x="49" y="65"/>
                    <a:pt x="49" y="64"/>
                  </a:cubicBezTo>
                  <a:cubicBezTo>
                    <a:pt x="50" y="61"/>
                    <a:pt x="51" y="58"/>
                    <a:pt x="52" y="55"/>
                  </a:cubicBezTo>
                  <a:cubicBezTo>
                    <a:pt x="53" y="51"/>
                    <a:pt x="55" y="48"/>
                    <a:pt x="59" y="47"/>
                  </a:cubicBezTo>
                  <a:cubicBezTo>
                    <a:pt x="62" y="46"/>
                    <a:pt x="66" y="44"/>
                    <a:pt x="69" y="43"/>
                  </a:cubicBezTo>
                  <a:cubicBezTo>
                    <a:pt x="72" y="41"/>
                    <a:pt x="73" y="37"/>
                    <a:pt x="71" y="35"/>
                  </a:cubicBezTo>
                  <a:cubicBezTo>
                    <a:pt x="70" y="33"/>
                    <a:pt x="68" y="30"/>
                    <a:pt x="66" y="28"/>
                  </a:cubicBezTo>
                  <a:cubicBezTo>
                    <a:pt x="65" y="27"/>
                    <a:pt x="64" y="25"/>
                    <a:pt x="63" y="24"/>
                  </a:cubicBezTo>
                  <a:cubicBezTo>
                    <a:pt x="62" y="21"/>
                    <a:pt x="62" y="21"/>
                    <a:pt x="60" y="22"/>
                  </a:cubicBezTo>
                  <a:cubicBezTo>
                    <a:pt x="55" y="25"/>
                    <a:pt x="50" y="25"/>
                    <a:pt x="44" y="23"/>
                  </a:cubicBezTo>
                  <a:cubicBezTo>
                    <a:pt x="37" y="20"/>
                    <a:pt x="31" y="15"/>
                    <a:pt x="26" y="10"/>
                  </a:cubicBezTo>
                  <a:cubicBezTo>
                    <a:pt x="22" y="6"/>
                    <a:pt x="18" y="3"/>
                    <a:pt x="13" y="1"/>
                  </a:cubicBezTo>
                  <a:cubicBezTo>
                    <a:pt x="11" y="0"/>
                    <a:pt x="10" y="0"/>
                    <a:pt x="8" y="1"/>
                  </a:cubicBezTo>
                  <a:cubicBezTo>
                    <a:pt x="7" y="3"/>
                    <a:pt x="7" y="4"/>
                    <a:pt x="7" y="6"/>
                  </a:cubicBezTo>
                  <a:cubicBezTo>
                    <a:pt x="8" y="8"/>
                    <a:pt x="9" y="10"/>
                    <a:pt x="10" y="13"/>
                  </a:cubicBezTo>
                  <a:cubicBezTo>
                    <a:pt x="11" y="15"/>
                    <a:pt x="12" y="18"/>
                    <a:pt x="13" y="20"/>
                  </a:cubicBezTo>
                  <a:cubicBezTo>
                    <a:pt x="13" y="27"/>
                    <a:pt x="14" y="35"/>
                    <a:pt x="14" y="42"/>
                  </a:cubicBezTo>
                  <a:cubicBezTo>
                    <a:pt x="14" y="42"/>
                    <a:pt x="12" y="43"/>
                    <a:pt x="11" y="44"/>
                  </a:cubicBezTo>
                  <a:cubicBezTo>
                    <a:pt x="10" y="44"/>
                    <a:pt x="9" y="44"/>
                    <a:pt x="8" y="44"/>
                  </a:cubicBezTo>
                  <a:cubicBezTo>
                    <a:pt x="5" y="44"/>
                    <a:pt x="5" y="44"/>
                    <a:pt x="5" y="48"/>
                  </a:cubicBezTo>
                  <a:cubicBezTo>
                    <a:pt x="5" y="49"/>
                    <a:pt x="5" y="50"/>
                    <a:pt x="5" y="51"/>
                  </a:cubicBezTo>
                  <a:cubicBezTo>
                    <a:pt x="4" y="54"/>
                    <a:pt x="1" y="57"/>
                    <a:pt x="0" y="6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46"/>
            <p:cNvSpPr>
              <a:spLocks/>
            </p:cNvSpPr>
            <p:nvPr/>
          </p:nvSpPr>
          <p:spPr bwMode="auto">
            <a:xfrm>
              <a:off x="4688102" y="4824595"/>
              <a:ext cx="288969" cy="86057"/>
            </a:xfrm>
            <a:custGeom>
              <a:avLst/>
              <a:gdLst>
                <a:gd name="T0" fmla="*/ 93 w 135"/>
                <a:gd name="T1" fmla="*/ 34 h 40"/>
                <a:gd name="T2" fmla="*/ 112 w 135"/>
                <a:gd name="T3" fmla="*/ 38 h 40"/>
                <a:gd name="T4" fmla="*/ 119 w 135"/>
                <a:gd name="T5" fmla="*/ 37 h 40"/>
                <a:gd name="T6" fmla="*/ 124 w 135"/>
                <a:gd name="T7" fmla="*/ 36 h 40"/>
                <a:gd name="T8" fmla="*/ 130 w 135"/>
                <a:gd name="T9" fmla="*/ 37 h 40"/>
                <a:gd name="T10" fmla="*/ 135 w 135"/>
                <a:gd name="T11" fmla="*/ 33 h 40"/>
                <a:gd name="T12" fmla="*/ 132 w 135"/>
                <a:gd name="T13" fmla="*/ 30 h 40"/>
                <a:gd name="T14" fmla="*/ 115 w 135"/>
                <a:gd name="T15" fmla="*/ 25 h 40"/>
                <a:gd name="T16" fmla="*/ 112 w 135"/>
                <a:gd name="T17" fmla="*/ 24 h 40"/>
                <a:gd name="T18" fmla="*/ 105 w 135"/>
                <a:gd name="T19" fmla="*/ 24 h 40"/>
                <a:gd name="T20" fmla="*/ 101 w 135"/>
                <a:gd name="T21" fmla="*/ 22 h 40"/>
                <a:gd name="T22" fmla="*/ 104 w 135"/>
                <a:gd name="T23" fmla="*/ 19 h 40"/>
                <a:gd name="T24" fmla="*/ 108 w 135"/>
                <a:gd name="T25" fmla="*/ 19 h 40"/>
                <a:gd name="T26" fmla="*/ 111 w 135"/>
                <a:gd name="T27" fmla="*/ 16 h 40"/>
                <a:gd name="T28" fmla="*/ 107 w 135"/>
                <a:gd name="T29" fmla="*/ 14 h 40"/>
                <a:gd name="T30" fmla="*/ 88 w 135"/>
                <a:gd name="T31" fmla="*/ 11 h 40"/>
                <a:gd name="T32" fmla="*/ 79 w 135"/>
                <a:gd name="T33" fmla="*/ 8 h 40"/>
                <a:gd name="T34" fmla="*/ 67 w 135"/>
                <a:gd name="T35" fmla="*/ 11 h 40"/>
                <a:gd name="T36" fmla="*/ 61 w 135"/>
                <a:gd name="T37" fmla="*/ 13 h 40"/>
                <a:gd name="T38" fmla="*/ 53 w 135"/>
                <a:gd name="T39" fmla="*/ 12 h 40"/>
                <a:gd name="T40" fmla="*/ 40 w 135"/>
                <a:gd name="T41" fmla="*/ 7 h 40"/>
                <a:gd name="T42" fmla="*/ 24 w 135"/>
                <a:gd name="T43" fmla="*/ 1 h 40"/>
                <a:gd name="T44" fmla="*/ 6 w 135"/>
                <a:gd name="T45" fmla="*/ 0 h 40"/>
                <a:gd name="T46" fmla="*/ 1 w 135"/>
                <a:gd name="T47" fmla="*/ 10 h 40"/>
                <a:gd name="T48" fmla="*/ 3 w 135"/>
                <a:gd name="T49" fmla="*/ 14 h 40"/>
                <a:gd name="T50" fmla="*/ 12 w 135"/>
                <a:gd name="T51" fmla="*/ 19 h 40"/>
                <a:gd name="T52" fmla="*/ 18 w 135"/>
                <a:gd name="T53" fmla="*/ 22 h 40"/>
                <a:gd name="T54" fmla="*/ 31 w 135"/>
                <a:gd name="T55" fmla="*/ 25 h 40"/>
                <a:gd name="T56" fmla="*/ 40 w 135"/>
                <a:gd name="T57" fmla="*/ 26 h 40"/>
                <a:gd name="T58" fmla="*/ 61 w 135"/>
                <a:gd name="T59" fmla="*/ 29 h 40"/>
                <a:gd name="T60" fmla="*/ 81 w 135"/>
                <a:gd name="T61" fmla="*/ 34 h 40"/>
                <a:gd name="T62" fmla="*/ 93 w 135"/>
                <a:gd name="T63"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5" h="40">
                  <a:moveTo>
                    <a:pt x="93" y="34"/>
                  </a:moveTo>
                  <a:cubicBezTo>
                    <a:pt x="100" y="34"/>
                    <a:pt x="106" y="35"/>
                    <a:pt x="112" y="38"/>
                  </a:cubicBezTo>
                  <a:cubicBezTo>
                    <a:pt x="115" y="40"/>
                    <a:pt x="117" y="39"/>
                    <a:pt x="119" y="37"/>
                  </a:cubicBezTo>
                  <a:cubicBezTo>
                    <a:pt x="121" y="36"/>
                    <a:pt x="122" y="36"/>
                    <a:pt x="124" y="36"/>
                  </a:cubicBezTo>
                  <a:cubicBezTo>
                    <a:pt x="126" y="37"/>
                    <a:pt x="128" y="37"/>
                    <a:pt x="130" y="37"/>
                  </a:cubicBezTo>
                  <a:cubicBezTo>
                    <a:pt x="132" y="38"/>
                    <a:pt x="135" y="35"/>
                    <a:pt x="135" y="33"/>
                  </a:cubicBezTo>
                  <a:cubicBezTo>
                    <a:pt x="135" y="32"/>
                    <a:pt x="133" y="30"/>
                    <a:pt x="132" y="30"/>
                  </a:cubicBezTo>
                  <a:cubicBezTo>
                    <a:pt x="126" y="30"/>
                    <a:pt x="120" y="29"/>
                    <a:pt x="115" y="25"/>
                  </a:cubicBezTo>
                  <a:cubicBezTo>
                    <a:pt x="114" y="24"/>
                    <a:pt x="113" y="24"/>
                    <a:pt x="112" y="24"/>
                  </a:cubicBezTo>
                  <a:cubicBezTo>
                    <a:pt x="110" y="24"/>
                    <a:pt x="108" y="24"/>
                    <a:pt x="105" y="24"/>
                  </a:cubicBezTo>
                  <a:cubicBezTo>
                    <a:pt x="104" y="24"/>
                    <a:pt x="102" y="23"/>
                    <a:pt x="101" y="22"/>
                  </a:cubicBezTo>
                  <a:cubicBezTo>
                    <a:pt x="101" y="21"/>
                    <a:pt x="102" y="20"/>
                    <a:pt x="104" y="19"/>
                  </a:cubicBezTo>
                  <a:cubicBezTo>
                    <a:pt x="106" y="19"/>
                    <a:pt x="107" y="19"/>
                    <a:pt x="108" y="19"/>
                  </a:cubicBezTo>
                  <a:cubicBezTo>
                    <a:pt x="109" y="18"/>
                    <a:pt x="111" y="18"/>
                    <a:pt x="111" y="16"/>
                  </a:cubicBezTo>
                  <a:cubicBezTo>
                    <a:pt x="111" y="16"/>
                    <a:pt x="109" y="15"/>
                    <a:pt x="107" y="14"/>
                  </a:cubicBezTo>
                  <a:cubicBezTo>
                    <a:pt x="101" y="14"/>
                    <a:pt x="94" y="14"/>
                    <a:pt x="88" y="11"/>
                  </a:cubicBezTo>
                  <a:cubicBezTo>
                    <a:pt x="85" y="10"/>
                    <a:pt x="81" y="10"/>
                    <a:pt x="79" y="8"/>
                  </a:cubicBezTo>
                  <a:cubicBezTo>
                    <a:pt x="74" y="6"/>
                    <a:pt x="70" y="6"/>
                    <a:pt x="67" y="11"/>
                  </a:cubicBezTo>
                  <a:cubicBezTo>
                    <a:pt x="66" y="12"/>
                    <a:pt x="64" y="13"/>
                    <a:pt x="61" y="13"/>
                  </a:cubicBezTo>
                  <a:cubicBezTo>
                    <a:pt x="59" y="13"/>
                    <a:pt x="56" y="12"/>
                    <a:pt x="53" y="12"/>
                  </a:cubicBezTo>
                  <a:cubicBezTo>
                    <a:pt x="48" y="12"/>
                    <a:pt x="44" y="11"/>
                    <a:pt x="40" y="7"/>
                  </a:cubicBezTo>
                  <a:cubicBezTo>
                    <a:pt x="36" y="2"/>
                    <a:pt x="30" y="1"/>
                    <a:pt x="24" y="1"/>
                  </a:cubicBezTo>
                  <a:cubicBezTo>
                    <a:pt x="18" y="1"/>
                    <a:pt x="12" y="0"/>
                    <a:pt x="6" y="0"/>
                  </a:cubicBezTo>
                  <a:cubicBezTo>
                    <a:pt x="6" y="4"/>
                    <a:pt x="3" y="7"/>
                    <a:pt x="1" y="10"/>
                  </a:cubicBezTo>
                  <a:cubicBezTo>
                    <a:pt x="0" y="12"/>
                    <a:pt x="1" y="14"/>
                    <a:pt x="3" y="14"/>
                  </a:cubicBezTo>
                  <a:cubicBezTo>
                    <a:pt x="6" y="15"/>
                    <a:pt x="10" y="16"/>
                    <a:pt x="12" y="19"/>
                  </a:cubicBezTo>
                  <a:cubicBezTo>
                    <a:pt x="13" y="21"/>
                    <a:pt x="16" y="22"/>
                    <a:pt x="18" y="22"/>
                  </a:cubicBezTo>
                  <a:cubicBezTo>
                    <a:pt x="22" y="22"/>
                    <a:pt x="27" y="23"/>
                    <a:pt x="31" y="25"/>
                  </a:cubicBezTo>
                  <a:cubicBezTo>
                    <a:pt x="34" y="27"/>
                    <a:pt x="37" y="27"/>
                    <a:pt x="40" y="26"/>
                  </a:cubicBezTo>
                  <a:cubicBezTo>
                    <a:pt x="47" y="26"/>
                    <a:pt x="55" y="26"/>
                    <a:pt x="61" y="29"/>
                  </a:cubicBezTo>
                  <a:cubicBezTo>
                    <a:pt x="67" y="33"/>
                    <a:pt x="74" y="33"/>
                    <a:pt x="81" y="34"/>
                  </a:cubicBezTo>
                  <a:cubicBezTo>
                    <a:pt x="85" y="34"/>
                    <a:pt x="89" y="35"/>
                    <a:pt x="93" y="3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47"/>
            <p:cNvSpPr>
              <a:spLocks/>
            </p:cNvSpPr>
            <p:nvPr/>
          </p:nvSpPr>
          <p:spPr bwMode="auto">
            <a:xfrm>
              <a:off x="5083962" y="4102626"/>
              <a:ext cx="141314" cy="205630"/>
            </a:xfrm>
            <a:custGeom>
              <a:avLst/>
              <a:gdLst>
                <a:gd name="T0" fmla="*/ 29 w 66"/>
                <a:gd name="T1" fmla="*/ 3 h 96"/>
                <a:gd name="T2" fmla="*/ 17 w 66"/>
                <a:gd name="T3" fmla="*/ 2 h 96"/>
                <a:gd name="T4" fmla="*/ 7 w 66"/>
                <a:gd name="T5" fmla="*/ 7 h 96"/>
                <a:gd name="T6" fmla="*/ 6 w 66"/>
                <a:gd name="T7" fmla="*/ 13 h 96"/>
                <a:gd name="T8" fmla="*/ 4 w 66"/>
                <a:gd name="T9" fmla="*/ 30 h 96"/>
                <a:gd name="T10" fmla="*/ 1 w 66"/>
                <a:gd name="T11" fmla="*/ 36 h 96"/>
                <a:gd name="T12" fmla="*/ 0 w 66"/>
                <a:gd name="T13" fmla="*/ 38 h 96"/>
                <a:gd name="T14" fmla="*/ 5 w 66"/>
                <a:gd name="T15" fmla="*/ 53 h 96"/>
                <a:gd name="T16" fmla="*/ 12 w 66"/>
                <a:gd name="T17" fmla="*/ 61 h 96"/>
                <a:gd name="T18" fmla="*/ 12 w 66"/>
                <a:gd name="T19" fmla="*/ 60 h 96"/>
                <a:gd name="T20" fmla="*/ 13 w 66"/>
                <a:gd name="T21" fmla="*/ 60 h 96"/>
                <a:gd name="T22" fmla="*/ 13 w 66"/>
                <a:gd name="T23" fmla="*/ 61 h 96"/>
                <a:gd name="T24" fmla="*/ 12 w 66"/>
                <a:gd name="T25" fmla="*/ 61 h 96"/>
                <a:gd name="T26" fmla="*/ 19 w 66"/>
                <a:gd name="T27" fmla="*/ 71 h 96"/>
                <a:gd name="T28" fmla="*/ 22 w 66"/>
                <a:gd name="T29" fmla="*/ 73 h 96"/>
                <a:gd name="T30" fmla="*/ 23 w 66"/>
                <a:gd name="T31" fmla="*/ 73 h 96"/>
                <a:gd name="T32" fmla="*/ 23 w 66"/>
                <a:gd name="T33" fmla="*/ 73 h 96"/>
                <a:gd name="T34" fmla="*/ 22 w 66"/>
                <a:gd name="T35" fmla="*/ 73 h 96"/>
                <a:gd name="T36" fmla="*/ 29 w 66"/>
                <a:gd name="T37" fmla="*/ 69 h 96"/>
                <a:gd name="T38" fmla="*/ 33 w 66"/>
                <a:gd name="T39" fmla="*/ 70 h 96"/>
                <a:gd name="T40" fmla="*/ 36 w 66"/>
                <a:gd name="T41" fmla="*/ 73 h 96"/>
                <a:gd name="T42" fmla="*/ 46 w 66"/>
                <a:gd name="T43" fmla="*/ 73 h 96"/>
                <a:gd name="T44" fmla="*/ 45 w 66"/>
                <a:gd name="T45" fmla="*/ 72 h 96"/>
                <a:gd name="T46" fmla="*/ 46 w 66"/>
                <a:gd name="T47" fmla="*/ 73 h 96"/>
                <a:gd name="T48" fmla="*/ 46 w 66"/>
                <a:gd name="T49" fmla="*/ 73 h 96"/>
                <a:gd name="T50" fmla="*/ 46 w 66"/>
                <a:gd name="T51" fmla="*/ 73 h 96"/>
                <a:gd name="T52" fmla="*/ 50 w 66"/>
                <a:gd name="T53" fmla="*/ 76 h 96"/>
                <a:gd name="T54" fmla="*/ 56 w 66"/>
                <a:gd name="T55" fmla="*/ 83 h 96"/>
                <a:gd name="T56" fmla="*/ 56 w 66"/>
                <a:gd name="T57" fmla="*/ 87 h 96"/>
                <a:gd name="T58" fmla="*/ 57 w 66"/>
                <a:gd name="T59" fmla="*/ 94 h 96"/>
                <a:gd name="T60" fmla="*/ 61 w 66"/>
                <a:gd name="T61" fmla="*/ 96 h 96"/>
                <a:gd name="T62" fmla="*/ 64 w 66"/>
                <a:gd name="T63" fmla="*/ 95 h 96"/>
                <a:gd name="T64" fmla="*/ 65 w 66"/>
                <a:gd name="T65" fmla="*/ 84 h 96"/>
                <a:gd name="T66" fmla="*/ 64 w 66"/>
                <a:gd name="T67" fmla="*/ 80 h 96"/>
                <a:gd name="T68" fmla="*/ 59 w 66"/>
                <a:gd name="T69" fmla="*/ 74 h 96"/>
                <a:gd name="T70" fmla="*/ 51 w 66"/>
                <a:gd name="T71" fmla="*/ 65 h 96"/>
                <a:gd name="T72" fmla="*/ 46 w 66"/>
                <a:gd name="T73" fmla="*/ 61 h 96"/>
                <a:gd name="T74" fmla="*/ 39 w 66"/>
                <a:gd name="T75" fmla="*/ 61 h 96"/>
                <a:gd name="T76" fmla="*/ 36 w 66"/>
                <a:gd name="T77" fmla="*/ 62 h 96"/>
                <a:gd name="T78" fmla="*/ 35 w 66"/>
                <a:gd name="T79" fmla="*/ 62 h 96"/>
                <a:gd name="T80" fmla="*/ 32 w 66"/>
                <a:gd name="T81" fmla="*/ 61 h 96"/>
                <a:gd name="T82" fmla="*/ 32 w 66"/>
                <a:gd name="T83" fmla="*/ 57 h 96"/>
                <a:gd name="T84" fmla="*/ 30 w 66"/>
                <a:gd name="T85" fmla="*/ 52 h 96"/>
                <a:gd name="T86" fmla="*/ 26 w 66"/>
                <a:gd name="T87" fmla="*/ 49 h 96"/>
                <a:gd name="T88" fmla="*/ 29 w 66"/>
                <a:gd name="T89" fmla="*/ 40 h 96"/>
                <a:gd name="T90" fmla="*/ 32 w 66"/>
                <a:gd name="T91" fmla="*/ 37 h 96"/>
                <a:gd name="T92" fmla="*/ 34 w 66"/>
                <a:gd name="T93" fmla="*/ 18 h 96"/>
                <a:gd name="T94" fmla="*/ 32 w 66"/>
                <a:gd name="T95" fmla="*/ 6 h 96"/>
                <a:gd name="T96" fmla="*/ 29 w 66"/>
                <a:gd name="T97"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 h="96">
                  <a:moveTo>
                    <a:pt x="29" y="3"/>
                  </a:moveTo>
                  <a:cubicBezTo>
                    <a:pt x="25" y="3"/>
                    <a:pt x="21" y="3"/>
                    <a:pt x="17" y="2"/>
                  </a:cubicBezTo>
                  <a:cubicBezTo>
                    <a:pt x="12" y="0"/>
                    <a:pt x="9" y="3"/>
                    <a:pt x="7" y="7"/>
                  </a:cubicBezTo>
                  <a:cubicBezTo>
                    <a:pt x="6" y="9"/>
                    <a:pt x="6" y="11"/>
                    <a:pt x="6" y="13"/>
                  </a:cubicBezTo>
                  <a:cubicBezTo>
                    <a:pt x="5" y="19"/>
                    <a:pt x="4" y="25"/>
                    <a:pt x="4" y="30"/>
                  </a:cubicBezTo>
                  <a:cubicBezTo>
                    <a:pt x="4" y="33"/>
                    <a:pt x="3" y="34"/>
                    <a:pt x="1" y="36"/>
                  </a:cubicBezTo>
                  <a:cubicBezTo>
                    <a:pt x="0" y="36"/>
                    <a:pt x="0" y="37"/>
                    <a:pt x="0" y="38"/>
                  </a:cubicBezTo>
                  <a:cubicBezTo>
                    <a:pt x="1" y="43"/>
                    <a:pt x="2" y="49"/>
                    <a:pt x="5" y="53"/>
                  </a:cubicBezTo>
                  <a:cubicBezTo>
                    <a:pt x="6" y="56"/>
                    <a:pt x="8" y="60"/>
                    <a:pt x="12" y="61"/>
                  </a:cubicBezTo>
                  <a:cubicBezTo>
                    <a:pt x="12" y="61"/>
                    <a:pt x="12" y="61"/>
                    <a:pt x="12" y="60"/>
                  </a:cubicBezTo>
                  <a:cubicBezTo>
                    <a:pt x="13" y="59"/>
                    <a:pt x="13" y="59"/>
                    <a:pt x="13" y="60"/>
                  </a:cubicBezTo>
                  <a:cubicBezTo>
                    <a:pt x="13" y="60"/>
                    <a:pt x="13" y="60"/>
                    <a:pt x="13" y="61"/>
                  </a:cubicBezTo>
                  <a:cubicBezTo>
                    <a:pt x="13" y="61"/>
                    <a:pt x="13" y="61"/>
                    <a:pt x="12" y="61"/>
                  </a:cubicBezTo>
                  <a:cubicBezTo>
                    <a:pt x="12" y="65"/>
                    <a:pt x="14" y="69"/>
                    <a:pt x="19" y="71"/>
                  </a:cubicBezTo>
                  <a:cubicBezTo>
                    <a:pt x="20" y="71"/>
                    <a:pt x="21" y="72"/>
                    <a:pt x="22" y="73"/>
                  </a:cubicBezTo>
                  <a:cubicBezTo>
                    <a:pt x="22" y="73"/>
                    <a:pt x="23" y="73"/>
                    <a:pt x="23" y="73"/>
                  </a:cubicBezTo>
                  <a:cubicBezTo>
                    <a:pt x="23" y="73"/>
                    <a:pt x="23" y="73"/>
                    <a:pt x="23" y="73"/>
                  </a:cubicBezTo>
                  <a:cubicBezTo>
                    <a:pt x="22" y="73"/>
                    <a:pt x="22" y="73"/>
                    <a:pt x="22" y="73"/>
                  </a:cubicBezTo>
                  <a:cubicBezTo>
                    <a:pt x="24" y="72"/>
                    <a:pt x="27" y="71"/>
                    <a:pt x="29" y="69"/>
                  </a:cubicBezTo>
                  <a:cubicBezTo>
                    <a:pt x="30" y="69"/>
                    <a:pt x="32" y="69"/>
                    <a:pt x="33" y="70"/>
                  </a:cubicBezTo>
                  <a:cubicBezTo>
                    <a:pt x="34" y="71"/>
                    <a:pt x="35" y="72"/>
                    <a:pt x="36" y="73"/>
                  </a:cubicBezTo>
                  <a:cubicBezTo>
                    <a:pt x="39" y="74"/>
                    <a:pt x="43" y="76"/>
                    <a:pt x="46" y="73"/>
                  </a:cubicBezTo>
                  <a:cubicBezTo>
                    <a:pt x="45" y="72"/>
                    <a:pt x="45" y="72"/>
                    <a:pt x="45" y="72"/>
                  </a:cubicBezTo>
                  <a:cubicBezTo>
                    <a:pt x="46" y="73"/>
                    <a:pt x="46" y="73"/>
                    <a:pt x="46" y="73"/>
                  </a:cubicBezTo>
                  <a:cubicBezTo>
                    <a:pt x="46" y="73"/>
                    <a:pt x="46" y="73"/>
                    <a:pt x="46" y="73"/>
                  </a:cubicBezTo>
                  <a:cubicBezTo>
                    <a:pt x="46" y="73"/>
                    <a:pt x="46" y="73"/>
                    <a:pt x="46" y="73"/>
                  </a:cubicBezTo>
                  <a:cubicBezTo>
                    <a:pt x="47" y="74"/>
                    <a:pt x="49" y="75"/>
                    <a:pt x="50" y="76"/>
                  </a:cubicBezTo>
                  <a:cubicBezTo>
                    <a:pt x="51" y="79"/>
                    <a:pt x="52" y="82"/>
                    <a:pt x="56" y="83"/>
                  </a:cubicBezTo>
                  <a:cubicBezTo>
                    <a:pt x="58" y="84"/>
                    <a:pt x="58" y="85"/>
                    <a:pt x="56" y="87"/>
                  </a:cubicBezTo>
                  <a:cubicBezTo>
                    <a:pt x="52" y="90"/>
                    <a:pt x="52" y="92"/>
                    <a:pt x="57" y="94"/>
                  </a:cubicBezTo>
                  <a:cubicBezTo>
                    <a:pt x="58" y="95"/>
                    <a:pt x="60" y="95"/>
                    <a:pt x="61" y="96"/>
                  </a:cubicBezTo>
                  <a:cubicBezTo>
                    <a:pt x="62" y="96"/>
                    <a:pt x="64" y="95"/>
                    <a:pt x="64" y="95"/>
                  </a:cubicBezTo>
                  <a:cubicBezTo>
                    <a:pt x="64" y="91"/>
                    <a:pt x="65" y="88"/>
                    <a:pt x="65" y="84"/>
                  </a:cubicBezTo>
                  <a:cubicBezTo>
                    <a:pt x="66" y="83"/>
                    <a:pt x="65" y="81"/>
                    <a:pt x="64" y="80"/>
                  </a:cubicBezTo>
                  <a:cubicBezTo>
                    <a:pt x="62" y="78"/>
                    <a:pt x="59" y="77"/>
                    <a:pt x="59" y="74"/>
                  </a:cubicBezTo>
                  <a:cubicBezTo>
                    <a:pt x="59" y="69"/>
                    <a:pt x="55" y="67"/>
                    <a:pt x="51" y="65"/>
                  </a:cubicBezTo>
                  <a:cubicBezTo>
                    <a:pt x="49" y="64"/>
                    <a:pt x="48" y="63"/>
                    <a:pt x="46" y="61"/>
                  </a:cubicBezTo>
                  <a:cubicBezTo>
                    <a:pt x="44" y="60"/>
                    <a:pt x="42" y="60"/>
                    <a:pt x="39" y="61"/>
                  </a:cubicBezTo>
                  <a:cubicBezTo>
                    <a:pt x="38" y="61"/>
                    <a:pt x="37" y="61"/>
                    <a:pt x="36" y="62"/>
                  </a:cubicBezTo>
                  <a:cubicBezTo>
                    <a:pt x="36" y="62"/>
                    <a:pt x="35" y="62"/>
                    <a:pt x="35" y="62"/>
                  </a:cubicBezTo>
                  <a:cubicBezTo>
                    <a:pt x="34" y="62"/>
                    <a:pt x="33" y="62"/>
                    <a:pt x="32" y="61"/>
                  </a:cubicBezTo>
                  <a:cubicBezTo>
                    <a:pt x="30" y="61"/>
                    <a:pt x="30" y="59"/>
                    <a:pt x="32" y="57"/>
                  </a:cubicBezTo>
                  <a:cubicBezTo>
                    <a:pt x="35" y="53"/>
                    <a:pt x="35" y="53"/>
                    <a:pt x="30" y="52"/>
                  </a:cubicBezTo>
                  <a:cubicBezTo>
                    <a:pt x="28" y="51"/>
                    <a:pt x="27" y="50"/>
                    <a:pt x="26" y="49"/>
                  </a:cubicBezTo>
                  <a:cubicBezTo>
                    <a:pt x="26" y="46"/>
                    <a:pt x="27" y="43"/>
                    <a:pt x="29" y="40"/>
                  </a:cubicBezTo>
                  <a:cubicBezTo>
                    <a:pt x="30" y="39"/>
                    <a:pt x="31" y="38"/>
                    <a:pt x="32" y="37"/>
                  </a:cubicBezTo>
                  <a:cubicBezTo>
                    <a:pt x="36" y="31"/>
                    <a:pt x="38" y="24"/>
                    <a:pt x="34" y="18"/>
                  </a:cubicBezTo>
                  <a:cubicBezTo>
                    <a:pt x="32" y="14"/>
                    <a:pt x="31" y="10"/>
                    <a:pt x="32" y="6"/>
                  </a:cubicBezTo>
                  <a:cubicBezTo>
                    <a:pt x="32" y="4"/>
                    <a:pt x="31" y="3"/>
                    <a:pt x="29"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48"/>
            <p:cNvSpPr>
              <a:spLocks/>
            </p:cNvSpPr>
            <p:nvPr/>
          </p:nvSpPr>
          <p:spPr bwMode="auto">
            <a:xfrm>
              <a:off x="5628383" y="6022140"/>
              <a:ext cx="111421" cy="131349"/>
            </a:xfrm>
            <a:custGeom>
              <a:avLst/>
              <a:gdLst>
                <a:gd name="T0" fmla="*/ 47 w 52"/>
                <a:gd name="T1" fmla="*/ 6 h 61"/>
                <a:gd name="T2" fmla="*/ 31 w 52"/>
                <a:gd name="T3" fmla="*/ 9 h 61"/>
                <a:gd name="T4" fmla="*/ 19 w 52"/>
                <a:gd name="T5" fmla="*/ 7 h 61"/>
                <a:gd name="T6" fmla="*/ 11 w 52"/>
                <a:gd name="T7" fmla="*/ 1 h 61"/>
                <a:gd name="T8" fmla="*/ 6 w 52"/>
                <a:gd name="T9" fmla="*/ 0 h 61"/>
                <a:gd name="T10" fmla="*/ 3 w 52"/>
                <a:gd name="T11" fmla="*/ 5 h 61"/>
                <a:gd name="T12" fmla="*/ 2 w 52"/>
                <a:gd name="T13" fmla="*/ 8 h 61"/>
                <a:gd name="T14" fmla="*/ 0 w 52"/>
                <a:gd name="T15" fmla="*/ 35 h 61"/>
                <a:gd name="T16" fmla="*/ 0 w 52"/>
                <a:gd name="T17" fmla="*/ 40 h 61"/>
                <a:gd name="T18" fmla="*/ 3 w 52"/>
                <a:gd name="T19" fmla="*/ 52 h 61"/>
                <a:gd name="T20" fmla="*/ 13 w 52"/>
                <a:gd name="T21" fmla="*/ 61 h 61"/>
                <a:gd name="T22" fmla="*/ 16 w 52"/>
                <a:gd name="T23" fmla="*/ 61 h 61"/>
                <a:gd name="T24" fmla="*/ 22 w 52"/>
                <a:gd name="T25" fmla="*/ 56 h 61"/>
                <a:gd name="T26" fmla="*/ 31 w 52"/>
                <a:gd name="T27" fmla="*/ 53 h 61"/>
                <a:gd name="T28" fmla="*/ 36 w 52"/>
                <a:gd name="T29" fmla="*/ 50 h 61"/>
                <a:gd name="T30" fmla="*/ 45 w 52"/>
                <a:gd name="T31" fmla="*/ 32 h 61"/>
                <a:gd name="T32" fmla="*/ 46 w 52"/>
                <a:gd name="T33" fmla="*/ 29 h 61"/>
                <a:gd name="T34" fmla="*/ 51 w 52"/>
                <a:gd name="T35" fmla="*/ 14 h 61"/>
                <a:gd name="T36" fmla="*/ 51 w 52"/>
                <a:gd name="T37" fmla="*/ 11 h 61"/>
                <a:gd name="T38" fmla="*/ 47 w 52"/>
                <a:gd name="T39"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61">
                  <a:moveTo>
                    <a:pt x="47" y="6"/>
                  </a:moveTo>
                  <a:cubicBezTo>
                    <a:pt x="41" y="7"/>
                    <a:pt x="36" y="8"/>
                    <a:pt x="31" y="9"/>
                  </a:cubicBezTo>
                  <a:cubicBezTo>
                    <a:pt x="26" y="11"/>
                    <a:pt x="22" y="9"/>
                    <a:pt x="19" y="7"/>
                  </a:cubicBezTo>
                  <a:cubicBezTo>
                    <a:pt x="16" y="5"/>
                    <a:pt x="14" y="3"/>
                    <a:pt x="11" y="1"/>
                  </a:cubicBezTo>
                  <a:cubicBezTo>
                    <a:pt x="10" y="0"/>
                    <a:pt x="8" y="0"/>
                    <a:pt x="6" y="0"/>
                  </a:cubicBezTo>
                  <a:cubicBezTo>
                    <a:pt x="5" y="0"/>
                    <a:pt x="3" y="2"/>
                    <a:pt x="3" y="5"/>
                  </a:cubicBezTo>
                  <a:cubicBezTo>
                    <a:pt x="2" y="6"/>
                    <a:pt x="2" y="7"/>
                    <a:pt x="2" y="8"/>
                  </a:cubicBezTo>
                  <a:cubicBezTo>
                    <a:pt x="2" y="17"/>
                    <a:pt x="4" y="26"/>
                    <a:pt x="0" y="35"/>
                  </a:cubicBezTo>
                  <a:cubicBezTo>
                    <a:pt x="0" y="36"/>
                    <a:pt x="0" y="36"/>
                    <a:pt x="0" y="40"/>
                  </a:cubicBezTo>
                  <a:cubicBezTo>
                    <a:pt x="0" y="42"/>
                    <a:pt x="2" y="47"/>
                    <a:pt x="3" y="52"/>
                  </a:cubicBezTo>
                  <a:cubicBezTo>
                    <a:pt x="3" y="58"/>
                    <a:pt x="8" y="60"/>
                    <a:pt x="13" y="61"/>
                  </a:cubicBezTo>
                  <a:cubicBezTo>
                    <a:pt x="14" y="61"/>
                    <a:pt x="15" y="61"/>
                    <a:pt x="16" y="61"/>
                  </a:cubicBezTo>
                  <a:cubicBezTo>
                    <a:pt x="18" y="59"/>
                    <a:pt x="20" y="58"/>
                    <a:pt x="22" y="56"/>
                  </a:cubicBezTo>
                  <a:cubicBezTo>
                    <a:pt x="25" y="53"/>
                    <a:pt x="27" y="53"/>
                    <a:pt x="31" y="53"/>
                  </a:cubicBezTo>
                  <a:cubicBezTo>
                    <a:pt x="33" y="53"/>
                    <a:pt x="35" y="52"/>
                    <a:pt x="36" y="50"/>
                  </a:cubicBezTo>
                  <a:cubicBezTo>
                    <a:pt x="38" y="43"/>
                    <a:pt x="40" y="37"/>
                    <a:pt x="45" y="32"/>
                  </a:cubicBezTo>
                  <a:cubicBezTo>
                    <a:pt x="46" y="31"/>
                    <a:pt x="46" y="30"/>
                    <a:pt x="46" y="29"/>
                  </a:cubicBezTo>
                  <a:cubicBezTo>
                    <a:pt x="48" y="24"/>
                    <a:pt x="49" y="19"/>
                    <a:pt x="51" y="14"/>
                  </a:cubicBezTo>
                  <a:cubicBezTo>
                    <a:pt x="51" y="13"/>
                    <a:pt x="51" y="12"/>
                    <a:pt x="51" y="11"/>
                  </a:cubicBezTo>
                  <a:cubicBezTo>
                    <a:pt x="52" y="8"/>
                    <a:pt x="50" y="6"/>
                    <a:pt x="47"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49"/>
            <p:cNvSpPr>
              <a:spLocks/>
            </p:cNvSpPr>
            <p:nvPr/>
          </p:nvSpPr>
          <p:spPr bwMode="auto">
            <a:xfrm>
              <a:off x="3480593" y="1346099"/>
              <a:ext cx="119573" cy="134973"/>
            </a:xfrm>
            <a:custGeom>
              <a:avLst/>
              <a:gdLst>
                <a:gd name="T0" fmla="*/ 8 w 56"/>
                <a:gd name="T1" fmla="*/ 26 h 63"/>
                <a:gd name="T2" fmla="*/ 8 w 56"/>
                <a:gd name="T3" fmla="*/ 28 h 63"/>
                <a:gd name="T4" fmla="*/ 8 w 56"/>
                <a:gd name="T5" fmla="*/ 35 h 63"/>
                <a:gd name="T6" fmla="*/ 12 w 56"/>
                <a:gd name="T7" fmla="*/ 52 h 63"/>
                <a:gd name="T8" fmla="*/ 18 w 56"/>
                <a:gd name="T9" fmla="*/ 62 h 63"/>
                <a:gd name="T10" fmla="*/ 21 w 56"/>
                <a:gd name="T11" fmla="*/ 63 h 63"/>
                <a:gd name="T12" fmla="*/ 24 w 56"/>
                <a:gd name="T13" fmla="*/ 61 h 63"/>
                <a:gd name="T14" fmla="*/ 42 w 56"/>
                <a:gd name="T15" fmla="*/ 46 h 63"/>
                <a:gd name="T16" fmla="*/ 51 w 56"/>
                <a:gd name="T17" fmla="*/ 39 h 63"/>
                <a:gd name="T18" fmla="*/ 55 w 56"/>
                <a:gd name="T19" fmla="*/ 33 h 63"/>
                <a:gd name="T20" fmla="*/ 56 w 56"/>
                <a:gd name="T21" fmla="*/ 28 h 63"/>
                <a:gd name="T22" fmla="*/ 52 w 56"/>
                <a:gd name="T23" fmla="*/ 21 h 63"/>
                <a:gd name="T24" fmla="*/ 43 w 56"/>
                <a:gd name="T25" fmla="*/ 14 h 63"/>
                <a:gd name="T26" fmla="*/ 28 w 56"/>
                <a:gd name="T27" fmla="*/ 8 h 63"/>
                <a:gd name="T28" fmla="*/ 14 w 56"/>
                <a:gd name="T29" fmla="*/ 2 h 63"/>
                <a:gd name="T30" fmla="*/ 7 w 56"/>
                <a:gd name="T31" fmla="*/ 0 h 63"/>
                <a:gd name="T32" fmla="*/ 5 w 56"/>
                <a:gd name="T33" fmla="*/ 1 h 63"/>
                <a:gd name="T34" fmla="*/ 3 w 56"/>
                <a:gd name="T35" fmla="*/ 16 h 63"/>
                <a:gd name="T36" fmla="*/ 8 w 56"/>
                <a:gd name="T37" fmla="*/ 2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63">
                  <a:moveTo>
                    <a:pt x="8" y="26"/>
                  </a:moveTo>
                  <a:cubicBezTo>
                    <a:pt x="8" y="27"/>
                    <a:pt x="8" y="29"/>
                    <a:pt x="8" y="28"/>
                  </a:cubicBezTo>
                  <a:cubicBezTo>
                    <a:pt x="8" y="32"/>
                    <a:pt x="8" y="33"/>
                    <a:pt x="8" y="35"/>
                  </a:cubicBezTo>
                  <a:cubicBezTo>
                    <a:pt x="9" y="40"/>
                    <a:pt x="10" y="46"/>
                    <a:pt x="12" y="52"/>
                  </a:cubicBezTo>
                  <a:cubicBezTo>
                    <a:pt x="13" y="56"/>
                    <a:pt x="15" y="60"/>
                    <a:pt x="18" y="62"/>
                  </a:cubicBezTo>
                  <a:cubicBezTo>
                    <a:pt x="19" y="63"/>
                    <a:pt x="21" y="63"/>
                    <a:pt x="21" y="63"/>
                  </a:cubicBezTo>
                  <a:cubicBezTo>
                    <a:pt x="22" y="63"/>
                    <a:pt x="23" y="62"/>
                    <a:pt x="24" y="61"/>
                  </a:cubicBezTo>
                  <a:cubicBezTo>
                    <a:pt x="30" y="53"/>
                    <a:pt x="31" y="53"/>
                    <a:pt x="42" y="46"/>
                  </a:cubicBezTo>
                  <a:cubicBezTo>
                    <a:pt x="45" y="44"/>
                    <a:pt x="48" y="42"/>
                    <a:pt x="51" y="39"/>
                  </a:cubicBezTo>
                  <a:cubicBezTo>
                    <a:pt x="53" y="37"/>
                    <a:pt x="54" y="35"/>
                    <a:pt x="55" y="33"/>
                  </a:cubicBezTo>
                  <a:cubicBezTo>
                    <a:pt x="56" y="31"/>
                    <a:pt x="56" y="29"/>
                    <a:pt x="56" y="28"/>
                  </a:cubicBezTo>
                  <a:cubicBezTo>
                    <a:pt x="55" y="26"/>
                    <a:pt x="53" y="24"/>
                    <a:pt x="52" y="21"/>
                  </a:cubicBezTo>
                  <a:cubicBezTo>
                    <a:pt x="50" y="18"/>
                    <a:pt x="47" y="15"/>
                    <a:pt x="43" y="14"/>
                  </a:cubicBezTo>
                  <a:cubicBezTo>
                    <a:pt x="38" y="13"/>
                    <a:pt x="33" y="10"/>
                    <a:pt x="28" y="8"/>
                  </a:cubicBezTo>
                  <a:cubicBezTo>
                    <a:pt x="23" y="6"/>
                    <a:pt x="18" y="5"/>
                    <a:pt x="14" y="2"/>
                  </a:cubicBezTo>
                  <a:cubicBezTo>
                    <a:pt x="12" y="0"/>
                    <a:pt x="10" y="0"/>
                    <a:pt x="7" y="0"/>
                  </a:cubicBezTo>
                  <a:cubicBezTo>
                    <a:pt x="7" y="0"/>
                    <a:pt x="5" y="0"/>
                    <a:pt x="5" y="1"/>
                  </a:cubicBezTo>
                  <a:cubicBezTo>
                    <a:pt x="2" y="6"/>
                    <a:pt x="0" y="10"/>
                    <a:pt x="3" y="16"/>
                  </a:cubicBezTo>
                  <a:cubicBezTo>
                    <a:pt x="5" y="19"/>
                    <a:pt x="7" y="22"/>
                    <a:pt x="8" y="2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50"/>
            <p:cNvSpPr>
              <a:spLocks/>
            </p:cNvSpPr>
            <p:nvPr/>
          </p:nvSpPr>
          <p:spPr bwMode="auto">
            <a:xfrm>
              <a:off x="5168207" y="4362607"/>
              <a:ext cx="141314" cy="127726"/>
            </a:xfrm>
            <a:custGeom>
              <a:avLst/>
              <a:gdLst>
                <a:gd name="T0" fmla="*/ 48 w 66"/>
                <a:gd name="T1" fmla="*/ 0 h 60"/>
                <a:gd name="T2" fmla="*/ 47 w 66"/>
                <a:gd name="T3" fmla="*/ 2 h 60"/>
                <a:gd name="T4" fmla="*/ 44 w 66"/>
                <a:gd name="T5" fmla="*/ 11 h 60"/>
                <a:gd name="T6" fmla="*/ 37 w 66"/>
                <a:gd name="T7" fmla="*/ 17 h 60"/>
                <a:gd name="T8" fmla="*/ 34 w 66"/>
                <a:gd name="T9" fmla="*/ 20 h 60"/>
                <a:gd name="T10" fmla="*/ 30 w 66"/>
                <a:gd name="T11" fmla="*/ 23 h 60"/>
                <a:gd name="T12" fmla="*/ 26 w 66"/>
                <a:gd name="T13" fmla="*/ 22 h 60"/>
                <a:gd name="T14" fmla="*/ 15 w 66"/>
                <a:gd name="T15" fmla="*/ 22 h 60"/>
                <a:gd name="T16" fmla="*/ 6 w 66"/>
                <a:gd name="T17" fmla="*/ 28 h 60"/>
                <a:gd name="T18" fmla="*/ 0 w 66"/>
                <a:gd name="T19" fmla="*/ 38 h 60"/>
                <a:gd name="T20" fmla="*/ 0 w 66"/>
                <a:gd name="T21" fmla="*/ 38 h 60"/>
                <a:gd name="T22" fmla="*/ 1 w 66"/>
                <a:gd name="T23" fmla="*/ 41 h 60"/>
                <a:gd name="T24" fmla="*/ 4 w 66"/>
                <a:gd name="T25" fmla="*/ 41 h 60"/>
                <a:gd name="T26" fmla="*/ 9 w 66"/>
                <a:gd name="T27" fmla="*/ 36 h 60"/>
                <a:gd name="T28" fmla="*/ 23 w 66"/>
                <a:gd name="T29" fmla="*/ 35 h 60"/>
                <a:gd name="T30" fmla="*/ 28 w 66"/>
                <a:gd name="T31" fmla="*/ 39 h 60"/>
                <a:gd name="T32" fmla="*/ 28 w 66"/>
                <a:gd name="T33" fmla="*/ 45 h 60"/>
                <a:gd name="T34" fmla="*/ 39 w 66"/>
                <a:gd name="T35" fmla="*/ 59 h 60"/>
                <a:gd name="T36" fmla="*/ 47 w 66"/>
                <a:gd name="T37" fmla="*/ 60 h 60"/>
                <a:gd name="T38" fmla="*/ 52 w 66"/>
                <a:gd name="T39" fmla="*/ 58 h 60"/>
                <a:gd name="T40" fmla="*/ 53 w 66"/>
                <a:gd name="T41" fmla="*/ 52 h 60"/>
                <a:gd name="T42" fmla="*/ 51 w 66"/>
                <a:gd name="T43" fmla="*/ 44 h 60"/>
                <a:gd name="T44" fmla="*/ 54 w 66"/>
                <a:gd name="T45" fmla="*/ 42 h 60"/>
                <a:gd name="T46" fmla="*/ 56 w 66"/>
                <a:gd name="T47" fmla="*/ 44 h 60"/>
                <a:gd name="T48" fmla="*/ 61 w 66"/>
                <a:gd name="T49" fmla="*/ 45 h 60"/>
                <a:gd name="T50" fmla="*/ 64 w 66"/>
                <a:gd name="T51" fmla="*/ 34 h 60"/>
                <a:gd name="T52" fmla="*/ 60 w 66"/>
                <a:gd name="T53" fmla="*/ 19 h 60"/>
                <a:gd name="T54" fmla="*/ 56 w 66"/>
                <a:gd name="T55" fmla="*/ 11 h 60"/>
                <a:gd name="T56" fmla="*/ 49 w 66"/>
                <a:gd name="T57" fmla="*/ 2 h 60"/>
                <a:gd name="T58" fmla="*/ 48 w 66"/>
                <a:gd name="T5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 h="60">
                  <a:moveTo>
                    <a:pt x="48" y="0"/>
                  </a:moveTo>
                  <a:cubicBezTo>
                    <a:pt x="47" y="1"/>
                    <a:pt x="47" y="1"/>
                    <a:pt x="47" y="2"/>
                  </a:cubicBezTo>
                  <a:cubicBezTo>
                    <a:pt x="46" y="5"/>
                    <a:pt x="46" y="8"/>
                    <a:pt x="44" y="11"/>
                  </a:cubicBezTo>
                  <a:cubicBezTo>
                    <a:pt x="42" y="13"/>
                    <a:pt x="39" y="15"/>
                    <a:pt x="37" y="17"/>
                  </a:cubicBezTo>
                  <a:cubicBezTo>
                    <a:pt x="36" y="18"/>
                    <a:pt x="35" y="19"/>
                    <a:pt x="34" y="20"/>
                  </a:cubicBezTo>
                  <a:cubicBezTo>
                    <a:pt x="32" y="21"/>
                    <a:pt x="31" y="22"/>
                    <a:pt x="30" y="23"/>
                  </a:cubicBezTo>
                  <a:cubicBezTo>
                    <a:pt x="28" y="25"/>
                    <a:pt x="27" y="23"/>
                    <a:pt x="26" y="22"/>
                  </a:cubicBezTo>
                  <a:cubicBezTo>
                    <a:pt x="22" y="19"/>
                    <a:pt x="20" y="17"/>
                    <a:pt x="15" y="22"/>
                  </a:cubicBezTo>
                  <a:cubicBezTo>
                    <a:pt x="12" y="25"/>
                    <a:pt x="9" y="26"/>
                    <a:pt x="6" y="28"/>
                  </a:cubicBezTo>
                  <a:cubicBezTo>
                    <a:pt x="2" y="30"/>
                    <a:pt x="0" y="33"/>
                    <a:pt x="0" y="38"/>
                  </a:cubicBezTo>
                  <a:cubicBezTo>
                    <a:pt x="0" y="37"/>
                    <a:pt x="0" y="38"/>
                    <a:pt x="0" y="38"/>
                  </a:cubicBezTo>
                  <a:cubicBezTo>
                    <a:pt x="0" y="39"/>
                    <a:pt x="0" y="41"/>
                    <a:pt x="1" y="41"/>
                  </a:cubicBezTo>
                  <a:cubicBezTo>
                    <a:pt x="2" y="42"/>
                    <a:pt x="3" y="41"/>
                    <a:pt x="4" y="41"/>
                  </a:cubicBezTo>
                  <a:cubicBezTo>
                    <a:pt x="6" y="39"/>
                    <a:pt x="7" y="38"/>
                    <a:pt x="9" y="36"/>
                  </a:cubicBezTo>
                  <a:cubicBezTo>
                    <a:pt x="14" y="37"/>
                    <a:pt x="18" y="37"/>
                    <a:pt x="23" y="35"/>
                  </a:cubicBezTo>
                  <a:cubicBezTo>
                    <a:pt x="25" y="35"/>
                    <a:pt x="28" y="38"/>
                    <a:pt x="28" y="39"/>
                  </a:cubicBezTo>
                  <a:cubicBezTo>
                    <a:pt x="28" y="41"/>
                    <a:pt x="28" y="43"/>
                    <a:pt x="28" y="45"/>
                  </a:cubicBezTo>
                  <a:cubicBezTo>
                    <a:pt x="28" y="52"/>
                    <a:pt x="32" y="57"/>
                    <a:pt x="39" y="59"/>
                  </a:cubicBezTo>
                  <a:cubicBezTo>
                    <a:pt x="42" y="59"/>
                    <a:pt x="45" y="60"/>
                    <a:pt x="47" y="60"/>
                  </a:cubicBezTo>
                  <a:cubicBezTo>
                    <a:pt x="49" y="60"/>
                    <a:pt x="51" y="59"/>
                    <a:pt x="52" y="58"/>
                  </a:cubicBezTo>
                  <a:cubicBezTo>
                    <a:pt x="53" y="57"/>
                    <a:pt x="54" y="55"/>
                    <a:pt x="53" y="52"/>
                  </a:cubicBezTo>
                  <a:cubicBezTo>
                    <a:pt x="53" y="49"/>
                    <a:pt x="50" y="47"/>
                    <a:pt x="51" y="44"/>
                  </a:cubicBezTo>
                  <a:cubicBezTo>
                    <a:pt x="52" y="43"/>
                    <a:pt x="53" y="42"/>
                    <a:pt x="54" y="42"/>
                  </a:cubicBezTo>
                  <a:cubicBezTo>
                    <a:pt x="55" y="42"/>
                    <a:pt x="55" y="43"/>
                    <a:pt x="56" y="44"/>
                  </a:cubicBezTo>
                  <a:cubicBezTo>
                    <a:pt x="58" y="47"/>
                    <a:pt x="58" y="47"/>
                    <a:pt x="61" y="45"/>
                  </a:cubicBezTo>
                  <a:cubicBezTo>
                    <a:pt x="64" y="42"/>
                    <a:pt x="66" y="38"/>
                    <a:pt x="64" y="34"/>
                  </a:cubicBezTo>
                  <a:cubicBezTo>
                    <a:pt x="62" y="29"/>
                    <a:pt x="61" y="24"/>
                    <a:pt x="60" y="19"/>
                  </a:cubicBezTo>
                  <a:cubicBezTo>
                    <a:pt x="59" y="15"/>
                    <a:pt x="59" y="13"/>
                    <a:pt x="56" y="11"/>
                  </a:cubicBezTo>
                  <a:cubicBezTo>
                    <a:pt x="53" y="8"/>
                    <a:pt x="50" y="6"/>
                    <a:pt x="49" y="2"/>
                  </a:cubicBezTo>
                  <a:cubicBezTo>
                    <a:pt x="49" y="0"/>
                    <a:pt x="48" y="0"/>
                    <a:pt x="48"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51"/>
            <p:cNvSpPr>
              <a:spLocks/>
            </p:cNvSpPr>
            <p:nvPr/>
          </p:nvSpPr>
          <p:spPr bwMode="auto">
            <a:xfrm>
              <a:off x="3928087" y="4372572"/>
              <a:ext cx="72469" cy="115950"/>
            </a:xfrm>
            <a:custGeom>
              <a:avLst/>
              <a:gdLst>
                <a:gd name="T0" fmla="*/ 10 w 34"/>
                <a:gd name="T1" fmla="*/ 2 h 54"/>
                <a:gd name="T2" fmla="*/ 6 w 34"/>
                <a:gd name="T3" fmla="*/ 1 h 54"/>
                <a:gd name="T4" fmla="*/ 3 w 34"/>
                <a:gd name="T5" fmla="*/ 2 h 54"/>
                <a:gd name="T6" fmla="*/ 4 w 34"/>
                <a:gd name="T7" fmla="*/ 6 h 54"/>
                <a:gd name="T8" fmla="*/ 0 w 34"/>
                <a:gd name="T9" fmla="*/ 24 h 54"/>
                <a:gd name="T10" fmla="*/ 5 w 34"/>
                <a:gd name="T11" fmla="*/ 48 h 54"/>
                <a:gd name="T12" fmla="*/ 14 w 34"/>
                <a:gd name="T13" fmla="*/ 53 h 54"/>
                <a:gd name="T14" fmla="*/ 29 w 34"/>
                <a:gd name="T15" fmla="*/ 31 h 54"/>
                <a:gd name="T16" fmla="*/ 10 w 34"/>
                <a:gd name="T17"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4">
                  <a:moveTo>
                    <a:pt x="10" y="2"/>
                  </a:moveTo>
                  <a:cubicBezTo>
                    <a:pt x="9" y="1"/>
                    <a:pt x="7" y="1"/>
                    <a:pt x="6" y="1"/>
                  </a:cubicBezTo>
                  <a:cubicBezTo>
                    <a:pt x="4" y="0"/>
                    <a:pt x="3" y="1"/>
                    <a:pt x="3" y="2"/>
                  </a:cubicBezTo>
                  <a:cubicBezTo>
                    <a:pt x="4" y="4"/>
                    <a:pt x="5" y="6"/>
                    <a:pt x="4" y="6"/>
                  </a:cubicBezTo>
                  <a:cubicBezTo>
                    <a:pt x="0" y="12"/>
                    <a:pt x="2" y="19"/>
                    <a:pt x="0" y="24"/>
                  </a:cubicBezTo>
                  <a:cubicBezTo>
                    <a:pt x="0" y="34"/>
                    <a:pt x="2" y="41"/>
                    <a:pt x="5" y="48"/>
                  </a:cubicBezTo>
                  <a:cubicBezTo>
                    <a:pt x="6" y="52"/>
                    <a:pt x="10" y="54"/>
                    <a:pt x="14" y="53"/>
                  </a:cubicBezTo>
                  <a:cubicBezTo>
                    <a:pt x="25" y="53"/>
                    <a:pt x="34" y="42"/>
                    <a:pt x="29" y="31"/>
                  </a:cubicBezTo>
                  <a:cubicBezTo>
                    <a:pt x="25" y="20"/>
                    <a:pt x="18" y="11"/>
                    <a:pt x="10"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52"/>
            <p:cNvSpPr>
              <a:spLocks/>
            </p:cNvSpPr>
            <p:nvPr/>
          </p:nvSpPr>
          <p:spPr bwMode="auto">
            <a:xfrm>
              <a:off x="2427080" y="1442120"/>
              <a:ext cx="78810" cy="92398"/>
            </a:xfrm>
            <a:custGeom>
              <a:avLst/>
              <a:gdLst>
                <a:gd name="T0" fmla="*/ 6 w 37"/>
                <a:gd name="T1" fmla="*/ 19 h 43"/>
                <a:gd name="T2" fmla="*/ 0 w 37"/>
                <a:gd name="T3" fmla="*/ 26 h 43"/>
                <a:gd name="T4" fmla="*/ 4 w 37"/>
                <a:gd name="T5" fmla="*/ 30 h 43"/>
                <a:gd name="T6" fmla="*/ 4 w 37"/>
                <a:gd name="T7" fmla="*/ 34 h 43"/>
                <a:gd name="T8" fmla="*/ 10 w 37"/>
                <a:gd name="T9" fmla="*/ 42 h 43"/>
                <a:gd name="T10" fmla="*/ 15 w 37"/>
                <a:gd name="T11" fmla="*/ 43 h 43"/>
                <a:gd name="T12" fmla="*/ 21 w 37"/>
                <a:gd name="T13" fmla="*/ 40 h 43"/>
                <a:gd name="T14" fmla="*/ 24 w 37"/>
                <a:gd name="T15" fmla="*/ 33 h 43"/>
                <a:gd name="T16" fmla="*/ 26 w 37"/>
                <a:gd name="T17" fmla="*/ 28 h 43"/>
                <a:gd name="T18" fmla="*/ 35 w 37"/>
                <a:gd name="T19" fmla="*/ 16 h 43"/>
                <a:gd name="T20" fmla="*/ 36 w 37"/>
                <a:gd name="T21" fmla="*/ 9 h 43"/>
                <a:gd name="T22" fmla="*/ 29 w 37"/>
                <a:gd name="T23" fmla="*/ 1 h 43"/>
                <a:gd name="T24" fmla="*/ 26 w 37"/>
                <a:gd name="T25" fmla="*/ 0 h 43"/>
                <a:gd name="T26" fmla="*/ 19 w 37"/>
                <a:gd name="T27" fmla="*/ 8 h 43"/>
                <a:gd name="T28" fmla="*/ 13 w 37"/>
                <a:gd name="T29" fmla="*/ 16 h 43"/>
                <a:gd name="T30" fmla="*/ 14 w 37"/>
                <a:gd name="T31" fmla="*/ 16 h 43"/>
                <a:gd name="T32" fmla="*/ 13 w 37"/>
                <a:gd name="T33" fmla="*/ 16 h 43"/>
                <a:gd name="T34" fmla="*/ 13 w 37"/>
                <a:gd name="T35" fmla="*/ 16 h 43"/>
                <a:gd name="T36" fmla="*/ 6 w 37"/>
                <a:gd name="T37"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3">
                  <a:moveTo>
                    <a:pt x="6" y="19"/>
                  </a:moveTo>
                  <a:cubicBezTo>
                    <a:pt x="2" y="19"/>
                    <a:pt x="1" y="22"/>
                    <a:pt x="0" y="26"/>
                  </a:cubicBezTo>
                  <a:cubicBezTo>
                    <a:pt x="5" y="26"/>
                    <a:pt x="5" y="26"/>
                    <a:pt x="4" y="30"/>
                  </a:cubicBezTo>
                  <a:cubicBezTo>
                    <a:pt x="4" y="31"/>
                    <a:pt x="4" y="33"/>
                    <a:pt x="4" y="34"/>
                  </a:cubicBezTo>
                  <a:cubicBezTo>
                    <a:pt x="4" y="38"/>
                    <a:pt x="6" y="41"/>
                    <a:pt x="10" y="42"/>
                  </a:cubicBezTo>
                  <a:cubicBezTo>
                    <a:pt x="12" y="42"/>
                    <a:pt x="14" y="42"/>
                    <a:pt x="15" y="43"/>
                  </a:cubicBezTo>
                  <a:cubicBezTo>
                    <a:pt x="18" y="43"/>
                    <a:pt x="19" y="42"/>
                    <a:pt x="21" y="40"/>
                  </a:cubicBezTo>
                  <a:cubicBezTo>
                    <a:pt x="22" y="38"/>
                    <a:pt x="24" y="36"/>
                    <a:pt x="24" y="33"/>
                  </a:cubicBezTo>
                  <a:cubicBezTo>
                    <a:pt x="24" y="31"/>
                    <a:pt x="25" y="29"/>
                    <a:pt x="26" y="28"/>
                  </a:cubicBezTo>
                  <a:cubicBezTo>
                    <a:pt x="31" y="25"/>
                    <a:pt x="31" y="19"/>
                    <a:pt x="35" y="16"/>
                  </a:cubicBezTo>
                  <a:cubicBezTo>
                    <a:pt x="37" y="15"/>
                    <a:pt x="37" y="11"/>
                    <a:pt x="36" y="9"/>
                  </a:cubicBezTo>
                  <a:cubicBezTo>
                    <a:pt x="33" y="6"/>
                    <a:pt x="31" y="4"/>
                    <a:pt x="29" y="1"/>
                  </a:cubicBezTo>
                  <a:cubicBezTo>
                    <a:pt x="28" y="0"/>
                    <a:pt x="27" y="0"/>
                    <a:pt x="26" y="0"/>
                  </a:cubicBezTo>
                  <a:cubicBezTo>
                    <a:pt x="21" y="1"/>
                    <a:pt x="19" y="2"/>
                    <a:pt x="19" y="8"/>
                  </a:cubicBezTo>
                  <a:cubicBezTo>
                    <a:pt x="19" y="12"/>
                    <a:pt x="17" y="14"/>
                    <a:pt x="13" y="16"/>
                  </a:cubicBezTo>
                  <a:cubicBezTo>
                    <a:pt x="14" y="16"/>
                    <a:pt x="14" y="16"/>
                    <a:pt x="14" y="16"/>
                  </a:cubicBezTo>
                  <a:cubicBezTo>
                    <a:pt x="13" y="16"/>
                    <a:pt x="13" y="16"/>
                    <a:pt x="13" y="16"/>
                  </a:cubicBezTo>
                  <a:cubicBezTo>
                    <a:pt x="13" y="16"/>
                    <a:pt x="13" y="16"/>
                    <a:pt x="13" y="16"/>
                  </a:cubicBezTo>
                  <a:cubicBezTo>
                    <a:pt x="11" y="18"/>
                    <a:pt x="9" y="19"/>
                    <a:pt x="6" y="1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53"/>
            <p:cNvSpPr>
              <a:spLocks/>
            </p:cNvSpPr>
            <p:nvPr/>
          </p:nvSpPr>
          <p:spPr bwMode="auto">
            <a:xfrm>
              <a:off x="5064939" y="3887032"/>
              <a:ext cx="51634" cy="113232"/>
            </a:xfrm>
            <a:custGeom>
              <a:avLst/>
              <a:gdLst>
                <a:gd name="T0" fmla="*/ 18 w 24"/>
                <a:gd name="T1" fmla="*/ 1 h 53"/>
                <a:gd name="T2" fmla="*/ 15 w 24"/>
                <a:gd name="T3" fmla="*/ 1 h 53"/>
                <a:gd name="T4" fmla="*/ 8 w 24"/>
                <a:gd name="T5" fmla="*/ 8 h 53"/>
                <a:gd name="T6" fmla="*/ 3 w 24"/>
                <a:gd name="T7" fmla="*/ 18 h 53"/>
                <a:gd name="T8" fmla="*/ 1 w 24"/>
                <a:gd name="T9" fmla="*/ 29 h 53"/>
                <a:gd name="T10" fmla="*/ 8 w 24"/>
                <a:gd name="T11" fmla="*/ 48 h 53"/>
                <a:gd name="T12" fmla="*/ 13 w 24"/>
                <a:gd name="T13" fmla="*/ 52 h 53"/>
                <a:gd name="T14" fmla="*/ 15 w 24"/>
                <a:gd name="T15" fmla="*/ 51 h 53"/>
                <a:gd name="T16" fmla="*/ 17 w 24"/>
                <a:gd name="T17" fmla="*/ 44 h 53"/>
                <a:gd name="T18" fmla="*/ 22 w 24"/>
                <a:gd name="T19" fmla="*/ 24 h 53"/>
                <a:gd name="T20" fmla="*/ 24 w 24"/>
                <a:gd name="T21" fmla="*/ 9 h 53"/>
                <a:gd name="T22" fmla="*/ 18 w 24"/>
                <a:gd name="T23"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53">
                  <a:moveTo>
                    <a:pt x="18" y="1"/>
                  </a:moveTo>
                  <a:cubicBezTo>
                    <a:pt x="17" y="0"/>
                    <a:pt x="15" y="0"/>
                    <a:pt x="15" y="1"/>
                  </a:cubicBezTo>
                  <a:cubicBezTo>
                    <a:pt x="12" y="3"/>
                    <a:pt x="10" y="5"/>
                    <a:pt x="8" y="8"/>
                  </a:cubicBezTo>
                  <a:cubicBezTo>
                    <a:pt x="6" y="11"/>
                    <a:pt x="5" y="14"/>
                    <a:pt x="3" y="18"/>
                  </a:cubicBezTo>
                  <a:cubicBezTo>
                    <a:pt x="1" y="21"/>
                    <a:pt x="0" y="25"/>
                    <a:pt x="1" y="29"/>
                  </a:cubicBezTo>
                  <a:cubicBezTo>
                    <a:pt x="1" y="37"/>
                    <a:pt x="2" y="43"/>
                    <a:pt x="8" y="48"/>
                  </a:cubicBezTo>
                  <a:cubicBezTo>
                    <a:pt x="10" y="49"/>
                    <a:pt x="11" y="51"/>
                    <a:pt x="13" y="52"/>
                  </a:cubicBezTo>
                  <a:cubicBezTo>
                    <a:pt x="14" y="53"/>
                    <a:pt x="15" y="53"/>
                    <a:pt x="15" y="51"/>
                  </a:cubicBezTo>
                  <a:cubicBezTo>
                    <a:pt x="16" y="49"/>
                    <a:pt x="16" y="46"/>
                    <a:pt x="17" y="44"/>
                  </a:cubicBezTo>
                  <a:cubicBezTo>
                    <a:pt x="21" y="38"/>
                    <a:pt x="22" y="31"/>
                    <a:pt x="22" y="24"/>
                  </a:cubicBezTo>
                  <a:cubicBezTo>
                    <a:pt x="22" y="19"/>
                    <a:pt x="23" y="14"/>
                    <a:pt x="24" y="9"/>
                  </a:cubicBezTo>
                  <a:cubicBezTo>
                    <a:pt x="24" y="6"/>
                    <a:pt x="22" y="2"/>
                    <a:pt x="18"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54"/>
            <p:cNvSpPr>
              <a:spLocks noEditPoints="1"/>
            </p:cNvSpPr>
            <p:nvPr/>
          </p:nvSpPr>
          <p:spPr bwMode="auto">
            <a:xfrm>
              <a:off x="2546653" y="1356970"/>
              <a:ext cx="79716" cy="102362"/>
            </a:xfrm>
            <a:custGeom>
              <a:avLst/>
              <a:gdLst>
                <a:gd name="T0" fmla="*/ 8 w 37"/>
                <a:gd name="T1" fmla="*/ 35 h 48"/>
                <a:gd name="T2" fmla="*/ 10 w 37"/>
                <a:gd name="T3" fmla="*/ 37 h 48"/>
                <a:gd name="T4" fmla="*/ 10 w 37"/>
                <a:gd name="T5" fmla="*/ 37 h 48"/>
                <a:gd name="T6" fmla="*/ 11 w 37"/>
                <a:gd name="T7" fmla="*/ 38 h 48"/>
                <a:gd name="T8" fmla="*/ 10 w 37"/>
                <a:gd name="T9" fmla="*/ 37 h 48"/>
                <a:gd name="T10" fmla="*/ 10 w 37"/>
                <a:gd name="T11" fmla="*/ 37 h 48"/>
                <a:gd name="T12" fmla="*/ 4 w 37"/>
                <a:gd name="T13" fmla="*/ 39 h 48"/>
                <a:gd name="T14" fmla="*/ 2 w 37"/>
                <a:gd name="T15" fmla="*/ 41 h 48"/>
                <a:gd name="T16" fmla="*/ 4 w 37"/>
                <a:gd name="T17" fmla="*/ 44 h 48"/>
                <a:gd name="T18" fmla="*/ 18 w 37"/>
                <a:gd name="T19" fmla="*/ 48 h 48"/>
                <a:gd name="T20" fmla="*/ 23 w 37"/>
                <a:gd name="T21" fmla="*/ 47 h 48"/>
                <a:gd name="T22" fmla="*/ 25 w 37"/>
                <a:gd name="T23" fmla="*/ 46 h 48"/>
                <a:gd name="T24" fmla="*/ 35 w 37"/>
                <a:gd name="T25" fmla="*/ 36 h 48"/>
                <a:gd name="T26" fmla="*/ 35 w 37"/>
                <a:gd name="T27" fmla="*/ 29 h 48"/>
                <a:gd name="T28" fmla="*/ 33 w 37"/>
                <a:gd name="T29" fmla="*/ 28 h 48"/>
                <a:gd name="T30" fmla="*/ 34 w 37"/>
                <a:gd name="T31" fmla="*/ 28 h 48"/>
                <a:gd name="T32" fmla="*/ 33 w 37"/>
                <a:gd name="T33" fmla="*/ 28 h 48"/>
                <a:gd name="T34" fmla="*/ 33 w 37"/>
                <a:gd name="T35" fmla="*/ 28 h 48"/>
                <a:gd name="T36" fmla="*/ 30 w 37"/>
                <a:gd name="T37" fmla="*/ 28 h 48"/>
                <a:gd name="T38" fmla="*/ 30 w 37"/>
                <a:gd name="T39" fmla="*/ 28 h 48"/>
                <a:gd name="T40" fmla="*/ 30 w 37"/>
                <a:gd name="T41" fmla="*/ 28 h 48"/>
                <a:gd name="T42" fmla="*/ 30 w 37"/>
                <a:gd name="T43" fmla="*/ 28 h 48"/>
                <a:gd name="T44" fmla="*/ 24 w 37"/>
                <a:gd name="T45" fmla="*/ 25 h 48"/>
                <a:gd name="T46" fmla="*/ 23 w 37"/>
                <a:gd name="T47" fmla="*/ 23 h 48"/>
                <a:gd name="T48" fmla="*/ 22 w 37"/>
                <a:gd name="T49" fmla="*/ 5 h 48"/>
                <a:gd name="T50" fmla="*/ 20 w 37"/>
                <a:gd name="T51" fmla="*/ 2 h 48"/>
                <a:gd name="T52" fmla="*/ 10 w 37"/>
                <a:gd name="T53" fmla="*/ 6 h 48"/>
                <a:gd name="T54" fmla="*/ 7 w 37"/>
                <a:gd name="T55" fmla="*/ 21 h 48"/>
                <a:gd name="T56" fmla="*/ 8 w 37"/>
                <a:gd name="T57" fmla="*/ 25 h 48"/>
                <a:gd name="T58" fmla="*/ 10 w 37"/>
                <a:gd name="T59" fmla="*/ 26 h 48"/>
                <a:gd name="T60" fmla="*/ 8 w 37"/>
                <a:gd name="T61" fmla="*/ 27 h 48"/>
                <a:gd name="T62" fmla="*/ 1 w 37"/>
                <a:gd name="T63" fmla="*/ 30 h 48"/>
                <a:gd name="T64" fmla="*/ 8 w 37"/>
                <a:gd name="T65" fmla="*/ 35 h 48"/>
                <a:gd name="T66" fmla="*/ 20 w 37"/>
                <a:gd name="T67" fmla="*/ 31 h 48"/>
                <a:gd name="T68" fmla="*/ 21 w 37"/>
                <a:gd name="T69" fmla="*/ 32 h 48"/>
                <a:gd name="T70" fmla="*/ 19 w 37"/>
                <a:gd name="T71" fmla="*/ 31 h 48"/>
                <a:gd name="T72" fmla="*/ 19 w 37"/>
                <a:gd name="T73" fmla="*/ 30 h 48"/>
                <a:gd name="T74" fmla="*/ 20 w 37"/>
                <a:gd name="T75" fmla="*/ 3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 h="48">
                  <a:moveTo>
                    <a:pt x="8" y="35"/>
                  </a:moveTo>
                  <a:cubicBezTo>
                    <a:pt x="8" y="36"/>
                    <a:pt x="9" y="36"/>
                    <a:pt x="10" y="37"/>
                  </a:cubicBezTo>
                  <a:cubicBezTo>
                    <a:pt x="10" y="37"/>
                    <a:pt x="10" y="37"/>
                    <a:pt x="10" y="37"/>
                  </a:cubicBezTo>
                  <a:cubicBezTo>
                    <a:pt x="11" y="38"/>
                    <a:pt x="11" y="38"/>
                    <a:pt x="11" y="38"/>
                  </a:cubicBezTo>
                  <a:cubicBezTo>
                    <a:pt x="10" y="37"/>
                    <a:pt x="10" y="37"/>
                    <a:pt x="10" y="37"/>
                  </a:cubicBezTo>
                  <a:cubicBezTo>
                    <a:pt x="10" y="37"/>
                    <a:pt x="10" y="37"/>
                    <a:pt x="10" y="37"/>
                  </a:cubicBezTo>
                  <a:cubicBezTo>
                    <a:pt x="8" y="38"/>
                    <a:pt x="6" y="38"/>
                    <a:pt x="4" y="39"/>
                  </a:cubicBezTo>
                  <a:cubicBezTo>
                    <a:pt x="3" y="39"/>
                    <a:pt x="2" y="40"/>
                    <a:pt x="2" y="41"/>
                  </a:cubicBezTo>
                  <a:cubicBezTo>
                    <a:pt x="2" y="42"/>
                    <a:pt x="3" y="43"/>
                    <a:pt x="4" y="44"/>
                  </a:cubicBezTo>
                  <a:cubicBezTo>
                    <a:pt x="8" y="46"/>
                    <a:pt x="14" y="45"/>
                    <a:pt x="18" y="48"/>
                  </a:cubicBezTo>
                  <a:cubicBezTo>
                    <a:pt x="19" y="48"/>
                    <a:pt x="21" y="48"/>
                    <a:pt x="23" y="47"/>
                  </a:cubicBezTo>
                  <a:cubicBezTo>
                    <a:pt x="24" y="47"/>
                    <a:pt x="25" y="47"/>
                    <a:pt x="25" y="46"/>
                  </a:cubicBezTo>
                  <a:cubicBezTo>
                    <a:pt x="27" y="41"/>
                    <a:pt x="31" y="39"/>
                    <a:pt x="35" y="36"/>
                  </a:cubicBezTo>
                  <a:cubicBezTo>
                    <a:pt x="37" y="34"/>
                    <a:pt x="37" y="32"/>
                    <a:pt x="35" y="29"/>
                  </a:cubicBezTo>
                  <a:cubicBezTo>
                    <a:pt x="34" y="29"/>
                    <a:pt x="34" y="28"/>
                    <a:pt x="33" y="28"/>
                  </a:cubicBezTo>
                  <a:cubicBezTo>
                    <a:pt x="34" y="28"/>
                    <a:pt x="34" y="28"/>
                    <a:pt x="34" y="28"/>
                  </a:cubicBezTo>
                  <a:cubicBezTo>
                    <a:pt x="34" y="28"/>
                    <a:pt x="33" y="28"/>
                    <a:pt x="33" y="28"/>
                  </a:cubicBezTo>
                  <a:cubicBezTo>
                    <a:pt x="33" y="28"/>
                    <a:pt x="33" y="28"/>
                    <a:pt x="33" y="28"/>
                  </a:cubicBezTo>
                  <a:cubicBezTo>
                    <a:pt x="32" y="29"/>
                    <a:pt x="31" y="29"/>
                    <a:pt x="30" y="28"/>
                  </a:cubicBezTo>
                  <a:cubicBezTo>
                    <a:pt x="30" y="28"/>
                    <a:pt x="30" y="28"/>
                    <a:pt x="30" y="28"/>
                  </a:cubicBezTo>
                  <a:cubicBezTo>
                    <a:pt x="30" y="28"/>
                    <a:pt x="30" y="28"/>
                    <a:pt x="30" y="28"/>
                  </a:cubicBezTo>
                  <a:cubicBezTo>
                    <a:pt x="30" y="28"/>
                    <a:pt x="30" y="28"/>
                    <a:pt x="30" y="28"/>
                  </a:cubicBezTo>
                  <a:cubicBezTo>
                    <a:pt x="28" y="27"/>
                    <a:pt x="26" y="27"/>
                    <a:pt x="24" y="25"/>
                  </a:cubicBezTo>
                  <a:cubicBezTo>
                    <a:pt x="24" y="25"/>
                    <a:pt x="23" y="24"/>
                    <a:pt x="23" y="23"/>
                  </a:cubicBezTo>
                  <a:cubicBezTo>
                    <a:pt x="24" y="17"/>
                    <a:pt x="19" y="11"/>
                    <a:pt x="22" y="5"/>
                  </a:cubicBezTo>
                  <a:cubicBezTo>
                    <a:pt x="22" y="4"/>
                    <a:pt x="21" y="3"/>
                    <a:pt x="20" y="2"/>
                  </a:cubicBezTo>
                  <a:cubicBezTo>
                    <a:pt x="15" y="0"/>
                    <a:pt x="11" y="2"/>
                    <a:pt x="10" y="6"/>
                  </a:cubicBezTo>
                  <a:cubicBezTo>
                    <a:pt x="10" y="11"/>
                    <a:pt x="10" y="17"/>
                    <a:pt x="7" y="21"/>
                  </a:cubicBezTo>
                  <a:cubicBezTo>
                    <a:pt x="6" y="23"/>
                    <a:pt x="7" y="24"/>
                    <a:pt x="8" y="25"/>
                  </a:cubicBezTo>
                  <a:cubicBezTo>
                    <a:pt x="9" y="25"/>
                    <a:pt x="9" y="25"/>
                    <a:pt x="10" y="26"/>
                  </a:cubicBezTo>
                  <a:cubicBezTo>
                    <a:pt x="10" y="27"/>
                    <a:pt x="9" y="27"/>
                    <a:pt x="8" y="27"/>
                  </a:cubicBezTo>
                  <a:cubicBezTo>
                    <a:pt x="5" y="28"/>
                    <a:pt x="1" y="27"/>
                    <a:pt x="1" y="30"/>
                  </a:cubicBezTo>
                  <a:cubicBezTo>
                    <a:pt x="0" y="35"/>
                    <a:pt x="5" y="34"/>
                    <a:pt x="8" y="35"/>
                  </a:cubicBezTo>
                  <a:close/>
                  <a:moveTo>
                    <a:pt x="20" y="31"/>
                  </a:moveTo>
                  <a:cubicBezTo>
                    <a:pt x="21" y="32"/>
                    <a:pt x="21" y="32"/>
                    <a:pt x="21" y="32"/>
                  </a:cubicBezTo>
                  <a:cubicBezTo>
                    <a:pt x="19" y="31"/>
                    <a:pt x="19" y="31"/>
                    <a:pt x="19" y="31"/>
                  </a:cubicBezTo>
                  <a:cubicBezTo>
                    <a:pt x="19" y="30"/>
                    <a:pt x="19" y="30"/>
                    <a:pt x="19" y="30"/>
                  </a:cubicBezTo>
                  <a:lnTo>
                    <a:pt x="20" y="31"/>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55"/>
            <p:cNvSpPr>
              <a:spLocks/>
            </p:cNvSpPr>
            <p:nvPr/>
          </p:nvSpPr>
          <p:spPr bwMode="auto">
            <a:xfrm>
              <a:off x="4602952" y="1339758"/>
              <a:ext cx="106891" cy="42575"/>
            </a:xfrm>
            <a:custGeom>
              <a:avLst/>
              <a:gdLst>
                <a:gd name="T0" fmla="*/ 8 w 50"/>
                <a:gd name="T1" fmla="*/ 14 h 20"/>
                <a:gd name="T2" fmla="*/ 33 w 50"/>
                <a:gd name="T3" fmla="*/ 20 h 20"/>
                <a:gd name="T4" fmla="*/ 40 w 50"/>
                <a:gd name="T5" fmla="*/ 19 h 20"/>
                <a:gd name="T6" fmla="*/ 49 w 50"/>
                <a:gd name="T7" fmla="*/ 11 h 20"/>
                <a:gd name="T8" fmla="*/ 49 w 50"/>
                <a:gd name="T9" fmla="*/ 7 h 20"/>
                <a:gd name="T10" fmla="*/ 37 w 50"/>
                <a:gd name="T11" fmla="*/ 0 h 20"/>
                <a:gd name="T12" fmla="*/ 26 w 50"/>
                <a:gd name="T13" fmla="*/ 2 h 20"/>
                <a:gd name="T14" fmla="*/ 13 w 50"/>
                <a:gd name="T15" fmla="*/ 1 h 20"/>
                <a:gd name="T16" fmla="*/ 10 w 50"/>
                <a:gd name="T17" fmla="*/ 2 h 20"/>
                <a:gd name="T18" fmla="*/ 2 w 50"/>
                <a:gd name="T19" fmla="*/ 3 h 20"/>
                <a:gd name="T20" fmla="*/ 1 w 50"/>
                <a:gd name="T21" fmla="*/ 6 h 20"/>
                <a:gd name="T22" fmla="*/ 8 w 50"/>
                <a:gd name="T23"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0">
                  <a:moveTo>
                    <a:pt x="8" y="14"/>
                  </a:moveTo>
                  <a:cubicBezTo>
                    <a:pt x="16" y="18"/>
                    <a:pt x="25" y="19"/>
                    <a:pt x="33" y="20"/>
                  </a:cubicBezTo>
                  <a:cubicBezTo>
                    <a:pt x="36" y="20"/>
                    <a:pt x="38" y="20"/>
                    <a:pt x="40" y="19"/>
                  </a:cubicBezTo>
                  <a:cubicBezTo>
                    <a:pt x="44" y="18"/>
                    <a:pt x="48" y="15"/>
                    <a:pt x="49" y="11"/>
                  </a:cubicBezTo>
                  <a:cubicBezTo>
                    <a:pt x="50" y="10"/>
                    <a:pt x="50" y="8"/>
                    <a:pt x="49" y="7"/>
                  </a:cubicBezTo>
                  <a:cubicBezTo>
                    <a:pt x="47" y="2"/>
                    <a:pt x="42" y="0"/>
                    <a:pt x="37" y="0"/>
                  </a:cubicBezTo>
                  <a:cubicBezTo>
                    <a:pt x="33" y="0"/>
                    <a:pt x="30" y="2"/>
                    <a:pt x="26" y="2"/>
                  </a:cubicBezTo>
                  <a:cubicBezTo>
                    <a:pt x="22" y="2"/>
                    <a:pt x="18" y="1"/>
                    <a:pt x="13" y="1"/>
                  </a:cubicBezTo>
                  <a:cubicBezTo>
                    <a:pt x="12" y="1"/>
                    <a:pt x="11" y="1"/>
                    <a:pt x="10" y="2"/>
                  </a:cubicBezTo>
                  <a:cubicBezTo>
                    <a:pt x="8" y="4"/>
                    <a:pt x="5" y="3"/>
                    <a:pt x="2" y="3"/>
                  </a:cubicBezTo>
                  <a:cubicBezTo>
                    <a:pt x="1" y="3"/>
                    <a:pt x="0" y="5"/>
                    <a:pt x="1" y="6"/>
                  </a:cubicBezTo>
                  <a:cubicBezTo>
                    <a:pt x="3" y="10"/>
                    <a:pt x="5" y="13"/>
                    <a:pt x="8" y="1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57"/>
            <p:cNvSpPr>
              <a:spLocks/>
            </p:cNvSpPr>
            <p:nvPr/>
          </p:nvSpPr>
          <p:spPr bwMode="auto">
            <a:xfrm>
              <a:off x="4576682" y="1501907"/>
              <a:ext cx="86057" cy="53446"/>
            </a:xfrm>
            <a:custGeom>
              <a:avLst/>
              <a:gdLst>
                <a:gd name="T0" fmla="*/ 1 w 40"/>
                <a:gd name="T1" fmla="*/ 24 h 25"/>
                <a:gd name="T2" fmla="*/ 3 w 40"/>
                <a:gd name="T3" fmla="*/ 25 h 25"/>
                <a:gd name="T4" fmla="*/ 18 w 40"/>
                <a:gd name="T5" fmla="*/ 21 h 25"/>
                <a:gd name="T6" fmla="*/ 36 w 40"/>
                <a:gd name="T7" fmla="*/ 19 h 25"/>
                <a:gd name="T8" fmla="*/ 39 w 40"/>
                <a:gd name="T9" fmla="*/ 13 h 25"/>
                <a:gd name="T10" fmla="*/ 26 w 40"/>
                <a:gd name="T11" fmla="*/ 3 h 25"/>
                <a:gd name="T12" fmla="*/ 19 w 40"/>
                <a:gd name="T13" fmla="*/ 0 h 25"/>
                <a:gd name="T14" fmla="*/ 10 w 40"/>
                <a:gd name="T15" fmla="*/ 0 h 25"/>
                <a:gd name="T16" fmla="*/ 4 w 40"/>
                <a:gd name="T17" fmla="*/ 5 h 25"/>
                <a:gd name="T18" fmla="*/ 2 w 40"/>
                <a:gd name="T19" fmla="*/ 17 h 25"/>
                <a:gd name="T20" fmla="*/ 0 w 40"/>
                <a:gd name="T21" fmla="*/ 23 h 25"/>
                <a:gd name="T22" fmla="*/ 1 w 40"/>
                <a:gd name="T23"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25">
                  <a:moveTo>
                    <a:pt x="1" y="24"/>
                  </a:moveTo>
                  <a:cubicBezTo>
                    <a:pt x="2" y="24"/>
                    <a:pt x="3" y="25"/>
                    <a:pt x="3" y="25"/>
                  </a:cubicBezTo>
                  <a:cubicBezTo>
                    <a:pt x="7" y="21"/>
                    <a:pt x="13" y="21"/>
                    <a:pt x="18" y="21"/>
                  </a:cubicBezTo>
                  <a:cubicBezTo>
                    <a:pt x="24" y="21"/>
                    <a:pt x="30" y="20"/>
                    <a:pt x="36" y="19"/>
                  </a:cubicBezTo>
                  <a:cubicBezTo>
                    <a:pt x="39" y="19"/>
                    <a:pt x="40" y="15"/>
                    <a:pt x="39" y="13"/>
                  </a:cubicBezTo>
                  <a:cubicBezTo>
                    <a:pt x="36" y="8"/>
                    <a:pt x="32" y="5"/>
                    <a:pt x="26" y="3"/>
                  </a:cubicBezTo>
                  <a:cubicBezTo>
                    <a:pt x="24" y="2"/>
                    <a:pt x="21" y="1"/>
                    <a:pt x="19" y="0"/>
                  </a:cubicBezTo>
                  <a:cubicBezTo>
                    <a:pt x="16" y="0"/>
                    <a:pt x="13" y="0"/>
                    <a:pt x="10" y="0"/>
                  </a:cubicBezTo>
                  <a:cubicBezTo>
                    <a:pt x="8" y="0"/>
                    <a:pt x="5" y="3"/>
                    <a:pt x="4" y="5"/>
                  </a:cubicBezTo>
                  <a:cubicBezTo>
                    <a:pt x="4" y="8"/>
                    <a:pt x="3" y="11"/>
                    <a:pt x="2" y="17"/>
                  </a:cubicBezTo>
                  <a:cubicBezTo>
                    <a:pt x="2" y="17"/>
                    <a:pt x="1" y="20"/>
                    <a:pt x="0" y="23"/>
                  </a:cubicBezTo>
                  <a:cubicBezTo>
                    <a:pt x="0" y="23"/>
                    <a:pt x="1" y="24"/>
                    <a:pt x="1" y="2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58"/>
            <p:cNvSpPr>
              <a:spLocks/>
            </p:cNvSpPr>
            <p:nvPr/>
          </p:nvSpPr>
          <p:spPr bwMode="auto">
            <a:xfrm>
              <a:off x="4747889" y="4061863"/>
              <a:ext cx="70657" cy="60693"/>
            </a:xfrm>
            <a:custGeom>
              <a:avLst/>
              <a:gdLst>
                <a:gd name="T0" fmla="*/ 33 w 33"/>
                <a:gd name="T1" fmla="*/ 6 h 28"/>
                <a:gd name="T2" fmla="*/ 30 w 33"/>
                <a:gd name="T3" fmla="*/ 2 h 28"/>
                <a:gd name="T4" fmla="*/ 25 w 33"/>
                <a:gd name="T5" fmla="*/ 0 h 28"/>
                <a:gd name="T6" fmla="*/ 23 w 33"/>
                <a:gd name="T7" fmla="*/ 0 h 28"/>
                <a:gd name="T8" fmla="*/ 3 w 33"/>
                <a:gd name="T9" fmla="*/ 9 h 28"/>
                <a:gd name="T10" fmla="*/ 1 w 33"/>
                <a:gd name="T11" fmla="*/ 12 h 28"/>
                <a:gd name="T12" fmla="*/ 9 w 33"/>
                <a:gd name="T13" fmla="*/ 26 h 28"/>
                <a:gd name="T14" fmla="*/ 27 w 33"/>
                <a:gd name="T15" fmla="*/ 20 h 28"/>
                <a:gd name="T16" fmla="*/ 33 w 33"/>
                <a:gd name="T1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8">
                  <a:moveTo>
                    <a:pt x="33" y="6"/>
                  </a:moveTo>
                  <a:cubicBezTo>
                    <a:pt x="33" y="4"/>
                    <a:pt x="32" y="3"/>
                    <a:pt x="30" y="2"/>
                  </a:cubicBezTo>
                  <a:cubicBezTo>
                    <a:pt x="29" y="1"/>
                    <a:pt x="26" y="0"/>
                    <a:pt x="25" y="0"/>
                  </a:cubicBezTo>
                  <a:cubicBezTo>
                    <a:pt x="24" y="0"/>
                    <a:pt x="23" y="0"/>
                    <a:pt x="23" y="0"/>
                  </a:cubicBezTo>
                  <a:cubicBezTo>
                    <a:pt x="14" y="0"/>
                    <a:pt x="8" y="3"/>
                    <a:pt x="3" y="9"/>
                  </a:cubicBezTo>
                  <a:cubicBezTo>
                    <a:pt x="2" y="10"/>
                    <a:pt x="2" y="11"/>
                    <a:pt x="1" y="12"/>
                  </a:cubicBezTo>
                  <a:cubicBezTo>
                    <a:pt x="0" y="17"/>
                    <a:pt x="3" y="24"/>
                    <a:pt x="9" y="26"/>
                  </a:cubicBezTo>
                  <a:cubicBezTo>
                    <a:pt x="15" y="28"/>
                    <a:pt x="23" y="25"/>
                    <a:pt x="27" y="20"/>
                  </a:cubicBezTo>
                  <a:cubicBezTo>
                    <a:pt x="30" y="16"/>
                    <a:pt x="32" y="11"/>
                    <a:pt x="33"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59"/>
            <p:cNvSpPr>
              <a:spLocks/>
            </p:cNvSpPr>
            <p:nvPr/>
          </p:nvSpPr>
          <p:spPr bwMode="auto">
            <a:xfrm>
              <a:off x="1810190" y="3425950"/>
              <a:ext cx="45293" cy="89680"/>
            </a:xfrm>
            <a:custGeom>
              <a:avLst/>
              <a:gdLst>
                <a:gd name="T0" fmla="*/ 1 w 21"/>
                <a:gd name="T1" fmla="*/ 12 h 42"/>
                <a:gd name="T2" fmla="*/ 3 w 21"/>
                <a:gd name="T3" fmla="*/ 30 h 42"/>
                <a:gd name="T4" fmla="*/ 17 w 21"/>
                <a:gd name="T5" fmla="*/ 36 h 42"/>
                <a:gd name="T6" fmla="*/ 20 w 21"/>
                <a:gd name="T7" fmla="*/ 32 h 42"/>
                <a:gd name="T8" fmla="*/ 20 w 21"/>
                <a:gd name="T9" fmla="*/ 22 h 42"/>
                <a:gd name="T10" fmla="*/ 21 w 21"/>
                <a:gd name="T11" fmla="*/ 22 h 42"/>
                <a:gd name="T12" fmla="*/ 21 w 21"/>
                <a:gd name="T13" fmla="*/ 16 h 42"/>
                <a:gd name="T14" fmla="*/ 20 w 21"/>
                <a:gd name="T15" fmla="*/ 11 h 42"/>
                <a:gd name="T16" fmla="*/ 8 w 21"/>
                <a:gd name="T17" fmla="*/ 5 h 42"/>
                <a:gd name="T18" fmla="*/ 2 w 21"/>
                <a:gd name="T19" fmla="*/ 8 h 42"/>
                <a:gd name="T20" fmla="*/ 1 w 21"/>
                <a:gd name="T21"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2">
                  <a:moveTo>
                    <a:pt x="1" y="12"/>
                  </a:moveTo>
                  <a:cubicBezTo>
                    <a:pt x="3" y="18"/>
                    <a:pt x="3" y="24"/>
                    <a:pt x="3" y="30"/>
                  </a:cubicBezTo>
                  <a:cubicBezTo>
                    <a:pt x="3" y="40"/>
                    <a:pt x="8" y="42"/>
                    <a:pt x="17" y="36"/>
                  </a:cubicBezTo>
                  <a:cubicBezTo>
                    <a:pt x="19" y="35"/>
                    <a:pt x="20" y="34"/>
                    <a:pt x="20" y="32"/>
                  </a:cubicBezTo>
                  <a:cubicBezTo>
                    <a:pt x="21" y="28"/>
                    <a:pt x="20" y="25"/>
                    <a:pt x="20" y="22"/>
                  </a:cubicBezTo>
                  <a:cubicBezTo>
                    <a:pt x="21" y="22"/>
                    <a:pt x="21" y="22"/>
                    <a:pt x="21" y="22"/>
                  </a:cubicBezTo>
                  <a:cubicBezTo>
                    <a:pt x="21" y="20"/>
                    <a:pt x="21" y="18"/>
                    <a:pt x="21" y="16"/>
                  </a:cubicBezTo>
                  <a:cubicBezTo>
                    <a:pt x="20" y="14"/>
                    <a:pt x="21" y="13"/>
                    <a:pt x="20" y="11"/>
                  </a:cubicBezTo>
                  <a:cubicBezTo>
                    <a:pt x="20" y="6"/>
                    <a:pt x="14" y="0"/>
                    <a:pt x="8" y="5"/>
                  </a:cubicBezTo>
                  <a:cubicBezTo>
                    <a:pt x="6" y="6"/>
                    <a:pt x="4" y="7"/>
                    <a:pt x="2" y="8"/>
                  </a:cubicBezTo>
                  <a:cubicBezTo>
                    <a:pt x="1" y="9"/>
                    <a:pt x="0" y="11"/>
                    <a:pt x="1" y="1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61"/>
            <p:cNvSpPr>
              <a:spLocks/>
            </p:cNvSpPr>
            <p:nvPr/>
          </p:nvSpPr>
          <p:spPr bwMode="auto">
            <a:xfrm>
              <a:off x="2649921" y="1410415"/>
              <a:ext cx="47105" cy="55257"/>
            </a:xfrm>
            <a:custGeom>
              <a:avLst/>
              <a:gdLst>
                <a:gd name="T0" fmla="*/ 3 w 22"/>
                <a:gd name="T1" fmla="*/ 6 h 26"/>
                <a:gd name="T2" fmla="*/ 1 w 22"/>
                <a:gd name="T3" fmla="*/ 8 h 26"/>
                <a:gd name="T4" fmla="*/ 2 w 22"/>
                <a:gd name="T5" fmla="*/ 22 h 26"/>
                <a:gd name="T6" fmla="*/ 7 w 22"/>
                <a:gd name="T7" fmla="*/ 26 h 26"/>
                <a:gd name="T8" fmla="*/ 21 w 22"/>
                <a:gd name="T9" fmla="*/ 22 h 26"/>
                <a:gd name="T10" fmla="*/ 21 w 22"/>
                <a:gd name="T11" fmla="*/ 18 h 26"/>
                <a:gd name="T12" fmla="*/ 20 w 22"/>
                <a:gd name="T13" fmla="*/ 17 h 26"/>
                <a:gd name="T14" fmla="*/ 19 w 22"/>
                <a:gd name="T15" fmla="*/ 14 h 26"/>
                <a:gd name="T16" fmla="*/ 19 w 22"/>
                <a:gd name="T17" fmla="*/ 9 h 26"/>
                <a:gd name="T18" fmla="*/ 20 w 22"/>
                <a:gd name="T19" fmla="*/ 2 h 26"/>
                <a:gd name="T20" fmla="*/ 13 w 22"/>
                <a:gd name="T21" fmla="*/ 1 h 26"/>
                <a:gd name="T22" fmla="*/ 9 w 22"/>
                <a:gd name="T23" fmla="*/ 3 h 26"/>
                <a:gd name="T24" fmla="*/ 9 w 22"/>
                <a:gd name="T25" fmla="*/ 3 h 26"/>
                <a:gd name="T26" fmla="*/ 9 w 22"/>
                <a:gd name="T27" fmla="*/ 3 h 26"/>
                <a:gd name="T28" fmla="*/ 9 w 22"/>
                <a:gd name="T29" fmla="*/ 3 h 26"/>
                <a:gd name="T30" fmla="*/ 3 w 22"/>
                <a:gd name="T31"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3" y="6"/>
                  </a:moveTo>
                  <a:cubicBezTo>
                    <a:pt x="2" y="6"/>
                    <a:pt x="1" y="7"/>
                    <a:pt x="1" y="8"/>
                  </a:cubicBezTo>
                  <a:cubicBezTo>
                    <a:pt x="0" y="13"/>
                    <a:pt x="0" y="17"/>
                    <a:pt x="2" y="22"/>
                  </a:cubicBezTo>
                  <a:cubicBezTo>
                    <a:pt x="3" y="23"/>
                    <a:pt x="5" y="25"/>
                    <a:pt x="7" y="26"/>
                  </a:cubicBezTo>
                  <a:cubicBezTo>
                    <a:pt x="12" y="26"/>
                    <a:pt x="17" y="25"/>
                    <a:pt x="21" y="22"/>
                  </a:cubicBezTo>
                  <a:cubicBezTo>
                    <a:pt x="22" y="21"/>
                    <a:pt x="22" y="19"/>
                    <a:pt x="21" y="18"/>
                  </a:cubicBezTo>
                  <a:cubicBezTo>
                    <a:pt x="21" y="17"/>
                    <a:pt x="21" y="17"/>
                    <a:pt x="20" y="17"/>
                  </a:cubicBezTo>
                  <a:cubicBezTo>
                    <a:pt x="20" y="16"/>
                    <a:pt x="19" y="15"/>
                    <a:pt x="19" y="14"/>
                  </a:cubicBezTo>
                  <a:cubicBezTo>
                    <a:pt x="17" y="12"/>
                    <a:pt x="17" y="12"/>
                    <a:pt x="19" y="9"/>
                  </a:cubicBezTo>
                  <a:cubicBezTo>
                    <a:pt x="22" y="6"/>
                    <a:pt x="22" y="4"/>
                    <a:pt x="20" y="2"/>
                  </a:cubicBezTo>
                  <a:cubicBezTo>
                    <a:pt x="18" y="0"/>
                    <a:pt x="16" y="0"/>
                    <a:pt x="13" y="1"/>
                  </a:cubicBezTo>
                  <a:cubicBezTo>
                    <a:pt x="12" y="2"/>
                    <a:pt x="10" y="2"/>
                    <a:pt x="9" y="3"/>
                  </a:cubicBezTo>
                  <a:cubicBezTo>
                    <a:pt x="9" y="3"/>
                    <a:pt x="9" y="3"/>
                    <a:pt x="9" y="3"/>
                  </a:cubicBezTo>
                  <a:cubicBezTo>
                    <a:pt x="9" y="3"/>
                    <a:pt x="9" y="3"/>
                    <a:pt x="9" y="3"/>
                  </a:cubicBezTo>
                  <a:cubicBezTo>
                    <a:pt x="9" y="3"/>
                    <a:pt x="9" y="3"/>
                    <a:pt x="9" y="3"/>
                  </a:cubicBezTo>
                  <a:cubicBezTo>
                    <a:pt x="7" y="4"/>
                    <a:pt x="5" y="5"/>
                    <a:pt x="3"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62"/>
            <p:cNvSpPr>
              <a:spLocks/>
            </p:cNvSpPr>
            <p:nvPr/>
          </p:nvSpPr>
          <p:spPr bwMode="auto">
            <a:xfrm>
              <a:off x="2381787" y="1457520"/>
              <a:ext cx="73375" cy="48916"/>
            </a:xfrm>
            <a:custGeom>
              <a:avLst/>
              <a:gdLst>
                <a:gd name="T0" fmla="*/ 5 w 34"/>
                <a:gd name="T1" fmla="*/ 20 h 23"/>
                <a:gd name="T2" fmla="*/ 17 w 34"/>
                <a:gd name="T3" fmla="*/ 23 h 23"/>
                <a:gd name="T4" fmla="*/ 21 w 34"/>
                <a:gd name="T5" fmla="*/ 18 h 23"/>
                <a:gd name="T6" fmla="*/ 19 w 34"/>
                <a:gd name="T7" fmla="*/ 17 h 23"/>
                <a:gd name="T8" fmla="*/ 20 w 34"/>
                <a:gd name="T9" fmla="*/ 10 h 23"/>
                <a:gd name="T10" fmla="*/ 27 w 34"/>
                <a:gd name="T11" fmla="*/ 8 h 23"/>
                <a:gd name="T12" fmla="*/ 34 w 34"/>
                <a:gd name="T13" fmla="*/ 9 h 23"/>
                <a:gd name="T14" fmla="*/ 34 w 34"/>
                <a:gd name="T15" fmla="*/ 6 h 23"/>
                <a:gd name="T16" fmla="*/ 21 w 34"/>
                <a:gd name="T17" fmla="*/ 0 h 23"/>
                <a:gd name="T18" fmla="*/ 14 w 34"/>
                <a:gd name="T19" fmla="*/ 1 h 23"/>
                <a:gd name="T20" fmla="*/ 1 w 34"/>
                <a:gd name="T21" fmla="*/ 13 h 23"/>
                <a:gd name="T22" fmla="*/ 5 w 34"/>
                <a:gd name="T2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23">
                  <a:moveTo>
                    <a:pt x="5" y="20"/>
                  </a:moveTo>
                  <a:cubicBezTo>
                    <a:pt x="9" y="21"/>
                    <a:pt x="13" y="22"/>
                    <a:pt x="17" y="23"/>
                  </a:cubicBezTo>
                  <a:cubicBezTo>
                    <a:pt x="21" y="23"/>
                    <a:pt x="20" y="20"/>
                    <a:pt x="21" y="18"/>
                  </a:cubicBezTo>
                  <a:cubicBezTo>
                    <a:pt x="20" y="18"/>
                    <a:pt x="20" y="17"/>
                    <a:pt x="19" y="17"/>
                  </a:cubicBezTo>
                  <a:cubicBezTo>
                    <a:pt x="18" y="14"/>
                    <a:pt x="18" y="11"/>
                    <a:pt x="20" y="10"/>
                  </a:cubicBezTo>
                  <a:cubicBezTo>
                    <a:pt x="22" y="8"/>
                    <a:pt x="24" y="7"/>
                    <a:pt x="27" y="8"/>
                  </a:cubicBezTo>
                  <a:cubicBezTo>
                    <a:pt x="29" y="10"/>
                    <a:pt x="32" y="10"/>
                    <a:pt x="34" y="9"/>
                  </a:cubicBezTo>
                  <a:cubicBezTo>
                    <a:pt x="34" y="8"/>
                    <a:pt x="34" y="7"/>
                    <a:pt x="34" y="6"/>
                  </a:cubicBezTo>
                  <a:cubicBezTo>
                    <a:pt x="30" y="3"/>
                    <a:pt x="26" y="1"/>
                    <a:pt x="21" y="0"/>
                  </a:cubicBezTo>
                  <a:cubicBezTo>
                    <a:pt x="19" y="0"/>
                    <a:pt x="16" y="0"/>
                    <a:pt x="14" y="1"/>
                  </a:cubicBezTo>
                  <a:cubicBezTo>
                    <a:pt x="9" y="4"/>
                    <a:pt x="5" y="8"/>
                    <a:pt x="1" y="13"/>
                  </a:cubicBezTo>
                  <a:cubicBezTo>
                    <a:pt x="0" y="15"/>
                    <a:pt x="1" y="19"/>
                    <a:pt x="5" y="2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63"/>
            <p:cNvSpPr>
              <a:spLocks/>
            </p:cNvSpPr>
            <p:nvPr/>
          </p:nvSpPr>
          <p:spPr bwMode="auto">
            <a:xfrm>
              <a:off x="2427080" y="1495566"/>
              <a:ext cx="0" cy="2718"/>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0"/>
                    <a:pt x="0" y="0"/>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64"/>
            <p:cNvSpPr>
              <a:spLocks/>
            </p:cNvSpPr>
            <p:nvPr/>
          </p:nvSpPr>
          <p:spPr bwMode="auto">
            <a:xfrm>
              <a:off x="2593758" y="1463861"/>
              <a:ext cx="57975" cy="47105"/>
            </a:xfrm>
            <a:custGeom>
              <a:avLst/>
              <a:gdLst>
                <a:gd name="T0" fmla="*/ 2 w 27"/>
                <a:gd name="T1" fmla="*/ 7 h 22"/>
                <a:gd name="T2" fmla="*/ 1 w 27"/>
                <a:gd name="T3" fmla="*/ 10 h 22"/>
                <a:gd name="T4" fmla="*/ 5 w 27"/>
                <a:gd name="T5" fmla="*/ 20 h 22"/>
                <a:gd name="T6" fmla="*/ 11 w 27"/>
                <a:gd name="T7" fmla="*/ 21 h 22"/>
                <a:gd name="T8" fmla="*/ 17 w 27"/>
                <a:gd name="T9" fmla="*/ 18 h 22"/>
                <a:gd name="T10" fmla="*/ 22 w 27"/>
                <a:gd name="T11" fmla="*/ 13 h 22"/>
                <a:gd name="T12" fmla="*/ 25 w 27"/>
                <a:gd name="T13" fmla="*/ 9 h 22"/>
                <a:gd name="T14" fmla="*/ 24 w 27"/>
                <a:gd name="T15" fmla="*/ 3 h 22"/>
                <a:gd name="T16" fmla="*/ 18 w 27"/>
                <a:gd name="T17" fmla="*/ 0 h 22"/>
                <a:gd name="T18" fmla="*/ 15 w 27"/>
                <a:gd name="T19" fmla="*/ 0 h 22"/>
                <a:gd name="T20" fmla="*/ 2 w 27"/>
                <a:gd name="T21"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2">
                  <a:moveTo>
                    <a:pt x="2" y="7"/>
                  </a:moveTo>
                  <a:cubicBezTo>
                    <a:pt x="1" y="7"/>
                    <a:pt x="1" y="9"/>
                    <a:pt x="1" y="10"/>
                  </a:cubicBezTo>
                  <a:cubicBezTo>
                    <a:pt x="0" y="14"/>
                    <a:pt x="2" y="17"/>
                    <a:pt x="5" y="20"/>
                  </a:cubicBezTo>
                  <a:cubicBezTo>
                    <a:pt x="6" y="21"/>
                    <a:pt x="9" y="22"/>
                    <a:pt x="11" y="21"/>
                  </a:cubicBezTo>
                  <a:cubicBezTo>
                    <a:pt x="13" y="20"/>
                    <a:pt x="15" y="18"/>
                    <a:pt x="17" y="18"/>
                  </a:cubicBezTo>
                  <a:cubicBezTo>
                    <a:pt x="20" y="18"/>
                    <a:pt x="21" y="16"/>
                    <a:pt x="22" y="13"/>
                  </a:cubicBezTo>
                  <a:cubicBezTo>
                    <a:pt x="23" y="12"/>
                    <a:pt x="25" y="10"/>
                    <a:pt x="25" y="9"/>
                  </a:cubicBezTo>
                  <a:cubicBezTo>
                    <a:pt x="27" y="6"/>
                    <a:pt x="26" y="4"/>
                    <a:pt x="24" y="3"/>
                  </a:cubicBezTo>
                  <a:cubicBezTo>
                    <a:pt x="22" y="2"/>
                    <a:pt x="20" y="1"/>
                    <a:pt x="18" y="0"/>
                  </a:cubicBezTo>
                  <a:cubicBezTo>
                    <a:pt x="17" y="0"/>
                    <a:pt x="15" y="0"/>
                    <a:pt x="15" y="0"/>
                  </a:cubicBezTo>
                  <a:cubicBezTo>
                    <a:pt x="11" y="4"/>
                    <a:pt x="7" y="6"/>
                    <a:pt x="2" y="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5"/>
            <p:cNvSpPr>
              <a:spLocks/>
            </p:cNvSpPr>
            <p:nvPr/>
          </p:nvSpPr>
          <p:spPr bwMode="auto">
            <a:xfrm>
              <a:off x="2687967" y="1354252"/>
              <a:ext cx="42575" cy="57975"/>
            </a:xfrm>
            <a:custGeom>
              <a:avLst/>
              <a:gdLst>
                <a:gd name="T0" fmla="*/ 9 w 20"/>
                <a:gd name="T1" fmla="*/ 27 h 27"/>
                <a:gd name="T2" fmla="*/ 12 w 20"/>
                <a:gd name="T3" fmla="*/ 26 h 27"/>
                <a:gd name="T4" fmla="*/ 19 w 20"/>
                <a:gd name="T5" fmla="*/ 16 h 27"/>
                <a:gd name="T6" fmla="*/ 20 w 20"/>
                <a:gd name="T7" fmla="*/ 13 h 27"/>
                <a:gd name="T8" fmla="*/ 12 w 20"/>
                <a:gd name="T9" fmla="*/ 0 h 27"/>
                <a:gd name="T10" fmla="*/ 7 w 20"/>
                <a:gd name="T11" fmla="*/ 0 h 27"/>
                <a:gd name="T12" fmla="*/ 1 w 20"/>
                <a:gd name="T13" fmla="*/ 8 h 27"/>
                <a:gd name="T14" fmla="*/ 0 w 20"/>
                <a:gd name="T15" fmla="*/ 12 h 27"/>
                <a:gd name="T16" fmla="*/ 9 w 20"/>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7">
                  <a:moveTo>
                    <a:pt x="9" y="27"/>
                  </a:moveTo>
                  <a:cubicBezTo>
                    <a:pt x="10" y="27"/>
                    <a:pt x="12" y="27"/>
                    <a:pt x="12" y="26"/>
                  </a:cubicBezTo>
                  <a:cubicBezTo>
                    <a:pt x="15" y="23"/>
                    <a:pt x="15" y="18"/>
                    <a:pt x="19" y="16"/>
                  </a:cubicBezTo>
                  <a:cubicBezTo>
                    <a:pt x="20" y="16"/>
                    <a:pt x="20" y="14"/>
                    <a:pt x="20" y="13"/>
                  </a:cubicBezTo>
                  <a:cubicBezTo>
                    <a:pt x="17" y="9"/>
                    <a:pt x="15" y="4"/>
                    <a:pt x="12" y="0"/>
                  </a:cubicBezTo>
                  <a:cubicBezTo>
                    <a:pt x="11" y="0"/>
                    <a:pt x="8" y="0"/>
                    <a:pt x="7" y="0"/>
                  </a:cubicBezTo>
                  <a:cubicBezTo>
                    <a:pt x="5" y="3"/>
                    <a:pt x="3" y="5"/>
                    <a:pt x="1" y="8"/>
                  </a:cubicBezTo>
                  <a:cubicBezTo>
                    <a:pt x="0" y="9"/>
                    <a:pt x="0" y="11"/>
                    <a:pt x="0" y="12"/>
                  </a:cubicBezTo>
                  <a:cubicBezTo>
                    <a:pt x="0" y="20"/>
                    <a:pt x="2" y="24"/>
                    <a:pt x="9" y="2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68"/>
            <p:cNvSpPr>
              <a:spLocks/>
            </p:cNvSpPr>
            <p:nvPr/>
          </p:nvSpPr>
          <p:spPr bwMode="auto">
            <a:xfrm>
              <a:off x="4987941" y="4888911"/>
              <a:ext cx="94209" cy="29893"/>
            </a:xfrm>
            <a:custGeom>
              <a:avLst/>
              <a:gdLst>
                <a:gd name="T0" fmla="*/ 1 w 44"/>
                <a:gd name="T1" fmla="*/ 10 h 14"/>
                <a:gd name="T2" fmla="*/ 11 w 44"/>
                <a:gd name="T3" fmla="*/ 13 h 14"/>
                <a:gd name="T4" fmla="*/ 17 w 44"/>
                <a:gd name="T5" fmla="*/ 14 h 14"/>
                <a:gd name="T6" fmla="*/ 43 w 44"/>
                <a:gd name="T7" fmla="*/ 9 h 14"/>
                <a:gd name="T8" fmla="*/ 43 w 44"/>
                <a:gd name="T9" fmla="*/ 7 h 14"/>
                <a:gd name="T10" fmla="*/ 27 w 44"/>
                <a:gd name="T11" fmla="*/ 1 h 14"/>
                <a:gd name="T12" fmla="*/ 25 w 44"/>
                <a:gd name="T13" fmla="*/ 3 h 14"/>
                <a:gd name="T14" fmla="*/ 24 w 44"/>
                <a:gd name="T15" fmla="*/ 5 h 14"/>
                <a:gd name="T16" fmla="*/ 6 w 44"/>
                <a:gd name="T17" fmla="*/ 4 h 14"/>
                <a:gd name="T18" fmla="*/ 1 w 44"/>
                <a:gd name="T19" fmla="*/ 6 h 14"/>
                <a:gd name="T20" fmla="*/ 1 w 44"/>
                <a:gd name="T21"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4">
                  <a:moveTo>
                    <a:pt x="1" y="10"/>
                  </a:moveTo>
                  <a:cubicBezTo>
                    <a:pt x="5" y="11"/>
                    <a:pt x="8" y="12"/>
                    <a:pt x="11" y="13"/>
                  </a:cubicBezTo>
                  <a:cubicBezTo>
                    <a:pt x="13" y="14"/>
                    <a:pt x="15" y="14"/>
                    <a:pt x="17" y="14"/>
                  </a:cubicBezTo>
                  <a:cubicBezTo>
                    <a:pt x="26" y="13"/>
                    <a:pt x="34" y="12"/>
                    <a:pt x="43" y="9"/>
                  </a:cubicBezTo>
                  <a:cubicBezTo>
                    <a:pt x="44" y="9"/>
                    <a:pt x="44" y="8"/>
                    <a:pt x="43" y="7"/>
                  </a:cubicBezTo>
                  <a:cubicBezTo>
                    <a:pt x="39" y="2"/>
                    <a:pt x="34" y="0"/>
                    <a:pt x="27" y="1"/>
                  </a:cubicBezTo>
                  <a:cubicBezTo>
                    <a:pt x="27" y="1"/>
                    <a:pt x="26" y="2"/>
                    <a:pt x="25" y="3"/>
                  </a:cubicBezTo>
                  <a:cubicBezTo>
                    <a:pt x="25" y="4"/>
                    <a:pt x="24" y="4"/>
                    <a:pt x="24" y="5"/>
                  </a:cubicBezTo>
                  <a:cubicBezTo>
                    <a:pt x="18" y="2"/>
                    <a:pt x="12" y="6"/>
                    <a:pt x="6" y="4"/>
                  </a:cubicBezTo>
                  <a:cubicBezTo>
                    <a:pt x="4" y="3"/>
                    <a:pt x="2" y="4"/>
                    <a:pt x="1" y="6"/>
                  </a:cubicBezTo>
                  <a:cubicBezTo>
                    <a:pt x="0" y="8"/>
                    <a:pt x="0" y="10"/>
                    <a:pt x="1" y="1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69"/>
            <p:cNvSpPr>
              <a:spLocks/>
            </p:cNvSpPr>
            <p:nvPr/>
          </p:nvSpPr>
          <p:spPr bwMode="auto">
            <a:xfrm>
              <a:off x="5099362" y="4891629"/>
              <a:ext cx="96021" cy="23552"/>
            </a:xfrm>
            <a:custGeom>
              <a:avLst/>
              <a:gdLst>
                <a:gd name="T0" fmla="*/ 38 w 45"/>
                <a:gd name="T1" fmla="*/ 8 h 11"/>
                <a:gd name="T2" fmla="*/ 42 w 45"/>
                <a:gd name="T3" fmla="*/ 6 h 11"/>
                <a:gd name="T4" fmla="*/ 44 w 45"/>
                <a:gd name="T5" fmla="*/ 4 h 11"/>
                <a:gd name="T6" fmla="*/ 43 w 45"/>
                <a:gd name="T7" fmla="*/ 1 h 11"/>
                <a:gd name="T8" fmla="*/ 42 w 45"/>
                <a:gd name="T9" fmla="*/ 0 h 11"/>
                <a:gd name="T10" fmla="*/ 28 w 45"/>
                <a:gd name="T11" fmla="*/ 3 h 11"/>
                <a:gd name="T12" fmla="*/ 13 w 45"/>
                <a:gd name="T13" fmla="*/ 1 h 11"/>
                <a:gd name="T14" fmla="*/ 12 w 45"/>
                <a:gd name="T15" fmla="*/ 0 h 11"/>
                <a:gd name="T16" fmla="*/ 1 w 45"/>
                <a:gd name="T17" fmla="*/ 4 h 11"/>
                <a:gd name="T18" fmla="*/ 0 w 45"/>
                <a:gd name="T19" fmla="*/ 7 h 11"/>
                <a:gd name="T20" fmla="*/ 2 w 45"/>
                <a:gd name="T21" fmla="*/ 9 h 11"/>
                <a:gd name="T22" fmla="*/ 15 w 45"/>
                <a:gd name="T23" fmla="*/ 11 h 11"/>
                <a:gd name="T24" fmla="*/ 38 w 45"/>
                <a:gd name="T25"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1">
                  <a:moveTo>
                    <a:pt x="38" y="8"/>
                  </a:moveTo>
                  <a:cubicBezTo>
                    <a:pt x="39" y="8"/>
                    <a:pt x="41" y="7"/>
                    <a:pt x="42" y="6"/>
                  </a:cubicBezTo>
                  <a:cubicBezTo>
                    <a:pt x="43" y="5"/>
                    <a:pt x="43" y="4"/>
                    <a:pt x="44" y="4"/>
                  </a:cubicBezTo>
                  <a:cubicBezTo>
                    <a:pt x="45" y="2"/>
                    <a:pt x="44" y="2"/>
                    <a:pt x="43" y="1"/>
                  </a:cubicBezTo>
                  <a:cubicBezTo>
                    <a:pt x="43" y="1"/>
                    <a:pt x="42" y="0"/>
                    <a:pt x="42" y="0"/>
                  </a:cubicBezTo>
                  <a:cubicBezTo>
                    <a:pt x="37" y="1"/>
                    <a:pt x="33" y="4"/>
                    <a:pt x="28" y="3"/>
                  </a:cubicBezTo>
                  <a:cubicBezTo>
                    <a:pt x="23" y="2"/>
                    <a:pt x="18" y="1"/>
                    <a:pt x="13" y="1"/>
                  </a:cubicBezTo>
                  <a:cubicBezTo>
                    <a:pt x="13" y="1"/>
                    <a:pt x="12" y="1"/>
                    <a:pt x="12" y="0"/>
                  </a:cubicBezTo>
                  <a:cubicBezTo>
                    <a:pt x="8" y="0"/>
                    <a:pt x="4" y="1"/>
                    <a:pt x="1" y="4"/>
                  </a:cubicBezTo>
                  <a:cubicBezTo>
                    <a:pt x="0" y="5"/>
                    <a:pt x="0" y="6"/>
                    <a:pt x="0" y="7"/>
                  </a:cubicBezTo>
                  <a:cubicBezTo>
                    <a:pt x="0" y="8"/>
                    <a:pt x="1" y="9"/>
                    <a:pt x="2" y="9"/>
                  </a:cubicBezTo>
                  <a:cubicBezTo>
                    <a:pt x="6" y="10"/>
                    <a:pt x="11" y="11"/>
                    <a:pt x="15" y="11"/>
                  </a:cubicBezTo>
                  <a:cubicBezTo>
                    <a:pt x="23" y="10"/>
                    <a:pt x="30" y="9"/>
                    <a:pt x="38" y="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71"/>
            <p:cNvSpPr>
              <a:spLocks/>
            </p:cNvSpPr>
            <p:nvPr/>
          </p:nvSpPr>
          <p:spPr bwMode="auto">
            <a:xfrm>
              <a:off x="3945299" y="1647750"/>
              <a:ext cx="42575" cy="38952"/>
            </a:xfrm>
            <a:custGeom>
              <a:avLst/>
              <a:gdLst>
                <a:gd name="T0" fmla="*/ 1 w 20"/>
                <a:gd name="T1" fmla="*/ 10 h 18"/>
                <a:gd name="T2" fmla="*/ 6 w 20"/>
                <a:gd name="T3" fmla="*/ 17 h 18"/>
                <a:gd name="T4" fmla="*/ 11 w 20"/>
                <a:gd name="T5" fmla="*/ 18 h 18"/>
                <a:gd name="T6" fmla="*/ 12 w 20"/>
                <a:gd name="T7" fmla="*/ 18 h 18"/>
                <a:gd name="T8" fmla="*/ 19 w 20"/>
                <a:gd name="T9" fmla="*/ 11 h 18"/>
                <a:gd name="T10" fmla="*/ 16 w 20"/>
                <a:gd name="T11" fmla="*/ 2 h 18"/>
                <a:gd name="T12" fmla="*/ 10 w 20"/>
                <a:gd name="T13" fmla="*/ 1 h 18"/>
                <a:gd name="T14" fmla="*/ 2 w 20"/>
                <a:gd name="T15" fmla="*/ 4 h 18"/>
                <a:gd name="T16" fmla="*/ 0 w 20"/>
                <a:gd name="T17" fmla="*/ 9 h 18"/>
                <a:gd name="T18" fmla="*/ 1 w 20"/>
                <a:gd name="T19"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8">
                  <a:moveTo>
                    <a:pt x="1" y="10"/>
                  </a:moveTo>
                  <a:cubicBezTo>
                    <a:pt x="0" y="14"/>
                    <a:pt x="3" y="16"/>
                    <a:pt x="6" y="17"/>
                  </a:cubicBezTo>
                  <a:cubicBezTo>
                    <a:pt x="8" y="17"/>
                    <a:pt x="9" y="17"/>
                    <a:pt x="11" y="18"/>
                  </a:cubicBezTo>
                  <a:cubicBezTo>
                    <a:pt x="11" y="18"/>
                    <a:pt x="12" y="18"/>
                    <a:pt x="12" y="18"/>
                  </a:cubicBezTo>
                  <a:cubicBezTo>
                    <a:pt x="17" y="18"/>
                    <a:pt x="20" y="15"/>
                    <a:pt x="19" y="11"/>
                  </a:cubicBezTo>
                  <a:cubicBezTo>
                    <a:pt x="19" y="8"/>
                    <a:pt x="17" y="5"/>
                    <a:pt x="16" y="2"/>
                  </a:cubicBezTo>
                  <a:cubicBezTo>
                    <a:pt x="14" y="1"/>
                    <a:pt x="12" y="0"/>
                    <a:pt x="10" y="1"/>
                  </a:cubicBezTo>
                  <a:cubicBezTo>
                    <a:pt x="7" y="1"/>
                    <a:pt x="5" y="2"/>
                    <a:pt x="2" y="4"/>
                  </a:cubicBezTo>
                  <a:cubicBezTo>
                    <a:pt x="0" y="5"/>
                    <a:pt x="0" y="6"/>
                    <a:pt x="0" y="9"/>
                  </a:cubicBezTo>
                  <a:cubicBezTo>
                    <a:pt x="0" y="9"/>
                    <a:pt x="1" y="10"/>
                    <a:pt x="1" y="1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172"/>
            <p:cNvSpPr>
              <a:spLocks/>
            </p:cNvSpPr>
            <p:nvPr/>
          </p:nvSpPr>
          <p:spPr bwMode="auto">
            <a:xfrm>
              <a:off x="1816531" y="3377034"/>
              <a:ext cx="32611" cy="48916"/>
            </a:xfrm>
            <a:custGeom>
              <a:avLst/>
              <a:gdLst>
                <a:gd name="T0" fmla="*/ 11 w 15"/>
                <a:gd name="T1" fmla="*/ 21 h 23"/>
                <a:gd name="T2" fmla="*/ 13 w 15"/>
                <a:gd name="T3" fmla="*/ 17 h 23"/>
                <a:gd name="T4" fmla="*/ 15 w 15"/>
                <a:gd name="T5" fmla="*/ 9 h 23"/>
                <a:gd name="T6" fmla="*/ 14 w 15"/>
                <a:gd name="T7" fmla="*/ 5 h 23"/>
                <a:gd name="T8" fmla="*/ 14 w 15"/>
                <a:gd name="T9" fmla="*/ 3 h 23"/>
                <a:gd name="T10" fmla="*/ 9 w 15"/>
                <a:gd name="T11" fmla="*/ 0 h 23"/>
                <a:gd name="T12" fmla="*/ 4 w 15"/>
                <a:gd name="T13" fmla="*/ 3 h 23"/>
                <a:gd name="T14" fmla="*/ 1 w 15"/>
                <a:gd name="T15" fmla="*/ 10 h 23"/>
                <a:gd name="T16" fmla="*/ 5 w 15"/>
                <a:gd name="T17" fmla="*/ 21 h 23"/>
                <a:gd name="T18" fmla="*/ 11 w 15"/>
                <a:gd name="T19"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3">
                  <a:moveTo>
                    <a:pt x="11" y="21"/>
                  </a:moveTo>
                  <a:cubicBezTo>
                    <a:pt x="12" y="20"/>
                    <a:pt x="13" y="18"/>
                    <a:pt x="13" y="17"/>
                  </a:cubicBezTo>
                  <a:cubicBezTo>
                    <a:pt x="14" y="14"/>
                    <a:pt x="14" y="11"/>
                    <a:pt x="15" y="9"/>
                  </a:cubicBezTo>
                  <a:cubicBezTo>
                    <a:pt x="14" y="7"/>
                    <a:pt x="14" y="6"/>
                    <a:pt x="14" y="5"/>
                  </a:cubicBezTo>
                  <a:cubicBezTo>
                    <a:pt x="14" y="4"/>
                    <a:pt x="14" y="4"/>
                    <a:pt x="14" y="3"/>
                  </a:cubicBezTo>
                  <a:cubicBezTo>
                    <a:pt x="14" y="1"/>
                    <a:pt x="12" y="0"/>
                    <a:pt x="9" y="0"/>
                  </a:cubicBezTo>
                  <a:cubicBezTo>
                    <a:pt x="7" y="1"/>
                    <a:pt x="5" y="2"/>
                    <a:pt x="4" y="3"/>
                  </a:cubicBezTo>
                  <a:cubicBezTo>
                    <a:pt x="1" y="5"/>
                    <a:pt x="0" y="7"/>
                    <a:pt x="1" y="10"/>
                  </a:cubicBezTo>
                  <a:cubicBezTo>
                    <a:pt x="1" y="14"/>
                    <a:pt x="3" y="18"/>
                    <a:pt x="5" y="21"/>
                  </a:cubicBezTo>
                  <a:cubicBezTo>
                    <a:pt x="6" y="23"/>
                    <a:pt x="10" y="23"/>
                    <a:pt x="11" y="2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74"/>
            <p:cNvSpPr>
              <a:spLocks/>
            </p:cNvSpPr>
            <p:nvPr/>
          </p:nvSpPr>
          <p:spPr bwMode="auto">
            <a:xfrm>
              <a:off x="5075810" y="4923334"/>
              <a:ext cx="51634" cy="29893"/>
            </a:xfrm>
            <a:custGeom>
              <a:avLst/>
              <a:gdLst>
                <a:gd name="T0" fmla="*/ 1 w 24"/>
                <a:gd name="T1" fmla="*/ 6 h 14"/>
                <a:gd name="T2" fmla="*/ 15 w 24"/>
                <a:gd name="T3" fmla="*/ 13 h 14"/>
                <a:gd name="T4" fmla="*/ 20 w 24"/>
                <a:gd name="T5" fmla="*/ 13 h 14"/>
                <a:gd name="T6" fmla="*/ 23 w 24"/>
                <a:gd name="T7" fmla="*/ 9 h 14"/>
                <a:gd name="T8" fmla="*/ 21 w 24"/>
                <a:gd name="T9" fmla="*/ 6 h 14"/>
                <a:gd name="T10" fmla="*/ 5 w 24"/>
                <a:gd name="T11" fmla="*/ 0 h 14"/>
                <a:gd name="T12" fmla="*/ 1 w 24"/>
                <a:gd name="T13" fmla="*/ 1 h 14"/>
                <a:gd name="T14" fmla="*/ 0 w 24"/>
                <a:gd name="T15" fmla="*/ 4 h 14"/>
                <a:gd name="T16" fmla="*/ 1 w 24"/>
                <a:gd name="T17"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4">
                  <a:moveTo>
                    <a:pt x="1" y="6"/>
                  </a:moveTo>
                  <a:cubicBezTo>
                    <a:pt x="6" y="8"/>
                    <a:pt x="10" y="11"/>
                    <a:pt x="15" y="13"/>
                  </a:cubicBezTo>
                  <a:cubicBezTo>
                    <a:pt x="17" y="14"/>
                    <a:pt x="19" y="13"/>
                    <a:pt x="20" y="13"/>
                  </a:cubicBezTo>
                  <a:cubicBezTo>
                    <a:pt x="22" y="13"/>
                    <a:pt x="24" y="10"/>
                    <a:pt x="23" y="9"/>
                  </a:cubicBezTo>
                  <a:cubicBezTo>
                    <a:pt x="22" y="8"/>
                    <a:pt x="21" y="7"/>
                    <a:pt x="21" y="6"/>
                  </a:cubicBezTo>
                  <a:cubicBezTo>
                    <a:pt x="17" y="2"/>
                    <a:pt x="12" y="0"/>
                    <a:pt x="5" y="0"/>
                  </a:cubicBezTo>
                  <a:cubicBezTo>
                    <a:pt x="4" y="0"/>
                    <a:pt x="3" y="0"/>
                    <a:pt x="1" y="1"/>
                  </a:cubicBezTo>
                  <a:cubicBezTo>
                    <a:pt x="1" y="1"/>
                    <a:pt x="0" y="3"/>
                    <a:pt x="0" y="4"/>
                  </a:cubicBezTo>
                  <a:cubicBezTo>
                    <a:pt x="0" y="4"/>
                    <a:pt x="0" y="6"/>
                    <a:pt x="1"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77"/>
            <p:cNvSpPr>
              <a:spLocks/>
            </p:cNvSpPr>
            <p:nvPr/>
          </p:nvSpPr>
          <p:spPr bwMode="auto">
            <a:xfrm>
              <a:off x="4540447" y="1482884"/>
              <a:ext cx="28082" cy="32611"/>
            </a:xfrm>
            <a:custGeom>
              <a:avLst/>
              <a:gdLst>
                <a:gd name="T0" fmla="*/ 7 w 13"/>
                <a:gd name="T1" fmla="*/ 0 h 15"/>
                <a:gd name="T2" fmla="*/ 2 w 13"/>
                <a:gd name="T3" fmla="*/ 1 h 15"/>
                <a:gd name="T4" fmla="*/ 1 w 13"/>
                <a:gd name="T5" fmla="*/ 5 h 15"/>
                <a:gd name="T6" fmla="*/ 8 w 13"/>
                <a:gd name="T7" fmla="*/ 14 h 15"/>
                <a:gd name="T8" fmla="*/ 12 w 13"/>
                <a:gd name="T9" fmla="*/ 13 h 15"/>
                <a:gd name="T10" fmla="*/ 13 w 13"/>
                <a:gd name="T11" fmla="*/ 9 h 15"/>
                <a:gd name="T12" fmla="*/ 7 w 13"/>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7" y="0"/>
                  </a:moveTo>
                  <a:cubicBezTo>
                    <a:pt x="6" y="0"/>
                    <a:pt x="3" y="0"/>
                    <a:pt x="2" y="1"/>
                  </a:cubicBezTo>
                  <a:cubicBezTo>
                    <a:pt x="1" y="2"/>
                    <a:pt x="0" y="4"/>
                    <a:pt x="1" y="5"/>
                  </a:cubicBezTo>
                  <a:cubicBezTo>
                    <a:pt x="1" y="9"/>
                    <a:pt x="4" y="12"/>
                    <a:pt x="8" y="14"/>
                  </a:cubicBezTo>
                  <a:cubicBezTo>
                    <a:pt x="9" y="15"/>
                    <a:pt x="11" y="14"/>
                    <a:pt x="12" y="13"/>
                  </a:cubicBezTo>
                  <a:cubicBezTo>
                    <a:pt x="13" y="11"/>
                    <a:pt x="13" y="10"/>
                    <a:pt x="13" y="9"/>
                  </a:cubicBezTo>
                  <a:cubicBezTo>
                    <a:pt x="13" y="4"/>
                    <a:pt x="10" y="2"/>
                    <a:pt x="7"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78"/>
            <p:cNvSpPr>
              <a:spLocks/>
            </p:cNvSpPr>
            <p:nvPr/>
          </p:nvSpPr>
          <p:spPr bwMode="auto">
            <a:xfrm>
              <a:off x="1782109" y="1688514"/>
              <a:ext cx="28082" cy="38952"/>
            </a:xfrm>
            <a:custGeom>
              <a:avLst/>
              <a:gdLst>
                <a:gd name="T0" fmla="*/ 2 w 13"/>
                <a:gd name="T1" fmla="*/ 0 h 18"/>
                <a:gd name="T2" fmla="*/ 0 w 13"/>
                <a:gd name="T3" fmla="*/ 2 h 18"/>
                <a:gd name="T4" fmla="*/ 12 w 13"/>
                <a:gd name="T5" fmla="*/ 18 h 18"/>
                <a:gd name="T6" fmla="*/ 13 w 13"/>
                <a:gd name="T7" fmla="*/ 17 h 18"/>
                <a:gd name="T8" fmla="*/ 13 w 13"/>
                <a:gd name="T9" fmla="*/ 16 h 18"/>
                <a:gd name="T10" fmla="*/ 3 w 13"/>
                <a:gd name="T11" fmla="*/ 0 h 18"/>
                <a:gd name="T12" fmla="*/ 2 w 13"/>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2" y="0"/>
                  </a:moveTo>
                  <a:cubicBezTo>
                    <a:pt x="1" y="0"/>
                    <a:pt x="0" y="1"/>
                    <a:pt x="0" y="2"/>
                  </a:cubicBezTo>
                  <a:cubicBezTo>
                    <a:pt x="1" y="9"/>
                    <a:pt x="5" y="14"/>
                    <a:pt x="12" y="18"/>
                  </a:cubicBezTo>
                  <a:cubicBezTo>
                    <a:pt x="12" y="18"/>
                    <a:pt x="12" y="18"/>
                    <a:pt x="13" y="17"/>
                  </a:cubicBezTo>
                  <a:cubicBezTo>
                    <a:pt x="13" y="17"/>
                    <a:pt x="13" y="16"/>
                    <a:pt x="13" y="16"/>
                  </a:cubicBezTo>
                  <a:cubicBezTo>
                    <a:pt x="11" y="10"/>
                    <a:pt x="6" y="6"/>
                    <a:pt x="3" y="0"/>
                  </a:cubicBezTo>
                  <a:cubicBezTo>
                    <a:pt x="3" y="0"/>
                    <a:pt x="2" y="0"/>
                    <a:pt x="2"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83"/>
            <p:cNvSpPr>
              <a:spLocks/>
            </p:cNvSpPr>
            <p:nvPr/>
          </p:nvSpPr>
          <p:spPr bwMode="auto">
            <a:xfrm>
              <a:off x="6180957" y="6362743"/>
              <a:ext cx="23552" cy="23552"/>
            </a:xfrm>
            <a:custGeom>
              <a:avLst/>
              <a:gdLst>
                <a:gd name="T0" fmla="*/ 5 w 11"/>
                <a:gd name="T1" fmla="*/ 1 h 11"/>
                <a:gd name="T2" fmla="*/ 0 w 11"/>
                <a:gd name="T3" fmla="*/ 10 h 11"/>
                <a:gd name="T4" fmla="*/ 1 w 11"/>
                <a:gd name="T5" fmla="*/ 11 h 11"/>
                <a:gd name="T6" fmla="*/ 8 w 11"/>
                <a:gd name="T7" fmla="*/ 10 h 11"/>
                <a:gd name="T8" fmla="*/ 9 w 11"/>
                <a:gd name="T9" fmla="*/ 2 h 11"/>
                <a:gd name="T10" fmla="*/ 5 w 11"/>
                <a:gd name="T11" fmla="*/ 1 h 11"/>
              </a:gdLst>
              <a:ahLst/>
              <a:cxnLst>
                <a:cxn ang="0">
                  <a:pos x="T0" y="T1"/>
                </a:cxn>
                <a:cxn ang="0">
                  <a:pos x="T2" y="T3"/>
                </a:cxn>
                <a:cxn ang="0">
                  <a:pos x="T4" y="T5"/>
                </a:cxn>
                <a:cxn ang="0">
                  <a:pos x="T6" y="T7"/>
                </a:cxn>
                <a:cxn ang="0">
                  <a:pos x="T8" y="T9"/>
                </a:cxn>
                <a:cxn ang="0">
                  <a:pos x="T10" y="T11"/>
                </a:cxn>
              </a:cxnLst>
              <a:rect l="0" t="0" r="r" b="b"/>
              <a:pathLst>
                <a:path w="11" h="11">
                  <a:moveTo>
                    <a:pt x="5" y="1"/>
                  </a:moveTo>
                  <a:cubicBezTo>
                    <a:pt x="3" y="4"/>
                    <a:pt x="0" y="6"/>
                    <a:pt x="0" y="10"/>
                  </a:cubicBezTo>
                  <a:cubicBezTo>
                    <a:pt x="1" y="11"/>
                    <a:pt x="1" y="11"/>
                    <a:pt x="1" y="11"/>
                  </a:cubicBezTo>
                  <a:cubicBezTo>
                    <a:pt x="3" y="11"/>
                    <a:pt x="6" y="11"/>
                    <a:pt x="8" y="10"/>
                  </a:cubicBezTo>
                  <a:cubicBezTo>
                    <a:pt x="11" y="8"/>
                    <a:pt x="11" y="5"/>
                    <a:pt x="9" y="2"/>
                  </a:cubicBezTo>
                  <a:cubicBezTo>
                    <a:pt x="9" y="1"/>
                    <a:pt x="6" y="0"/>
                    <a:pt x="5"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86"/>
            <p:cNvSpPr>
              <a:spLocks/>
            </p:cNvSpPr>
            <p:nvPr/>
          </p:nvSpPr>
          <p:spPr bwMode="auto">
            <a:xfrm>
              <a:off x="2546653" y="1470202"/>
              <a:ext cx="28082" cy="19023"/>
            </a:xfrm>
            <a:custGeom>
              <a:avLst/>
              <a:gdLst>
                <a:gd name="T0" fmla="*/ 10 w 13"/>
                <a:gd name="T1" fmla="*/ 1 h 9"/>
                <a:gd name="T2" fmla="*/ 5 w 13"/>
                <a:gd name="T3" fmla="*/ 0 h 9"/>
                <a:gd name="T4" fmla="*/ 2 w 13"/>
                <a:gd name="T5" fmla="*/ 1 h 9"/>
                <a:gd name="T6" fmla="*/ 0 w 13"/>
                <a:gd name="T7" fmla="*/ 4 h 9"/>
                <a:gd name="T8" fmla="*/ 2 w 13"/>
                <a:gd name="T9" fmla="*/ 6 h 9"/>
                <a:gd name="T10" fmla="*/ 13 w 13"/>
                <a:gd name="T11" fmla="*/ 9 h 9"/>
                <a:gd name="T12" fmla="*/ 13 w 13"/>
                <a:gd name="T13" fmla="*/ 5 h 9"/>
                <a:gd name="T14" fmla="*/ 10 w 13"/>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
                  <a:moveTo>
                    <a:pt x="10" y="1"/>
                  </a:moveTo>
                  <a:cubicBezTo>
                    <a:pt x="8" y="1"/>
                    <a:pt x="7" y="1"/>
                    <a:pt x="5" y="0"/>
                  </a:cubicBezTo>
                  <a:cubicBezTo>
                    <a:pt x="4" y="0"/>
                    <a:pt x="3" y="1"/>
                    <a:pt x="2" y="1"/>
                  </a:cubicBezTo>
                  <a:cubicBezTo>
                    <a:pt x="1" y="2"/>
                    <a:pt x="1" y="3"/>
                    <a:pt x="0" y="4"/>
                  </a:cubicBezTo>
                  <a:cubicBezTo>
                    <a:pt x="0" y="5"/>
                    <a:pt x="0" y="6"/>
                    <a:pt x="2" y="6"/>
                  </a:cubicBezTo>
                  <a:cubicBezTo>
                    <a:pt x="6" y="6"/>
                    <a:pt x="10" y="8"/>
                    <a:pt x="13" y="9"/>
                  </a:cubicBezTo>
                  <a:cubicBezTo>
                    <a:pt x="13" y="8"/>
                    <a:pt x="13" y="6"/>
                    <a:pt x="13" y="5"/>
                  </a:cubicBezTo>
                  <a:cubicBezTo>
                    <a:pt x="13" y="2"/>
                    <a:pt x="13" y="2"/>
                    <a:pt x="1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87"/>
            <p:cNvSpPr>
              <a:spLocks/>
            </p:cNvSpPr>
            <p:nvPr/>
          </p:nvSpPr>
          <p:spPr bwMode="auto">
            <a:xfrm>
              <a:off x="2574735" y="1489225"/>
              <a:ext cx="1812" cy="2718"/>
            </a:xfrm>
            <a:custGeom>
              <a:avLst/>
              <a:gdLst>
                <a:gd name="T0" fmla="*/ 0 w 1"/>
                <a:gd name="T1" fmla="*/ 0 h 1"/>
                <a:gd name="T2" fmla="*/ 0 w 1"/>
                <a:gd name="T3" fmla="*/ 1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1" y="1"/>
                    <a:pt x="1" y="0"/>
                    <a:pt x="1" y="0"/>
                  </a:cubicBezTo>
                  <a:cubicBezTo>
                    <a:pt x="1" y="0"/>
                    <a:pt x="1" y="0"/>
                    <a:pt x="1" y="0"/>
                  </a:cubicBezTo>
                  <a:cubicBezTo>
                    <a:pt x="1" y="0"/>
                    <a:pt x="1"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91"/>
            <p:cNvSpPr>
              <a:spLocks/>
            </p:cNvSpPr>
            <p:nvPr/>
          </p:nvSpPr>
          <p:spPr bwMode="auto">
            <a:xfrm>
              <a:off x="5612984" y="3149663"/>
              <a:ext cx="2718" cy="1812"/>
            </a:xfrm>
            <a:custGeom>
              <a:avLst/>
              <a:gdLst>
                <a:gd name="T0" fmla="*/ 1 w 1"/>
                <a:gd name="T1" fmla="*/ 0 h 1"/>
                <a:gd name="T2" fmla="*/ 0 w 1"/>
                <a:gd name="T3" fmla="*/ 0 h 1"/>
                <a:gd name="T4" fmla="*/ 0 w 1"/>
                <a:gd name="T5" fmla="*/ 0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0" y="0"/>
                  </a:cubicBezTo>
                  <a:cubicBezTo>
                    <a:pt x="0" y="0"/>
                    <a:pt x="0" y="0"/>
                    <a:pt x="0" y="0"/>
                  </a:cubicBezTo>
                  <a:cubicBezTo>
                    <a:pt x="1" y="0"/>
                    <a:pt x="1" y="1"/>
                    <a:pt x="1" y="1"/>
                  </a:cubicBezTo>
                  <a:cubicBezTo>
                    <a:pt x="1"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92"/>
            <p:cNvSpPr>
              <a:spLocks/>
            </p:cNvSpPr>
            <p:nvPr/>
          </p:nvSpPr>
          <p:spPr bwMode="auto">
            <a:xfrm>
              <a:off x="5612984" y="3119770"/>
              <a:ext cx="19929" cy="29893"/>
            </a:xfrm>
            <a:custGeom>
              <a:avLst/>
              <a:gdLst>
                <a:gd name="T0" fmla="*/ 8 w 9"/>
                <a:gd name="T1" fmla="*/ 1 h 14"/>
                <a:gd name="T2" fmla="*/ 5 w 9"/>
                <a:gd name="T3" fmla="*/ 0 h 14"/>
                <a:gd name="T4" fmla="*/ 3 w 9"/>
                <a:gd name="T5" fmla="*/ 3 h 14"/>
                <a:gd name="T6" fmla="*/ 1 w 9"/>
                <a:gd name="T7" fmla="*/ 14 h 14"/>
                <a:gd name="T8" fmla="*/ 9 w 9"/>
                <a:gd name="T9" fmla="*/ 2 h 14"/>
                <a:gd name="T10" fmla="*/ 8 w 9"/>
                <a:gd name="T11" fmla="*/ 1 h 14"/>
              </a:gdLst>
              <a:ahLst/>
              <a:cxnLst>
                <a:cxn ang="0">
                  <a:pos x="T0" y="T1"/>
                </a:cxn>
                <a:cxn ang="0">
                  <a:pos x="T2" y="T3"/>
                </a:cxn>
                <a:cxn ang="0">
                  <a:pos x="T4" y="T5"/>
                </a:cxn>
                <a:cxn ang="0">
                  <a:pos x="T6" y="T7"/>
                </a:cxn>
                <a:cxn ang="0">
                  <a:pos x="T8" y="T9"/>
                </a:cxn>
                <a:cxn ang="0">
                  <a:pos x="T10" y="T11"/>
                </a:cxn>
              </a:cxnLst>
              <a:rect l="0" t="0" r="r" b="b"/>
              <a:pathLst>
                <a:path w="9" h="14">
                  <a:moveTo>
                    <a:pt x="8" y="1"/>
                  </a:moveTo>
                  <a:cubicBezTo>
                    <a:pt x="7" y="0"/>
                    <a:pt x="6" y="0"/>
                    <a:pt x="5" y="0"/>
                  </a:cubicBezTo>
                  <a:cubicBezTo>
                    <a:pt x="4" y="1"/>
                    <a:pt x="4" y="2"/>
                    <a:pt x="3" y="3"/>
                  </a:cubicBezTo>
                  <a:cubicBezTo>
                    <a:pt x="1" y="6"/>
                    <a:pt x="0" y="10"/>
                    <a:pt x="1" y="14"/>
                  </a:cubicBezTo>
                  <a:cubicBezTo>
                    <a:pt x="6" y="10"/>
                    <a:pt x="8" y="6"/>
                    <a:pt x="9" y="2"/>
                  </a:cubicBezTo>
                  <a:cubicBezTo>
                    <a:pt x="9" y="2"/>
                    <a:pt x="9" y="1"/>
                    <a:pt x="8"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94"/>
            <p:cNvSpPr>
              <a:spLocks/>
            </p:cNvSpPr>
            <p:nvPr/>
          </p:nvSpPr>
          <p:spPr bwMode="auto">
            <a:xfrm>
              <a:off x="2544842" y="1498283"/>
              <a:ext cx="29893" cy="14494"/>
            </a:xfrm>
            <a:custGeom>
              <a:avLst/>
              <a:gdLst>
                <a:gd name="T0" fmla="*/ 5 w 14"/>
                <a:gd name="T1" fmla="*/ 7 h 7"/>
                <a:gd name="T2" fmla="*/ 14 w 14"/>
                <a:gd name="T3" fmla="*/ 0 h 7"/>
                <a:gd name="T4" fmla="*/ 4 w 14"/>
                <a:gd name="T5" fmla="*/ 0 h 7"/>
                <a:gd name="T6" fmla="*/ 0 w 14"/>
                <a:gd name="T7" fmla="*/ 4 h 7"/>
                <a:gd name="T8" fmla="*/ 2 w 14"/>
                <a:gd name="T9" fmla="*/ 7 h 7"/>
                <a:gd name="T10" fmla="*/ 5 w 14"/>
                <a:gd name="T11" fmla="*/ 7 h 7"/>
              </a:gdLst>
              <a:ahLst/>
              <a:cxnLst>
                <a:cxn ang="0">
                  <a:pos x="T0" y="T1"/>
                </a:cxn>
                <a:cxn ang="0">
                  <a:pos x="T2" y="T3"/>
                </a:cxn>
                <a:cxn ang="0">
                  <a:pos x="T4" y="T5"/>
                </a:cxn>
                <a:cxn ang="0">
                  <a:pos x="T6" y="T7"/>
                </a:cxn>
                <a:cxn ang="0">
                  <a:pos x="T8" y="T9"/>
                </a:cxn>
                <a:cxn ang="0">
                  <a:pos x="T10" y="T11"/>
                </a:cxn>
              </a:cxnLst>
              <a:rect l="0" t="0" r="r" b="b"/>
              <a:pathLst>
                <a:path w="14" h="7">
                  <a:moveTo>
                    <a:pt x="5" y="7"/>
                  </a:moveTo>
                  <a:cubicBezTo>
                    <a:pt x="8" y="5"/>
                    <a:pt x="11" y="2"/>
                    <a:pt x="14" y="0"/>
                  </a:cubicBezTo>
                  <a:cubicBezTo>
                    <a:pt x="10" y="0"/>
                    <a:pt x="7" y="0"/>
                    <a:pt x="4" y="0"/>
                  </a:cubicBezTo>
                  <a:cubicBezTo>
                    <a:pt x="2" y="0"/>
                    <a:pt x="0" y="2"/>
                    <a:pt x="0" y="4"/>
                  </a:cubicBezTo>
                  <a:cubicBezTo>
                    <a:pt x="0" y="5"/>
                    <a:pt x="1" y="6"/>
                    <a:pt x="2" y="7"/>
                  </a:cubicBezTo>
                  <a:cubicBezTo>
                    <a:pt x="2" y="7"/>
                    <a:pt x="4" y="7"/>
                    <a:pt x="5" y="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95"/>
            <p:cNvSpPr>
              <a:spLocks/>
            </p:cNvSpPr>
            <p:nvPr/>
          </p:nvSpPr>
          <p:spPr bwMode="auto">
            <a:xfrm>
              <a:off x="1414330" y="2832613"/>
              <a:ext cx="0" cy="1812"/>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1"/>
                    <a:pt x="0" y="1"/>
                  </a:cubicBezTo>
                  <a:cubicBezTo>
                    <a:pt x="0" y="1"/>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96"/>
            <p:cNvSpPr>
              <a:spLocks/>
            </p:cNvSpPr>
            <p:nvPr/>
          </p:nvSpPr>
          <p:spPr bwMode="auto">
            <a:xfrm>
              <a:off x="1414330" y="2809060"/>
              <a:ext cx="19023" cy="23552"/>
            </a:xfrm>
            <a:custGeom>
              <a:avLst/>
              <a:gdLst>
                <a:gd name="T0" fmla="*/ 9 w 9"/>
                <a:gd name="T1" fmla="*/ 3 h 11"/>
                <a:gd name="T2" fmla="*/ 8 w 9"/>
                <a:gd name="T3" fmla="*/ 1 h 11"/>
                <a:gd name="T4" fmla="*/ 6 w 9"/>
                <a:gd name="T5" fmla="*/ 0 h 11"/>
                <a:gd name="T6" fmla="*/ 1 w 9"/>
                <a:gd name="T7" fmla="*/ 6 h 11"/>
                <a:gd name="T8" fmla="*/ 0 w 9"/>
                <a:gd name="T9" fmla="*/ 11 h 11"/>
                <a:gd name="T10" fmla="*/ 3 w 9"/>
                <a:gd name="T11" fmla="*/ 10 h 11"/>
                <a:gd name="T12" fmla="*/ 9 w 9"/>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9" y="3"/>
                  </a:moveTo>
                  <a:cubicBezTo>
                    <a:pt x="9" y="2"/>
                    <a:pt x="9" y="1"/>
                    <a:pt x="8" y="1"/>
                  </a:cubicBezTo>
                  <a:cubicBezTo>
                    <a:pt x="7" y="0"/>
                    <a:pt x="7" y="0"/>
                    <a:pt x="6" y="0"/>
                  </a:cubicBezTo>
                  <a:cubicBezTo>
                    <a:pt x="3" y="1"/>
                    <a:pt x="1" y="3"/>
                    <a:pt x="1" y="6"/>
                  </a:cubicBezTo>
                  <a:cubicBezTo>
                    <a:pt x="0" y="7"/>
                    <a:pt x="0" y="9"/>
                    <a:pt x="0" y="11"/>
                  </a:cubicBezTo>
                  <a:cubicBezTo>
                    <a:pt x="1" y="11"/>
                    <a:pt x="2" y="11"/>
                    <a:pt x="3" y="10"/>
                  </a:cubicBezTo>
                  <a:cubicBezTo>
                    <a:pt x="6" y="9"/>
                    <a:pt x="8" y="6"/>
                    <a:pt x="9"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03"/>
            <p:cNvSpPr>
              <a:spLocks/>
            </p:cNvSpPr>
            <p:nvPr/>
          </p:nvSpPr>
          <p:spPr bwMode="auto">
            <a:xfrm>
              <a:off x="5427283" y="4656106"/>
              <a:ext cx="19023" cy="12682"/>
            </a:xfrm>
            <a:custGeom>
              <a:avLst/>
              <a:gdLst>
                <a:gd name="T0" fmla="*/ 1 w 9"/>
                <a:gd name="T1" fmla="*/ 3 h 6"/>
                <a:gd name="T2" fmla="*/ 0 w 9"/>
                <a:gd name="T3" fmla="*/ 4 h 6"/>
                <a:gd name="T4" fmla="*/ 2 w 9"/>
                <a:gd name="T5" fmla="*/ 6 h 6"/>
                <a:gd name="T6" fmla="*/ 8 w 9"/>
                <a:gd name="T7" fmla="*/ 5 h 6"/>
                <a:gd name="T8" fmla="*/ 9 w 9"/>
                <a:gd name="T9" fmla="*/ 4 h 6"/>
                <a:gd name="T10" fmla="*/ 9 w 9"/>
                <a:gd name="T11" fmla="*/ 3 h 6"/>
                <a:gd name="T12" fmla="*/ 1 w 9"/>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3"/>
                  </a:moveTo>
                  <a:cubicBezTo>
                    <a:pt x="0" y="3"/>
                    <a:pt x="0" y="4"/>
                    <a:pt x="0" y="4"/>
                  </a:cubicBezTo>
                  <a:cubicBezTo>
                    <a:pt x="1" y="5"/>
                    <a:pt x="1" y="6"/>
                    <a:pt x="2" y="6"/>
                  </a:cubicBezTo>
                  <a:cubicBezTo>
                    <a:pt x="4" y="6"/>
                    <a:pt x="6" y="6"/>
                    <a:pt x="8" y="5"/>
                  </a:cubicBezTo>
                  <a:cubicBezTo>
                    <a:pt x="8" y="5"/>
                    <a:pt x="8" y="5"/>
                    <a:pt x="9" y="4"/>
                  </a:cubicBezTo>
                  <a:cubicBezTo>
                    <a:pt x="9" y="4"/>
                    <a:pt x="9" y="3"/>
                    <a:pt x="9" y="3"/>
                  </a:cubicBezTo>
                  <a:cubicBezTo>
                    <a:pt x="6" y="0"/>
                    <a:pt x="3" y="0"/>
                    <a:pt x="1"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34"/>
            <p:cNvSpPr>
              <a:spLocks/>
            </p:cNvSpPr>
            <p:nvPr/>
          </p:nvSpPr>
          <p:spPr bwMode="auto">
            <a:xfrm>
              <a:off x="4386452" y="4493051"/>
              <a:ext cx="340603" cy="329732"/>
            </a:xfrm>
            <a:custGeom>
              <a:avLst/>
              <a:gdLst>
                <a:gd name="T0" fmla="*/ 151 w 159"/>
                <a:gd name="T1" fmla="*/ 117 h 154"/>
                <a:gd name="T2" fmla="*/ 150 w 159"/>
                <a:gd name="T3" fmla="*/ 117 h 154"/>
                <a:gd name="T4" fmla="*/ 146 w 159"/>
                <a:gd name="T5" fmla="*/ 114 h 154"/>
                <a:gd name="T6" fmla="*/ 146 w 159"/>
                <a:gd name="T7" fmla="*/ 113 h 154"/>
                <a:gd name="T8" fmla="*/ 145 w 159"/>
                <a:gd name="T9" fmla="*/ 111 h 154"/>
                <a:gd name="T10" fmla="*/ 146 w 159"/>
                <a:gd name="T11" fmla="*/ 111 h 154"/>
                <a:gd name="T12" fmla="*/ 146 w 159"/>
                <a:gd name="T13" fmla="*/ 113 h 154"/>
                <a:gd name="T14" fmla="*/ 147 w 159"/>
                <a:gd name="T15" fmla="*/ 113 h 154"/>
                <a:gd name="T16" fmla="*/ 151 w 159"/>
                <a:gd name="T17" fmla="*/ 117 h 154"/>
                <a:gd name="T18" fmla="*/ 151 w 159"/>
                <a:gd name="T19" fmla="*/ 117 h 154"/>
                <a:gd name="T20" fmla="*/ 155 w 159"/>
                <a:gd name="T21" fmla="*/ 118 h 154"/>
                <a:gd name="T22" fmla="*/ 157 w 159"/>
                <a:gd name="T23" fmla="*/ 118 h 154"/>
                <a:gd name="T24" fmla="*/ 159 w 159"/>
                <a:gd name="T25" fmla="*/ 114 h 154"/>
                <a:gd name="T26" fmla="*/ 149 w 159"/>
                <a:gd name="T27" fmla="*/ 100 h 154"/>
                <a:gd name="T28" fmla="*/ 146 w 159"/>
                <a:gd name="T29" fmla="*/ 99 h 154"/>
                <a:gd name="T30" fmla="*/ 140 w 159"/>
                <a:gd name="T31" fmla="*/ 102 h 154"/>
                <a:gd name="T32" fmla="*/ 139 w 159"/>
                <a:gd name="T33" fmla="*/ 105 h 154"/>
                <a:gd name="T34" fmla="*/ 133 w 159"/>
                <a:gd name="T35" fmla="*/ 104 h 154"/>
                <a:gd name="T36" fmla="*/ 130 w 159"/>
                <a:gd name="T37" fmla="*/ 96 h 154"/>
                <a:gd name="T38" fmla="*/ 125 w 159"/>
                <a:gd name="T39" fmla="*/ 92 h 154"/>
                <a:gd name="T40" fmla="*/ 119 w 159"/>
                <a:gd name="T41" fmla="*/ 90 h 154"/>
                <a:gd name="T42" fmla="*/ 117 w 159"/>
                <a:gd name="T43" fmla="*/ 88 h 154"/>
                <a:gd name="T44" fmla="*/ 118 w 159"/>
                <a:gd name="T45" fmla="*/ 79 h 154"/>
                <a:gd name="T46" fmla="*/ 118 w 159"/>
                <a:gd name="T47" fmla="*/ 75 h 154"/>
                <a:gd name="T48" fmla="*/ 109 w 159"/>
                <a:gd name="T49" fmla="*/ 64 h 154"/>
                <a:gd name="T50" fmla="*/ 106 w 159"/>
                <a:gd name="T51" fmla="*/ 61 h 154"/>
                <a:gd name="T52" fmla="*/ 97 w 159"/>
                <a:gd name="T53" fmla="*/ 57 h 154"/>
                <a:gd name="T54" fmla="*/ 93 w 159"/>
                <a:gd name="T55" fmla="*/ 55 h 154"/>
                <a:gd name="T56" fmla="*/ 84 w 159"/>
                <a:gd name="T57" fmla="*/ 48 h 154"/>
                <a:gd name="T58" fmla="*/ 73 w 159"/>
                <a:gd name="T59" fmla="*/ 41 h 154"/>
                <a:gd name="T60" fmla="*/ 67 w 159"/>
                <a:gd name="T61" fmla="*/ 37 h 154"/>
                <a:gd name="T62" fmla="*/ 59 w 159"/>
                <a:gd name="T63" fmla="*/ 29 h 154"/>
                <a:gd name="T64" fmla="*/ 36 w 159"/>
                <a:gd name="T65" fmla="*/ 9 h 154"/>
                <a:gd name="T66" fmla="*/ 27 w 159"/>
                <a:gd name="T67" fmla="*/ 5 h 154"/>
                <a:gd name="T68" fmla="*/ 7 w 159"/>
                <a:gd name="T69" fmla="*/ 0 h 154"/>
                <a:gd name="T70" fmla="*/ 2 w 159"/>
                <a:gd name="T71" fmla="*/ 1 h 154"/>
                <a:gd name="T72" fmla="*/ 0 w 159"/>
                <a:gd name="T73" fmla="*/ 7 h 154"/>
                <a:gd name="T74" fmla="*/ 4 w 159"/>
                <a:gd name="T75" fmla="*/ 14 h 154"/>
                <a:gd name="T76" fmla="*/ 19 w 159"/>
                <a:gd name="T77" fmla="*/ 26 h 154"/>
                <a:gd name="T78" fmla="*/ 28 w 159"/>
                <a:gd name="T79" fmla="*/ 33 h 154"/>
                <a:gd name="T80" fmla="*/ 34 w 159"/>
                <a:gd name="T81" fmla="*/ 40 h 154"/>
                <a:gd name="T82" fmla="*/ 46 w 159"/>
                <a:gd name="T83" fmla="*/ 54 h 154"/>
                <a:gd name="T84" fmla="*/ 50 w 159"/>
                <a:gd name="T85" fmla="*/ 59 h 154"/>
                <a:gd name="T86" fmla="*/ 54 w 159"/>
                <a:gd name="T87" fmla="*/ 70 h 154"/>
                <a:gd name="T88" fmla="*/ 58 w 159"/>
                <a:gd name="T89" fmla="*/ 75 h 154"/>
                <a:gd name="T90" fmla="*/ 71 w 159"/>
                <a:gd name="T91" fmla="*/ 94 h 154"/>
                <a:gd name="T92" fmla="*/ 75 w 159"/>
                <a:gd name="T93" fmla="*/ 104 h 154"/>
                <a:gd name="T94" fmla="*/ 81 w 159"/>
                <a:gd name="T95" fmla="*/ 114 h 154"/>
                <a:gd name="T96" fmla="*/ 95 w 159"/>
                <a:gd name="T97" fmla="*/ 128 h 154"/>
                <a:gd name="T98" fmla="*/ 111 w 159"/>
                <a:gd name="T99" fmla="*/ 142 h 154"/>
                <a:gd name="T100" fmla="*/ 124 w 159"/>
                <a:gd name="T101" fmla="*/ 152 h 154"/>
                <a:gd name="T102" fmla="*/ 129 w 159"/>
                <a:gd name="T103" fmla="*/ 154 h 154"/>
                <a:gd name="T104" fmla="*/ 147 w 159"/>
                <a:gd name="T105" fmla="*/ 154 h 154"/>
                <a:gd name="T106" fmla="*/ 147 w 159"/>
                <a:gd name="T107" fmla="*/ 136 h 154"/>
                <a:gd name="T108" fmla="*/ 151 w 159"/>
                <a:gd name="T109" fmla="*/ 11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 h="154">
                  <a:moveTo>
                    <a:pt x="151" y="117"/>
                  </a:moveTo>
                  <a:cubicBezTo>
                    <a:pt x="151" y="117"/>
                    <a:pt x="150" y="117"/>
                    <a:pt x="150" y="117"/>
                  </a:cubicBezTo>
                  <a:cubicBezTo>
                    <a:pt x="149" y="116"/>
                    <a:pt x="148" y="115"/>
                    <a:pt x="146" y="114"/>
                  </a:cubicBezTo>
                  <a:cubicBezTo>
                    <a:pt x="146" y="113"/>
                    <a:pt x="146" y="113"/>
                    <a:pt x="146" y="113"/>
                  </a:cubicBezTo>
                  <a:cubicBezTo>
                    <a:pt x="146" y="112"/>
                    <a:pt x="145" y="112"/>
                    <a:pt x="145" y="111"/>
                  </a:cubicBezTo>
                  <a:cubicBezTo>
                    <a:pt x="145" y="111"/>
                    <a:pt x="146" y="111"/>
                    <a:pt x="146" y="111"/>
                  </a:cubicBezTo>
                  <a:cubicBezTo>
                    <a:pt x="146" y="111"/>
                    <a:pt x="146" y="112"/>
                    <a:pt x="146" y="113"/>
                  </a:cubicBezTo>
                  <a:cubicBezTo>
                    <a:pt x="146" y="113"/>
                    <a:pt x="147" y="113"/>
                    <a:pt x="147" y="113"/>
                  </a:cubicBezTo>
                  <a:cubicBezTo>
                    <a:pt x="148" y="114"/>
                    <a:pt x="149" y="116"/>
                    <a:pt x="151" y="117"/>
                  </a:cubicBezTo>
                  <a:cubicBezTo>
                    <a:pt x="151" y="117"/>
                    <a:pt x="151" y="117"/>
                    <a:pt x="151" y="117"/>
                  </a:cubicBezTo>
                  <a:cubicBezTo>
                    <a:pt x="152" y="117"/>
                    <a:pt x="154" y="118"/>
                    <a:pt x="155" y="118"/>
                  </a:cubicBezTo>
                  <a:cubicBezTo>
                    <a:pt x="156" y="118"/>
                    <a:pt x="156" y="118"/>
                    <a:pt x="157" y="118"/>
                  </a:cubicBezTo>
                  <a:cubicBezTo>
                    <a:pt x="158" y="118"/>
                    <a:pt x="159" y="115"/>
                    <a:pt x="159" y="114"/>
                  </a:cubicBezTo>
                  <a:cubicBezTo>
                    <a:pt x="155" y="109"/>
                    <a:pt x="152" y="105"/>
                    <a:pt x="149" y="100"/>
                  </a:cubicBezTo>
                  <a:cubicBezTo>
                    <a:pt x="148" y="99"/>
                    <a:pt x="147" y="99"/>
                    <a:pt x="146" y="99"/>
                  </a:cubicBezTo>
                  <a:cubicBezTo>
                    <a:pt x="144" y="100"/>
                    <a:pt x="142" y="100"/>
                    <a:pt x="140" y="102"/>
                  </a:cubicBezTo>
                  <a:cubicBezTo>
                    <a:pt x="140" y="103"/>
                    <a:pt x="139" y="104"/>
                    <a:pt x="139" y="105"/>
                  </a:cubicBezTo>
                  <a:cubicBezTo>
                    <a:pt x="137" y="107"/>
                    <a:pt x="134" y="106"/>
                    <a:pt x="133" y="104"/>
                  </a:cubicBezTo>
                  <a:cubicBezTo>
                    <a:pt x="132" y="101"/>
                    <a:pt x="131" y="99"/>
                    <a:pt x="130" y="96"/>
                  </a:cubicBezTo>
                  <a:cubicBezTo>
                    <a:pt x="129" y="94"/>
                    <a:pt x="127" y="92"/>
                    <a:pt x="125" y="92"/>
                  </a:cubicBezTo>
                  <a:cubicBezTo>
                    <a:pt x="123" y="91"/>
                    <a:pt x="121" y="91"/>
                    <a:pt x="119" y="90"/>
                  </a:cubicBezTo>
                  <a:cubicBezTo>
                    <a:pt x="118" y="90"/>
                    <a:pt x="117" y="88"/>
                    <a:pt x="117" y="88"/>
                  </a:cubicBezTo>
                  <a:cubicBezTo>
                    <a:pt x="119" y="85"/>
                    <a:pt x="116" y="82"/>
                    <a:pt x="118" y="79"/>
                  </a:cubicBezTo>
                  <a:cubicBezTo>
                    <a:pt x="119" y="78"/>
                    <a:pt x="119" y="76"/>
                    <a:pt x="118" y="75"/>
                  </a:cubicBezTo>
                  <a:cubicBezTo>
                    <a:pt x="116" y="71"/>
                    <a:pt x="110" y="69"/>
                    <a:pt x="109" y="64"/>
                  </a:cubicBezTo>
                  <a:cubicBezTo>
                    <a:pt x="109" y="63"/>
                    <a:pt x="107" y="62"/>
                    <a:pt x="106" y="61"/>
                  </a:cubicBezTo>
                  <a:cubicBezTo>
                    <a:pt x="103" y="60"/>
                    <a:pt x="100" y="58"/>
                    <a:pt x="97" y="57"/>
                  </a:cubicBezTo>
                  <a:cubicBezTo>
                    <a:pt x="95" y="56"/>
                    <a:pt x="93" y="56"/>
                    <a:pt x="93" y="55"/>
                  </a:cubicBezTo>
                  <a:cubicBezTo>
                    <a:pt x="91" y="51"/>
                    <a:pt x="87" y="50"/>
                    <a:pt x="84" y="48"/>
                  </a:cubicBezTo>
                  <a:cubicBezTo>
                    <a:pt x="81" y="45"/>
                    <a:pt x="77" y="43"/>
                    <a:pt x="73" y="41"/>
                  </a:cubicBezTo>
                  <a:cubicBezTo>
                    <a:pt x="70" y="41"/>
                    <a:pt x="68" y="39"/>
                    <a:pt x="67" y="37"/>
                  </a:cubicBezTo>
                  <a:cubicBezTo>
                    <a:pt x="65" y="33"/>
                    <a:pt x="62" y="31"/>
                    <a:pt x="59" y="29"/>
                  </a:cubicBezTo>
                  <a:cubicBezTo>
                    <a:pt x="49" y="24"/>
                    <a:pt x="41" y="18"/>
                    <a:pt x="36" y="9"/>
                  </a:cubicBezTo>
                  <a:cubicBezTo>
                    <a:pt x="34" y="7"/>
                    <a:pt x="31" y="5"/>
                    <a:pt x="27" y="5"/>
                  </a:cubicBezTo>
                  <a:cubicBezTo>
                    <a:pt x="20" y="4"/>
                    <a:pt x="13" y="3"/>
                    <a:pt x="7" y="0"/>
                  </a:cubicBezTo>
                  <a:cubicBezTo>
                    <a:pt x="5" y="0"/>
                    <a:pt x="3" y="1"/>
                    <a:pt x="2" y="1"/>
                  </a:cubicBezTo>
                  <a:cubicBezTo>
                    <a:pt x="0" y="2"/>
                    <a:pt x="0" y="5"/>
                    <a:pt x="0" y="7"/>
                  </a:cubicBezTo>
                  <a:cubicBezTo>
                    <a:pt x="1" y="9"/>
                    <a:pt x="2" y="12"/>
                    <a:pt x="4" y="14"/>
                  </a:cubicBezTo>
                  <a:cubicBezTo>
                    <a:pt x="8" y="18"/>
                    <a:pt x="13" y="23"/>
                    <a:pt x="19" y="26"/>
                  </a:cubicBezTo>
                  <a:cubicBezTo>
                    <a:pt x="23" y="27"/>
                    <a:pt x="25" y="30"/>
                    <a:pt x="28" y="33"/>
                  </a:cubicBezTo>
                  <a:cubicBezTo>
                    <a:pt x="29" y="35"/>
                    <a:pt x="32" y="37"/>
                    <a:pt x="34" y="40"/>
                  </a:cubicBezTo>
                  <a:cubicBezTo>
                    <a:pt x="37" y="46"/>
                    <a:pt x="41" y="50"/>
                    <a:pt x="46" y="54"/>
                  </a:cubicBezTo>
                  <a:cubicBezTo>
                    <a:pt x="48" y="56"/>
                    <a:pt x="49" y="58"/>
                    <a:pt x="50" y="59"/>
                  </a:cubicBezTo>
                  <a:cubicBezTo>
                    <a:pt x="51" y="63"/>
                    <a:pt x="53" y="66"/>
                    <a:pt x="54" y="70"/>
                  </a:cubicBezTo>
                  <a:cubicBezTo>
                    <a:pt x="55" y="71"/>
                    <a:pt x="56" y="73"/>
                    <a:pt x="58" y="75"/>
                  </a:cubicBezTo>
                  <a:cubicBezTo>
                    <a:pt x="64" y="80"/>
                    <a:pt x="68" y="86"/>
                    <a:pt x="71" y="94"/>
                  </a:cubicBezTo>
                  <a:cubicBezTo>
                    <a:pt x="72" y="98"/>
                    <a:pt x="74" y="101"/>
                    <a:pt x="75" y="104"/>
                  </a:cubicBezTo>
                  <a:cubicBezTo>
                    <a:pt x="76" y="108"/>
                    <a:pt x="78" y="111"/>
                    <a:pt x="81" y="114"/>
                  </a:cubicBezTo>
                  <a:cubicBezTo>
                    <a:pt x="85" y="119"/>
                    <a:pt x="91" y="123"/>
                    <a:pt x="95" y="128"/>
                  </a:cubicBezTo>
                  <a:cubicBezTo>
                    <a:pt x="100" y="133"/>
                    <a:pt x="105" y="138"/>
                    <a:pt x="111" y="142"/>
                  </a:cubicBezTo>
                  <a:cubicBezTo>
                    <a:pt x="115" y="145"/>
                    <a:pt x="120" y="148"/>
                    <a:pt x="124" y="152"/>
                  </a:cubicBezTo>
                  <a:cubicBezTo>
                    <a:pt x="125" y="154"/>
                    <a:pt x="127" y="154"/>
                    <a:pt x="129" y="154"/>
                  </a:cubicBezTo>
                  <a:cubicBezTo>
                    <a:pt x="135" y="154"/>
                    <a:pt x="141" y="153"/>
                    <a:pt x="147" y="154"/>
                  </a:cubicBezTo>
                  <a:cubicBezTo>
                    <a:pt x="147" y="148"/>
                    <a:pt x="148" y="142"/>
                    <a:pt x="147" y="136"/>
                  </a:cubicBezTo>
                  <a:cubicBezTo>
                    <a:pt x="147" y="130"/>
                    <a:pt x="150" y="124"/>
                    <a:pt x="151" y="11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28"/>
            <p:cNvSpPr>
              <a:spLocks/>
            </p:cNvSpPr>
            <p:nvPr/>
          </p:nvSpPr>
          <p:spPr bwMode="auto">
            <a:xfrm>
              <a:off x="4854780" y="4973156"/>
              <a:ext cx="1175804" cy="982856"/>
            </a:xfrm>
            <a:custGeom>
              <a:avLst/>
              <a:gdLst>
                <a:gd name="T0" fmla="*/ 527 w 549"/>
                <a:gd name="T1" fmla="*/ 195 h 459"/>
                <a:gd name="T2" fmla="*/ 505 w 549"/>
                <a:gd name="T3" fmla="*/ 164 h 459"/>
                <a:gd name="T4" fmla="*/ 472 w 549"/>
                <a:gd name="T5" fmla="*/ 120 h 459"/>
                <a:gd name="T6" fmla="*/ 459 w 549"/>
                <a:gd name="T7" fmla="*/ 73 h 459"/>
                <a:gd name="T8" fmla="*/ 439 w 549"/>
                <a:gd name="T9" fmla="*/ 44 h 459"/>
                <a:gd name="T10" fmla="*/ 424 w 549"/>
                <a:gd name="T11" fmla="*/ 1 h 459"/>
                <a:gd name="T12" fmla="*/ 411 w 549"/>
                <a:gd name="T13" fmla="*/ 30 h 459"/>
                <a:gd name="T14" fmla="*/ 396 w 549"/>
                <a:gd name="T15" fmla="*/ 91 h 459"/>
                <a:gd name="T16" fmla="*/ 368 w 549"/>
                <a:gd name="T17" fmla="*/ 84 h 459"/>
                <a:gd name="T18" fmla="*/ 329 w 549"/>
                <a:gd name="T19" fmla="*/ 59 h 459"/>
                <a:gd name="T20" fmla="*/ 340 w 549"/>
                <a:gd name="T21" fmla="*/ 32 h 459"/>
                <a:gd name="T22" fmla="*/ 330 w 549"/>
                <a:gd name="T23" fmla="*/ 15 h 459"/>
                <a:gd name="T24" fmla="*/ 284 w 549"/>
                <a:gd name="T25" fmla="*/ 4 h 459"/>
                <a:gd name="T26" fmla="*/ 285 w 549"/>
                <a:gd name="T27" fmla="*/ 10 h 459"/>
                <a:gd name="T28" fmla="*/ 254 w 549"/>
                <a:gd name="T29" fmla="*/ 27 h 459"/>
                <a:gd name="T30" fmla="*/ 227 w 549"/>
                <a:gd name="T31" fmla="*/ 54 h 459"/>
                <a:gd name="T32" fmla="*/ 195 w 549"/>
                <a:gd name="T33" fmla="*/ 45 h 459"/>
                <a:gd name="T34" fmla="*/ 170 w 549"/>
                <a:gd name="T35" fmla="*/ 70 h 459"/>
                <a:gd name="T36" fmla="*/ 157 w 549"/>
                <a:gd name="T37" fmla="*/ 80 h 459"/>
                <a:gd name="T38" fmla="*/ 151 w 549"/>
                <a:gd name="T39" fmla="*/ 80 h 459"/>
                <a:gd name="T40" fmla="*/ 128 w 549"/>
                <a:gd name="T41" fmla="*/ 109 h 459"/>
                <a:gd name="T42" fmla="*/ 70 w 549"/>
                <a:gd name="T43" fmla="*/ 135 h 459"/>
                <a:gd name="T44" fmla="*/ 23 w 549"/>
                <a:gd name="T45" fmla="*/ 155 h 459"/>
                <a:gd name="T46" fmla="*/ 13 w 549"/>
                <a:gd name="T47" fmla="*/ 168 h 459"/>
                <a:gd name="T48" fmla="*/ 11 w 549"/>
                <a:gd name="T49" fmla="*/ 213 h 459"/>
                <a:gd name="T50" fmla="*/ 4 w 549"/>
                <a:gd name="T51" fmla="*/ 225 h 459"/>
                <a:gd name="T52" fmla="*/ 7 w 549"/>
                <a:gd name="T53" fmla="*/ 240 h 459"/>
                <a:gd name="T54" fmla="*/ 16 w 549"/>
                <a:gd name="T55" fmla="*/ 308 h 459"/>
                <a:gd name="T56" fmla="*/ 10 w 549"/>
                <a:gd name="T57" fmla="*/ 354 h 459"/>
                <a:gd name="T58" fmla="*/ 65 w 549"/>
                <a:gd name="T59" fmla="*/ 347 h 459"/>
                <a:gd name="T60" fmla="*/ 119 w 549"/>
                <a:gd name="T61" fmla="*/ 341 h 459"/>
                <a:gd name="T62" fmla="*/ 188 w 549"/>
                <a:gd name="T63" fmla="*/ 315 h 459"/>
                <a:gd name="T64" fmla="*/ 245 w 549"/>
                <a:gd name="T65" fmla="*/ 320 h 459"/>
                <a:gd name="T66" fmla="*/ 271 w 549"/>
                <a:gd name="T67" fmla="*/ 349 h 459"/>
                <a:gd name="T68" fmla="*/ 276 w 549"/>
                <a:gd name="T69" fmla="*/ 369 h 459"/>
                <a:gd name="T70" fmla="*/ 308 w 549"/>
                <a:gd name="T71" fmla="*/ 341 h 459"/>
                <a:gd name="T72" fmla="*/ 302 w 549"/>
                <a:gd name="T73" fmla="*/ 361 h 459"/>
                <a:gd name="T74" fmla="*/ 297 w 549"/>
                <a:gd name="T75" fmla="*/ 377 h 459"/>
                <a:gd name="T76" fmla="*/ 312 w 549"/>
                <a:gd name="T77" fmla="*/ 369 h 459"/>
                <a:gd name="T78" fmla="*/ 318 w 549"/>
                <a:gd name="T79" fmla="*/ 385 h 459"/>
                <a:gd name="T80" fmla="*/ 318 w 549"/>
                <a:gd name="T81" fmla="*/ 387 h 459"/>
                <a:gd name="T82" fmla="*/ 341 w 549"/>
                <a:gd name="T83" fmla="*/ 439 h 459"/>
                <a:gd name="T84" fmla="*/ 383 w 549"/>
                <a:gd name="T85" fmla="*/ 438 h 459"/>
                <a:gd name="T86" fmla="*/ 395 w 549"/>
                <a:gd name="T87" fmla="*/ 458 h 459"/>
                <a:gd name="T88" fmla="*/ 446 w 549"/>
                <a:gd name="T89" fmla="*/ 439 h 459"/>
                <a:gd name="T90" fmla="*/ 482 w 549"/>
                <a:gd name="T91" fmla="*/ 378 h 459"/>
                <a:gd name="T92" fmla="*/ 525 w 549"/>
                <a:gd name="T93" fmla="*/ 320 h 459"/>
                <a:gd name="T94" fmla="*/ 542 w 549"/>
                <a:gd name="T95" fmla="*/ 255 h 459"/>
                <a:gd name="T96" fmla="*/ 549 w 549"/>
                <a:gd name="T97" fmla="*/ 212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9" h="459">
                  <a:moveTo>
                    <a:pt x="546" y="211"/>
                  </a:moveTo>
                  <a:cubicBezTo>
                    <a:pt x="541" y="215"/>
                    <a:pt x="541" y="215"/>
                    <a:pt x="538" y="210"/>
                  </a:cubicBezTo>
                  <a:cubicBezTo>
                    <a:pt x="538" y="209"/>
                    <a:pt x="537" y="209"/>
                    <a:pt x="536" y="208"/>
                  </a:cubicBezTo>
                  <a:cubicBezTo>
                    <a:pt x="534" y="203"/>
                    <a:pt x="533" y="198"/>
                    <a:pt x="527" y="195"/>
                  </a:cubicBezTo>
                  <a:cubicBezTo>
                    <a:pt x="525" y="189"/>
                    <a:pt x="518" y="185"/>
                    <a:pt x="520" y="177"/>
                  </a:cubicBezTo>
                  <a:cubicBezTo>
                    <a:pt x="521" y="173"/>
                    <a:pt x="519" y="171"/>
                    <a:pt x="515" y="170"/>
                  </a:cubicBezTo>
                  <a:cubicBezTo>
                    <a:pt x="512" y="169"/>
                    <a:pt x="509" y="167"/>
                    <a:pt x="506" y="166"/>
                  </a:cubicBezTo>
                  <a:cubicBezTo>
                    <a:pt x="505" y="166"/>
                    <a:pt x="505" y="165"/>
                    <a:pt x="505" y="164"/>
                  </a:cubicBezTo>
                  <a:cubicBezTo>
                    <a:pt x="504" y="159"/>
                    <a:pt x="504" y="155"/>
                    <a:pt x="501" y="150"/>
                  </a:cubicBezTo>
                  <a:cubicBezTo>
                    <a:pt x="499" y="147"/>
                    <a:pt x="497" y="143"/>
                    <a:pt x="497" y="139"/>
                  </a:cubicBezTo>
                  <a:cubicBezTo>
                    <a:pt x="497" y="137"/>
                    <a:pt x="496" y="136"/>
                    <a:pt x="494" y="135"/>
                  </a:cubicBezTo>
                  <a:cubicBezTo>
                    <a:pt x="486" y="130"/>
                    <a:pt x="480" y="123"/>
                    <a:pt x="472" y="120"/>
                  </a:cubicBezTo>
                  <a:cubicBezTo>
                    <a:pt x="469" y="119"/>
                    <a:pt x="468" y="117"/>
                    <a:pt x="468" y="115"/>
                  </a:cubicBezTo>
                  <a:cubicBezTo>
                    <a:pt x="467" y="111"/>
                    <a:pt x="466" y="107"/>
                    <a:pt x="466" y="103"/>
                  </a:cubicBezTo>
                  <a:cubicBezTo>
                    <a:pt x="467" y="97"/>
                    <a:pt x="465" y="91"/>
                    <a:pt x="462" y="86"/>
                  </a:cubicBezTo>
                  <a:cubicBezTo>
                    <a:pt x="459" y="82"/>
                    <a:pt x="458" y="78"/>
                    <a:pt x="459" y="73"/>
                  </a:cubicBezTo>
                  <a:cubicBezTo>
                    <a:pt x="459" y="69"/>
                    <a:pt x="458" y="66"/>
                    <a:pt x="458" y="62"/>
                  </a:cubicBezTo>
                  <a:cubicBezTo>
                    <a:pt x="458" y="57"/>
                    <a:pt x="456" y="53"/>
                    <a:pt x="452" y="50"/>
                  </a:cubicBezTo>
                  <a:cubicBezTo>
                    <a:pt x="450" y="47"/>
                    <a:pt x="447" y="46"/>
                    <a:pt x="444" y="47"/>
                  </a:cubicBezTo>
                  <a:cubicBezTo>
                    <a:pt x="441" y="48"/>
                    <a:pt x="439" y="46"/>
                    <a:pt x="439" y="44"/>
                  </a:cubicBezTo>
                  <a:cubicBezTo>
                    <a:pt x="438" y="42"/>
                    <a:pt x="438" y="41"/>
                    <a:pt x="438" y="39"/>
                  </a:cubicBezTo>
                  <a:cubicBezTo>
                    <a:pt x="438" y="34"/>
                    <a:pt x="436" y="29"/>
                    <a:pt x="435" y="24"/>
                  </a:cubicBezTo>
                  <a:cubicBezTo>
                    <a:pt x="434" y="17"/>
                    <a:pt x="429" y="11"/>
                    <a:pt x="428" y="3"/>
                  </a:cubicBezTo>
                  <a:cubicBezTo>
                    <a:pt x="427" y="2"/>
                    <a:pt x="425" y="1"/>
                    <a:pt x="424" y="1"/>
                  </a:cubicBezTo>
                  <a:cubicBezTo>
                    <a:pt x="423" y="0"/>
                    <a:pt x="422" y="1"/>
                    <a:pt x="421" y="1"/>
                  </a:cubicBezTo>
                  <a:cubicBezTo>
                    <a:pt x="420" y="2"/>
                    <a:pt x="420" y="3"/>
                    <a:pt x="419" y="4"/>
                  </a:cubicBezTo>
                  <a:cubicBezTo>
                    <a:pt x="417" y="8"/>
                    <a:pt x="416" y="13"/>
                    <a:pt x="414" y="17"/>
                  </a:cubicBezTo>
                  <a:cubicBezTo>
                    <a:pt x="412" y="21"/>
                    <a:pt x="412" y="26"/>
                    <a:pt x="411" y="30"/>
                  </a:cubicBezTo>
                  <a:cubicBezTo>
                    <a:pt x="408" y="38"/>
                    <a:pt x="407" y="45"/>
                    <a:pt x="407" y="53"/>
                  </a:cubicBezTo>
                  <a:cubicBezTo>
                    <a:pt x="408" y="56"/>
                    <a:pt x="407" y="59"/>
                    <a:pt x="406" y="61"/>
                  </a:cubicBezTo>
                  <a:cubicBezTo>
                    <a:pt x="405" y="67"/>
                    <a:pt x="403" y="73"/>
                    <a:pt x="401" y="79"/>
                  </a:cubicBezTo>
                  <a:cubicBezTo>
                    <a:pt x="399" y="83"/>
                    <a:pt x="398" y="87"/>
                    <a:pt x="396" y="91"/>
                  </a:cubicBezTo>
                  <a:cubicBezTo>
                    <a:pt x="395" y="94"/>
                    <a:pt x="392" y="96"/>
                    <a:pt x="389" y="96"/>
                  </a:cubicBezTo>
                  <a:cubicBezTo>
                    <a:pt x="383" y="97"/>
                    <a:pt x="379" y="96"/>
                    <a:pt x="375" y="92"/>
                  </a:cubicBezTo>
                  <a:cubicBezTo>
                    <a:pt x="373" y="90"/>
                    <a:pt x="371" y="87"/>
                    <a:pt x="371" y="84"/>
                  </a:cubicBezTo>
                  <a:cubicBezTo>
                    <a:pt x="370" y="84"/>
                    <a:pt x="369" y="84"/>
                    <a:pt x="368" y="84"/>
                  </a:cubicBezTo>
                  <a:cubicBezTo>
                    <a:pt x="363" y="84"/>
                    <a:pt x="359" y="83"/>
                    <a:pt x="356" y="79"/>
                  </a:cubicBezTo>
                  <a:cubicBezTo>
                    <a:pt x="353" y="75"/>
                    <a:pt x="347" y="73"/>
                    <a:pt x="343" y="70"/>
                  </a:cubicBezTo>
                  <a:cubicBezTo>
                    <a:pt x="339" y="69"/>
                    <a:pt x="337" y="67"/>
                    <a:pt x="335" y="65"/>
                  </a:cubicBezTo>
                  <a:cubicBezTo>
                    <a:pt x="333" y="63"/>
                    <a:pt x="331" y="61"/>
                    <a:pt x="329" y="59"/>
                  </a:cubicBezTo>
                  <a:cubicBezTo>
                    <a:pt x="327" y="57"/>
                    <a:pt x="326" y="55"/>
                    <a:pt x="327" y="52"/>
                  </a:cubicBezTo>
                  <a:cubicBezTo>
                    <a:pt x="329" y="47"/>
                    <a:pt x="333" y="43"/>
                    <a:pt x="332" y="38"/>
                  </a:cubicBezTo>
                  <a:cubicBezTo>
                    <a:pt x="332" y="36"/>
                    <a:pt x="334" y="35"/>
                    <a:pt x="336" y="34"/>
                  </a:cubicBezTo>
                  <a:cubicBezTo>
                    <a:pt x="337" y="34"/>
                    <a:pt x="339" y="33"/>
                    <a:pt x="340" y="32"/>
                  </a:cubicBezTo>
                  <a:cubicBezTo>
                    <a:pt x="342" y="28"/>
                    <a:pt x="345" y="24"/>
                    <a:pt x="347" y="20"/>
                  </a:cubicBezTo>
                  <a:cubicBezTo>
                    <a:pt x="347" y="19"/>
                    <a:pt x="346" y="18"/>
                    <a:pt x="345" y="17"/>
                  </a:cubicBezTo>
                  <a:cubicBezTo>
                    <a:pt x="343" y="15"/>
                    <a:pt x="341" y="14"/>
                    <a:pt x="338" y="15"/>
                  </a:cubicBezTo>
                  <a:cubicBezTo>
                    <a:pt x="335" y="16"/>
                    <a:pt x="333" y="17"/>
                    <a:pt x="330" y="15"/>
                  </a:cubicBezTo>
                  <a:cubicBezTo>
                    <a:pt x="329" y="14"/>
                    <a:pt x="327" y="15"/>
                    <a:pt x="326" y="15"/>
                  </a:cubicBezTo>
                  <a:cubicBezTo>
                    <a:pt x="324" y="16"/>
                    <a:pt x="322" y="17"/>
                    <a:pt x="321" y="16"/>
                  </a:cubicBezTo>
                  <a:cubicBezTo>
                    <a:pt x="313" y="14"/>
                    <a:pt x="304" y="13"/>
                    <a:pt x="297" y="8"/>
                  </a:cubicBezTo>
                  <a:cubicBezTo>
                    <a:pt x="293" y="6"/>
                    <a:pt x="289" y="5"/>
                    <a:pt x="284" y="4"/>
                  </a:cubicBezTo>
                  <a:cubicBezTo>
                    <a:pt x="283" y="3"/>
                    <a:pt x="282" y="4"/>
                    <a:pt x="281" y="4"/>
                  </a:cubicBezTo>
                  <a:cubicBezTo>
                    <a:pt x="281" y="4"/>
                    <a:pt x="280" y="4"/>
                    <a:pt x="280" y="5"/>
                  </a:cubicBezTo>
                  <a:cubicBezTo>
                    <a:pt x="280" y="5"/>
                    <a:pt x="280" y="6"/>
                    <a:pt x="280" y="6"/>
                  </a:cubicBezTo>
                  <a:cubicBezTo>
                    <a:pt x="281" y="8"/>
                    <a:pt x="283" y="9"/>
                    <a:pt x="285" y="10"/>
                  </a:cubicBezTo>
                  <a:cubicBezTo>
                    <a:pt x="286" y="12"/>
                    <a:pt x="286" y="14"/>
                    <a:pt x="284" y="15"/>
                  </a:cubicBezTo>
                  <a:cubicBezTo>
                    <a:pt x="280" y="17"/>
                    <a:pt x="276" y="17"/>
                    <a:pt x="272" y="17"/>
                  </a:cubicBezTo>
                  <a:cubicBezTo>
                    <a:pt x="270" y="17"/>
                    <a:pt x="268" y="17"/>
                    <a:pt x="266" y="18"/>
                  </a:cubicBezTo>
                  <a:cubicBezTo>
                    <a:pt x="262" y="20"/>
                    <a:pt x="257" y="23"/>
                    <a:pt x="254" y="27"/>
                  </a:cubicBezTo>
                  <a:cubicBezTo>
                    <a:pt x="250" y="32"/>
                    <a:pt x="246" y="37"/>
                    <a:pt x="242" y="43"/>
                  </a:cubicBezTo>
                  <a:cubicBezTo>
                    <a:pt x="239" y="46"/>
                    <a:pt x="239" y="48"/>
                    <a:pt x="241" y="52"/>
                  </a:cubicBezTo>
                  <a:cubicBezTo>
                    <a:pt x="241" y="53"/>
                    <a:pt x="239" y="55"/>
                    <a:pt x="237" y="55"/>
                  </a:cubicBezTo>
                  <a:cubicBezTo>
                    <a:pt x="233" y="55"/>
                    <a:pt x="230" y="53"/>
                    <a:pt x="227" y="54"/>
                  </a:cubicBezTo>
                  <a:cubicBezTo>
                    <a:pt x="225" y="55"/>
                    <a:pt x="223" y="54"/>
                    <a:pt x="221" y="52"/>
                  </a:cubicBezTo>
                  <a:cubicBezTo>
                    <a:pt x="219" y="49"/>
                    <a:pt x="217" y="46"/>
                    <a:pt x="214" y="44"/>
                  </a:cubicBezTo>
                  <a:cubicBezTo>
                    <a:pt x="212" y="41"/>
                    <a:pt x="209" y="40"/>
                    <a:pt x="205" y="41"/>
                  </a:cubicBezTo>
                  <a:cubicBezTo>
                    <a:pt x="202" y="42"/>
                    <a:pt x="198" y="43"/>
                    <a:pt x="195" y="45"/>
                  </a:cubicBezTo>
                  <a:cubicBezTo>
                    <a:pt x="192" y="47"/>
                    <a:pt x="190" y="48"/>
                    <a:pt x="186" y="49"/>
                  </a:cubicBezTo>
                  <a:cubicBezTo>
                    <a:pt x="181" y="50"/>
                    <a:pt x="182" y="55"/>
                    <a:pt x="179" y="57"/>
                  </a:cubicBezTo>
                  <a:cubicBezTo>
                    <a:pt x="178" y="58"/>
                    <a:pt x="177" y="60"/>
                    <a:pt x="175" y="60"/>
                  </a:cubicBezTo>
                  <a:cubicBezTo>
                    <a:pt x="170" y="62"/>
                    <a:pt x="169" y="65"/>
                    <a:pt x="170" y="70"/>
                  </a:cubicBezTo>
                  <a:cubicBezTo>
                    <a:pt x="170" y="71"/>
                    <a:pt x="169" y="72"/>
                    <a:pt x="169" y="73"/>
                  </a:cubicBezTo>
                  <a:cubicBezTo>
                    <a:pt x="169" y="74"/>
                    <a:pt x="168" y="76"/>
                    <a:pt x="166" y="75"/>
                  </a:cubicBezTo>
                  <a:cubicBezTo>
                    <a:pt x="164" y="75"/>
                    <a:pt x="163" y="75"/>
                    <a:pt x="161" y="75"/>
                  </a:cubicBezTo>
                  <a:cubicBezTo>
                    <a:pt x="159" y="75"/>
                    <a:pt x="157" y="77"/>
                    <a:pt x="157" y="80"/>
                  </a:cubicBezTo>
                  <a:cubicBezTo>
                    <a:pt x="158" y="82"/>
                    <a:pt x="158" y="84"/>
                    <a:pt x="159" y="86"/>
                  </a:cubicBezTo>
                  <a:cubicBezTo>
                    <a:pt x="159" y="86"/>
                    <a:pt x="158" y="87"/>
                    <a:pt x="158" y="87"/>
                  </a:cubicBezTo>
                  <a:cubicBezTo>
                    <a:pt x="157" y="88"/>
                    <a:pt x="156" y="88"/>
                    <a:pt x="155" y="87"/>
                  </a:cubicBezTo>
                  <a:cubicBezTo>
                    <a:pt x="154" y="85"/>
                    <a:pt x="152" y="83"/>
                    <a:pt x="151" y="80"/>
                  </a:cubicBezTo>
                  <a:cubicBezTo>
                    <a:pt x="149" y="79"/>
                    <a:pt x="147" y="79"/>
                    <a:pt x="146" y="80"/>
                  </a:cubicBezTo>
                  <a:cubicBezTo>
                    <a:pt x="144" y="82"/>
                    <a:pt x="141" y="84"/>
                    <a:pt x="139" y="86"/>
                  </a:cubicBezTo>
                  <a:cubicBezTo>
                    <a:pt x="137" y="87"/>
                    <a:pt x="136" y="89"/>
                    <a:pt x="136" y="91"/>
                  </a:cubicBezTo>
                  <a:cubicBezTo>
                    <a:pt x="137" y="98"/>
                    <a:pt x="134" y="104"/>
                    <a:pt x="128" y="109"/>
                  </a:cubicBezTo>
                  <a:cubicBezTo>
                    <a:pt x="127" y="110"/>
                    <a:pt x="126" y="113"/>
                    <a:pt x="125" y="114"/>
                  </a:cubicBezTo>
                  <a:cubicBezTo>
                    <a:pt x="121" y="120"/>
                    <a:pt x="115" y="124"/>
                    <a:pt x="107" y="124"/>
                  </a:cubicBezTo>
                  <a:cubicBezTo>
                    <a:pt x="102" y="125"/>
                    <a:pt x="97" y="126"/>
                    <a:pt x="92" y="127"/>
                  </a:cubicBezTo>
                  <a:cubicBezTo>
                    <a:pt x="86" y="131"/>
                    <a:pt x="76" y="130"/>
                    <a:pt x="70" y="135"/>
                  </a:cubicBezTo>
                  <a:cubicBezTo>
                    <a:pt x="69" y="136"/>
                    <a:pt x="66" y="136"/>
                    <a:pt x="65" y="136"/>
                  </a:cubicBezTo>
                  <a:cubicBezTo>
                    <a:pt x="59" y="135"/>
                    <a:pt x="54" y="137"/>
                    <a:pt x="49" y="139"/>
                  </a:cubicBezTo>
                  <a:cubicBezTo>
                    <a:pt x="43" y="143"/>
                    <a:pt x="37" y="147"/>
                    <a:pt x="30" y="149"/>
                  </a:cubicBezTo>
                  <a:cubicBezTo>
                    <a:pt x="27" y="150"/>
                    <a:pt x="25" y="153"/>
                    <a:pt x="23" y="155"/>
                  </a:cubicBezTo>
                  <a:cubicBezTo>
                    <a:pt x="22" y="158"/>
                    <a:pt x="21" y="154"/>
                    <a:pt x="20" y="154"/>
                  </a:cubicBezTo>
                  <a:cubicBezTo>
                    <a:pt x="19" y="154"/>
                    <a:pt x="17" y="154"/>
                    <a:pt x="17" y="155"/>
                  </a:cubicBezTo>
                  <a:cubicBezTo>
                    <a:pt x="16" y="157"/>
                    <a:pt x="14" y="158"/>
                    <a:pt x="14" y="160"/>
                  </a:cubicBezTo>
                  <a:cubicBezTo>
                    <a:pt x="13" y="163"/>
                    <a:pt x="13" y="166"/>
                    <a:pt x="13" y="168"/>
                  </a:cubicBezTo>
                  <a:cubicBezTo>
                    <a:pt x="13" y="172"/>
                    <a:pt x="12" y="176"/>
                    <a:pt x="10" y="180"/>
                  </a:cubicBezTo>
                  <a:cubicBezTo>
                    <a:pt x="7" y="184"/>
                    <a:pt x="6" y="188"/>
                    <a:pt x="6" y="192"/>
                  </a:cubicBezTo>
                  <a:cubicBezTo>
                    <a:pt x="6" y="198"/>
                    <a:pt x="7" y="203"/>
                    <a:pt x="10" y="209"/>
                  </a:cubicBezTo>
                  <a:cubicBezTo>
                    <a:pt x="11" y="210"/>
                    <a:pt x="11" y="212"/>
                    <a:pt x="11" y="213"/>
                  </a:cubicBezTo>
                  <a:cubicBezTo>
                    <a:pt x="12" y="215"/>
                    <a:pt x="11" y="216"/>
                    <a:pt x="10" y="217"/>
                  </a:cubicBezTo>
                  <a:cubicBezTo>
                    <a:pt x="9" y="218"/>
                    <a:pt x="8" y="218"/>
                    <a:pt x="7" y="219"/>
                  </a:cubicBezTo>
                  <a:cubicBezTo>
                    <a:pt x="6" y="221"/>
                    <a:pt x="5" y="223"/>
                    <a:pt x="4" y="225"/>
                  </a:cubicBezTo>
                  <a:cubicBezTo>
                    <a:pt x="4" y="225"/>
                    <a:pt x="4" y="225"/>
                    <a:pt x="4" y="225"/>
                  </a:cubicBezTo>
                  <a:cubicBezTo>
                    <a:pt x="4" y="225"/>
                    <a:pt x="4" y="225"/>
                    <a:pt x="4" y="226"/>
                  </a:cubicBezTo>
                  <a:cubicBezTo>
                    <a:pt x="4" y="225"/>
                    <a:pt x="4" y="225"/>
                    <a:pt x="4" y="225"/>
                  </a:cubicBezTo>
                  <a:cubicBezTo>
                    <a:pt x="4" y="227"/>
                    <a:pt x="4" y="228"/>
                    <a:pt x="5" y="230"/>
                  </a:cubicBezTo>
                  <a:cubicBezTo>
                    <a:pt x="6" y="233"/>
                    <a:pt x="7" y="237"/>
                    <a:pt x="7" y="240"/>
                  </a:cubicBezTo>
                  <a:cubicBezTo>
                    <a:pt x="6" y="247"/>
                    <a:pt x="8" y="253"/>
                    <a:pt x="10" y="259"/>
                  </a:cubicBezTo>
                  <a:cubicBezTo>
                    <a:pt x="13" y="265"/>
                    <a:pt x="13" y="272"/>
                    <a:pt x="13" y="279"/>
                  </a:cubicBezTo>
                  <a:cubicBezTo>
                    <a:pt x="13" y="287"/>
                    <a:pt x="13" y="294"/>
                    <a:pt x="16" y="302"/>
                  </a:cubicBezTo>
                  <a:cubicBezTo>
                    <a:pt x="16" y="304"/>
                    <a:pt x="16" y="306"/>
                    <a:pt x="16" y="308"/>
                  </a:cubicBezTo>
                  <a:cubicBezTo>
                    <a:pt x="15" y="312"/>
                    <a:pt x="14" y="316"/>
                    <a:pt x="13" y="321"/>
                  </a:cubicBezTo>
                  <a:cubicBezTo>
                    <a:pt x="12" y="326"/>
                    <a:pt x="9" y="331"/>
                    <a:pt x="4" y="335"/>
                  </a:cubicBezTo>
                  <a:cubicBezTo>
                    <a:pt x="0" y="338"/>
                    <a:pt x="0" y="344"/>
                    <a:pt x="3" y="347"/>
                  </a:cubicBezTo>
                  <a:cubicBezTo>
                    <a:pt x="5" y="349"/>
                    <a:pt x="8" y="351"/>
                    <a:pt x="10" y="354"/>
                  </a:cubicBezTo>
                  <a:cubicBezTo>
                    <a:pt x="13" y="358"/>
                    <a:pt x="18" y="360"/>
                    <a:pt x="23" y="360"/>
                  </a:cubicBezTo>
                  <a:cubicBezTo>
                    <a:pt x="26" y="361"/>
                    <a:pt x="30" y="361"/>
                    <a:pt x="34" y="361"/>
                  </a:cubicBezTo>
                  <a:cubicBezTo>
                    <a:pt x="36" y="361"/>
                    <a:pt x="39" y="360"/>
                    <a:pt x="40" y="359"/>
                  </a:cubicBezTo>
                  <a:cubicBezTo>
                    <a:pt x="48" y="354"/>
                    <a:pt x="58" y="354"/>
                    <a:pt x="65" y="347"/>
                  </a:cubicBezTo>
                  <a:cubicBezTo>
                    <a:pt x="65" y="346"/>
                    <a:pt x="67" y="345"/>
                    <a:pt x="68" y="345"/>
                  </a:cubicBezTo>
                  <a:cubicBezTo>
                    <a:pt x="75" y="344"/>
                    <a:pt x="83" y="342"/>
                    <a:pt x="91" y="344"/>
                  </a:cubicBezTo>
                  <a:cubicBezTo>
                    <a:pt x="97" y="345"/>
                    <a:pt x="104" y="345"/>
                    <a:pt x="110" y="345"/>
                  </a:cubicBezTo>
                  <a:cubicBezTo>
                    <a:pt x="114" y="345"/>
                    <a:pt x="117" y="344"/>
                    <a:pt x="119" y="341"/>
                  </a:cubicBezTo>
                  <a:cubicBezTo>
                    <a:pt x="126" y="335"/>
                    <a:pt x="131" y="331"/>
                    <a:pt x="141" y="327"/>
                  </a:cubicBezTo>
                  <a:cubicBezTo>
                    <a:pt x="144" y="325"/>
                    <a:pt x="146" y="324"/>
                    <a:pt x="148" y="322"/>
                  </a:cubicBezTo>
                  <a:cubicBezTo>
                    <a:pt x="151" y="320"/>
                    <a:pt x="155" y="319"/>
                    <a:pt x="159" y="320"/>
                  </a:cubicBezTo>
                  <a:cubicBezTo>
                    <a:pt x="169" y="321"/>
                    <a:pt x="179" y="319"/>
                    <a:pt x="188" y="315"/>
                  </a:cubicBezTo>
                  <a:cubicBezTo>
                    <a:pt x="195" y="311"/>
                    <a:pt x="202" y="310"/>
                    <a:pt x="210" y="311"/>
                  </a:cubicBezTo>
                  <a:cubicBezTo>
                    <a:pt x="216" y="311"/>
                    <a:pt x="221" y="311"/>
                    <a:pt x="227" y="311"/>
                  </a:cubicBezTo>
                  <a:cubicBezTo>
                    <a:pt x="230" y="311"/>
                    <a:pt x="232" y="312"/>
                    <a:pt x="234" y="314"/>
                  </a:cubicBezTo>
                  <a:cubicBezTo>
                    <a:pt x="237" y="318"/>
                    <a:pt x="241" y="319"/>
                    <a:pt x="245" y="320"/>
                  </a:cubicBezTo>
                  <a:cubicBezTo>
                    <a:pt x="250" y="320"/>
                    <a:pt x="255" y="323"/>
                    <a:pt x="259" y="325"/>
                  </a:cubicBezTo>
                  <a:cubicBezTo>
                    <a:pt x="261" y="326"/>
                    <a:pt x="264" y="328"/>
                    <a:pt x="263" y="331"/>
                  </a:cubicBezTo>
                  <a:cubicBezTo>
                    <a:pt x="263" y="334"/>
                    <a:pt x="264" y="337"/>
                    <a:pt x="266" y="339"/>
                  </a:cubicBezTo>
                  <a:cubicBezTo>
                    <a:pt x="269" y="342"/>
                    <a:pt x="271" y="345"/>
                    <a:pt x="271" y="349"/>
                  </a:cubicBezTo>
                  <a:cubicBezTo>
                    <a:pt x="271" y="353"/>
                    <a:pt x="272" y="356"/>
                    <a:pt x="272" y="360"/>
                  </a:cubicBezTo>
                  <a:cubicBezTo>
                    <a:pt x="272" y="361"/>
                    <a:pt x="272" y="363"/>
                    <a:pt x="272" y="365"/>
                  </a:cubicBezTo>
                  <a:cubicBezTo>
                    <a:pt x="272" y="365"/>
                    <a:pt x="272" y="366"/>
                    <a:pt x="273" y="366"/>
                  </a:cubicBezTo>
                  <a:cubicBezTo>
                    <a:pt x="274" y="367"/>
                    <a:pt x="275" y="368"/>
                    <a:pt x="276" y="369"/>
                  </a:cubicBezTo>
                  <a:cubicBezTo>
                    <a:pt x="277" y="369"/>
                    <a:pt x="279" y="369"/>
                    <a:pt x="279" y="368"/>
                  </a:cubicBezTo>
                  <a:cubicBezTo>
                    <a:pt x="284" y="364"/>
                    <a:pt x="288" y="359"/>
                    <a:pt x="293" y="355"/>
                  </a:cubicBezTo>
                  <a:cubicBezTo>
                    <a:pt x="295" y="352"/>
                    <a:pt x="298" y="351"/>
                    <a:pt x="301" y="349"/>
                  </a:cubicBezTo>
                  <a:cubicBezTo>
                    <a:pt x="303" y="347"/>
                    <a:pt x="306" y="344"/>
                    <a:pt x="308" y="341"/>
                  </a:cubicBezTo>
                  <a:cubicBezTo>
                    <a:pt x="309" y="341"/>
                    <a:pt x="309" y="340"/>
                    <a:pt x="310" y="341"/>
                  </a:cubicBezTo>
                  <a:cubicBezTo>
                    <a:pt x="310" y="341"/>
                    <a:pt x="311" y="341"/>
                    <a:pt x="311" y="342"/>
                  </a:cubicBezTo>
                  <a:cubicBezTo>
                    <a:pt x="311" y="344"/>
                    <a:pt x="311" y="346"/>
                    <a:pt x="309" y="348"/>
                  </a:cubicBezTo>
                  <a:cubicBezTo>
                    <a:pt x="305" y="352"/>
                    <a:pt x="303" y="356"/>
                    <a:pt x="302" y="361"/>
                  </a:cubicBezTo>
                  <a:cubicBezTo>
                    <a:pt x="300" y="366"/>
                    <a:pt x="297" y="370"/>
                    <a:pt x="293" y="372"/>
                  </a:cubicBezTo>
                  <a:cubicBezTo>
                    <a:pt x="292" y="372"/>
                    <a:pt x="291" y="374"/>
                    <a:pt x="291" y="375"/>
                  </a:cubicBezTo>
                  <a:cubicBezTo>
                    <a:pt x="291" y="375"/>
                    <a:pt x="292" y="377"/>
                    <a:pt x="292" y="377"/>
                  </a:cubicBezTo>
                  <a:cubicBezTo>
                    <a:pt x="294" y="377"/>
                    <a:pt x="295" y="377"/>
                    <a:pt x="297" y="377"/>
                  </a:cubicBezTo>
                  <a:cubicBezTo>
                    <a:pt x="302" y="377"/>
                    <a:pt x="305" y="375"/>
                    <a:pt x="307" y="371"/>
                  </a:cubicBezTo>
                  <a:cubicBezTo>
                    <a:pt x="308" y="370"/>
                    <a:pt x="308" y="369"/>
                    <a:pt x="309" y="368"/>
                  </a:cubicBezTo>
                  <a:cubicBezTo>
                    <a:pt x="309" y="367"/>
                    <a:pt x="310" y="367"/>
                    <a:pt x="310" y="367"/>
                  </a:cubicBezTo>
                  <a:cubicBezTo>
                    <a:pt x="311" y="367"/>
                    <a:pt x="312" y="368"/>
                    <a:pt x="312" y="369"/>
                  </a:cubicBezTo>
                  <a:cubicBezTo>
                    <a:pt x="312" y="374"/>
                    <a:pt x="312" y="378"/>
                    <a:pt x="309" y="382"/>
                  </a:cubicBezTo>
                  <a:cubicBezTo>
                    <a:pt x="307" y="383"/>
                    <a:pt x="308" y="385"/>
                    <a:pt x="310" y="385"/>
                  </a:cubicBezTo>
                  <a:cubicBezTo>
                    <a:pt x="313" y="386"/>
                    <a:pt x="315" y="386"/>
                    <a:pt x="318" y="386"/>
                  </a:cubicBezTo>
                  <a:cubicBezTo>
                    <a:pt x="318" y="386"/>
                    <a:pt x="318" y="386"/>
                    <a:pt x="318" y="385"/>
                  </a:cubicBezTo>
                  <a:cubicBezTo>
                    <a:pt x="319" y="385"/>
                    <a:pt x="319" y="385"/>
                    <a:pt x="319" y="385"/>
                  </a:cubicBezTo>
                  <a:cubicBezTo>
                    <a:pt x="318" y="386"/>
                    <a:pt x="318" y="386"/>
                    <a:pt x="318" y="386"/>
                  </a:cubicBezTo>
                  <a:cubicBezTo>
                    <a:pt x="318" y="386"/>
                    <a:pt x="318" y="386"/>
                    <a:pt x="318" y="386"/>
                  </a:cubicBezTo>
                  <a:cubicBezTo>
                    <a:pt x="318" y="386"/>
                    <a:pt x="318" y="387"/>
                    <a:pt x="318" y="387"/>
                  </a:cubicBezTo>
                  <a:cubicBezTo>
                    <a:pt x="322" y="395"/>
                    <a:pt x="323" y="404"/>
                    <a:pt x="319" y="413"/>
                  </a:cubicBezTo>
                  <a:cubicBezTo>
                    <a:pt x="319" y="415"/>
                    <a:pt x="320" y="417"/>
                    <a:pt x="320" y="419"/>
                  </a:cubicBezTo>
                  <a:cubicBezTo>
                    <a:pt x="321" y="421"/>
                    <a:pt x="323" y="424"/>
                    <a:pt x="324" y="426"/>
                  </a:cubicBezTo>
                  <a:cubicBezTo>
                    <a:pt x="327" y="433"/>
                    <a:pt x="333" y="437"/>
                    <a:pt x="341" y="439"/>
                  </a:cubicBezTo>
                  <a:cubicBezTo>
                    <a:pt x="345" y="440"/>
                    <a:pt x="349" y="443"/>
                    <a:pt x="352" y="445"/>
                  </a:cubicBezTo>
                  <a:cubicBezTo>
                    <a:pt x="354" y="447"/>
                    <a:pt x="356" y="449"/>
                    <a:pt x="358" y="450"/>
                  </a:cubicBezTo>
                  <a:cubicBezTo>
                    <a:pt x="360" y="452"/>
                    <a:pt x="362" y="452"/>
                    <a:pt x="365" y="451"/>
                  </a:cubicBezTo>
                  <a:cubicBezTo>
                    <a:pt x="371" y="448"/>
                    <a:pt x="379" y="445"/>
                    <a:pt x="383" y="438"/>
                  </a:cubicBezTo>
                  <a:cubicBezTo>
                    <a:pt x="383" y="437"/>
                    <a:pt x="384" y="437"/>
                    <a:pt x="385" y="438"/>
                  </a:cubicBezTo>
                  <a:cubicBezTo>
                    <a:pt x="386" y="439"/>
                    <a:pt x="386" y="439"/>
                    <a:pt x="386" y="439"/>
                  </a:cubicBezTo>
                  <a:cubicBezTo>
                    <a:pt x="385" y="441"/>
                    <a:pt x="384" y="443"/>
                    <a:pt x="385" y="444"/>
                  </a:cubicBezTo>
                  <a:cubicBezTo>
                    <a:pt x="389" y="448"/>
                    <a:pt x="391" y="454"/>
                    <a:pt x="395" y="458"/>
                  </a:cubicBezTo>
                  <a:cubicBezTo>
                    <a:pt x="397" y="459"/>
                    <a:pt x="399" y="459"/>
                    <a:pt x="400" y="459"/>
                  </a:cubicBezTo>
                  <a:cubicBezTo>
                    <a:pt x="405" y="454"/>
                    <a:pt x="412" y="450"/>
                    <a:pt x="418" y="445"/>
                  </a:cubicBezTo>
                  <a:cubicBezTo>
                    <a:pt x="424" y="441"/>
                    <a:pt x="430" y="439"/>
                    <a:pt x="438" y="439"/>
                  </a:cubicBezTo>
                  <a:cubicBezTo>
                    <a:pt x="441" y="439"/>
                    <a:pt x="443" y="439"/>
                    <a:pt x="446" y="439"/>
                  </a:cubicBezTo>
                  <a:cubicBezTo>
                    <a:pt x="451" y="438"/>
                    <a:pt x="457" y="433"/>
                    <a:pt x="457" y="428"/>
                  </a:cubicBezTo>
                  <a:cubicBezTo>
                    <a:pt x="458" y="421"/>
                    <a:pt x="461" y="416"/>
                    <a:pt x="463" y="409"/>
                  </a:cubicBezTo>
                  <a:cubicBezTo>
                    <a:pt x="465" y="402"/>
                    <a:pt x="468" y="395"/>
                    <a:pt x="474" y="390"/>
                  </a:cubicBezTo>
                  <a:cubicBezTo>
                    <a:pt x="478" y="387"/>
                    <a:pt x="480" y="382"/>
                    <a:pt x="482" y="378"/>
                  </a:cubicBezTo>
                  <a:cubicBezTo>
                    <a:pt x="485" y="373"/>
                    <a:pt x="488" y="368"/>
                    <a:pt x="491" y="363"/>
                  </a:cubicBezTo>
                  <a:cubicBezTo>
                    <a:pt x="495" y="355"/>
                    <a:pt x="501" y="347"/>
                    <a:pt x="510" y="342"/>
                  </a:cubicBezTo>
                  <a:cubicBezTo>
                    <a:pt x="512" y="341"/>
                    <a:pt x="513" y="339"/>
                    <a:pt x="514" y="337"/>
                  </a:cubicBezTo>
                  <a:cubicBezTo>
                    <a:pt x="516" y="330"/>
                    <a:pt x="523" y="327"/>
                    <a:pt x="525" y="320"/>
                  </a:cubicBezTo>
                  <a:cubicBezTo>
                    <a:pt x="527" y="314"/>
                    <a:pt x="527" y="307"/>
                    <a:pt x="530" y="301"/>
                  </a:cubicBezTo>
                  <a:cubicBezTo>
                    <a:pt x="534" y="293"/>
                    <a:pt x="536" y="285"/>
                    <a:pt x="541" y="278"/>
                  </a:cubicBezTo>
                  <a:cubicBezTo>
                    <a:pt x="542" y="276"/>
                    <a:pt x="543" y="273"/>
                    <a:pt x="543" y="270"/>
                  </a:cubicBezTo>
                  <a:cubicBezTo>
                    <a:pt x="544" y="265"/>
                    <a:pt x="544" y="260"/>
                    <a:pt x="542" y="255"/>
                  </a:cubicBezTo>
                  <a:cubicBezTo>
                    <a:pt x="541" y="251"/>
                    <a:pt x="541" y="248"/>
                    <a:pt x="542" y="244"/>
                  </a:cubicBezTo>
                  <a:cubicBezTo>
                    <a:pt x="542" y="242"/>
                    <a:pt x="543" y="239"/>
                    <a:pt x="543" y="237"/>
                  </a:cubicBezTo>
                  <a:cubicBezTo>
                    <a:pt x="543" y="229"/>
                    <a:pt x="545" y="222"/>
                    <a:pt x="548" y="215"/>
                  </a:cubicBezTo>
                  <a:cubicBezTo>
                    <a:pt x="548" y="214"/>
                    <a:pt x="549" y="213"/>
                    <a:pt x="549" y="212"/>
                  </a:cubicBezTo>
                  <a:cubicBezTo>
                    <a:pt x="549" y="212"/>
                    <a:pt x="548" y="211"/>
                    <a:pt x="548" y="210"/>
                  </a:cubicBezTo>
                  <a:cubicBezTo>
                    <a:pt x="547" y="210"/>
                    <a:pt x="547" y="211"/>
                    <a:pt x="546" y="21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24"/>
            <p:cNvSpPr>
              <a:spLocks noEditPoints="1"/>
            </p:cNvSpPr>
            <p:nvPr/>
          </p:nvSpPr>
          <p:spPr bwMode="auto">
            <a:xfrm>
              <a:off x="1097280" y="1465673"/>
              <a:ext cx="4980409" cy="4190501"/>
            </a:xfrm>
            <a:custGeom>
              <a:avLst/>
              <a:gdLst>
                <a:gd name="T0" fmla="*/ 1615 w 2326"/>
                <a:gd name="T1" fmla="*/ 1395 h 1956"/>
                <a:gd name="T2" fmla="*/ 1672 w 2326"/>
                <a:gd name="T3" fmla="*/ 1215 h 1956"/>
                <a:gd name="T4" fmla="*/ 1863 w 2326"/>
                <a:gd name="T5" fmla="*/ 1071 h 1956"/>
                <a:gd name="T6" fmla="*/ 1821 w 2326"/>
                <a:gd name="T7" fmla="*/ 925 h 1956"/>
                <a:gd name="T8" fmla="*/ 1898 w 2326"/>
                <a:gd name="T9" fmla="*/ 930 h 1956"/>
                <a:gd name="T10" fmla="*/ 2006 w 2326"/>
                <a:gd name="T11" fmla="*/ 707 h 1956"/>
                <a:gd name="T12" fmla="*/ 2014 w 2326"/>
                <a:gd name="T13" fmla="*/ 606 h 1956"/>
                <a:gd name="T14" fmla="*/ 1889 w 2326"/>
                <a:gd name="T15" fmla="*/ 564 h 1956"/>
                <a:gd name="T16" fmla="*/ 2064 w 2326"/>
                <a:gd name="T17" fmla="*/ 369 h 1956"/>
                <a:gd name="T18" fmla="*/ 2123 w 2326"/>
                <a:gd name="T19" fmla="*/ 452 h 1956"/>
                <a:gd name="T20" fmla="*/ 2199 w 2326"/>
                <a:gd name="T21" fmla="*/ 431 h 1956"/>
                <a:gd name="T22" fmla="*/ 2260 w 2326"/>
                <a:gd name="T23" fmla="*/ 289 h 1956"/>
                <a:gd name="T24" fmla="*/ 2265 w 2326"/>
                <a:gd name="T25" fmla="*/ 125 h 1956"/>
                <a:gd name="T26" fmla="*/ 2217 w 2326"/>
                <a:gd name="T27" fmla="*/ 41 h 1956"/>
                <a:gd name="T28" fmla="*/ 1971 w 2326"/>
                <a:gd name="T29" fmla="*/ 76 h 1956"/>
                <a:gd name="T30" fmla="*/ 1663 w 2326"/>
                <a:gd name="T31" fmla="*/ 66 h 1956"/>
                <a:gd name="T32" fmla="*/ 1551 w 2326"/>
                <a:gd name="T33" fmla="*/ 128 h 1956"/>
                <a:gd name="T34" fmla="*/ 1355 w 2326"/>
                <a:gd name="T35" fmla="*/ 115 h 1956"/>
                <a:gd name="T36" fmla="*/ 1303 w 2326"/>
                <a:gd name="T37" fmla="*/ 29 h 1956"/>
                <a:gd name="T38" fmla="*/ 1143 w 2326"/>
                <a:gd name="T39" fmla="*/ 74 h 1956"/>
                <a:gd name="T40" fmla="*/ 1089 w 2326"/>
                <a:gd name="T41" fmla="*/ 247 h 1956"/>
                <a:gd name="T42" fmla="*/ 1010 w 2326"/>
                <a:gd name="T43" fmla="*/ 258 h 1956"/>
                <a:gd name="T44" fmla="*/ 1040 w 2326"/>
                <a:gd name="T45" fmla="*/ 373 h 1956"/>
                <a:gd name="T46" fmla="*/ 934 w 2326"/>
                <a:gd name="T47" fmla="*/ 312 h 1956"/>
                <a:gd name="T48" fmla="*/ 846 w 2326"/>
                <a:gd name="T49" fmla="*/ 368 h 1956"/>
                <a:gd name="T50" fmla="*/ 687 w 2326"/>
                <a:gd name="T51" fmla="*/ 442 h 1956"/>
                <a:gd name="T52" fmla="*/ 588 w 2326"/>
                <a:gd name="T53" fmla="*/ 438 h 1956"/>
                <a:gd name="T54" fmla="*/ 518 w 2326"/>
                <a:gd name="T55" fmla="*/ 334 h 1956"/>
                <a:gd name="T56" fmla="*/ 429 w 2326"/>
                <a:gd name="T57" fmla="*/ 372 h 1956"/>
                <a:gd name="T58" fmla="*/ 392 w 2326"/>
                <a:gd name="T59" fmla="*/ 417 h 1956"/>
                <a:gd name="T60" fmla="*/ 290 w 2326"/>
                <a:gd name="T61" fmla="*/ 586 h 1956"/>
                <a:gd name="T62" fmla="*/ 424 w 2326"/>
                <a:gd name="T63" fmla="*/ 650 h 1956"/>
                <a:gd name="T64" fmla="*/ 482 w 2326"/>
                <a:gd name="T65" fmla="*/ 583 h 1956"/>
                <a:gd name="T66" fmla="*/ 499 w 2326"/>
                <a:gd name="T67" fmla="*/ 639 h 1956"/>
                <a:gd name="T68" fmla="*/ 361 w 2326"/>
                <a:gd name="T69" fmla="*/ 681 h 1956"/>
                <a:gd name="T70" fmla="*/ 224 w 2326"/>
                <a:gd name="T71" fmla="*/ 786 h 1956"/>
                <a:gd name="T72" fmla="*/ 118 w 2326"/>
                <a:gd name="T73" fmla="*/ 978 h 1956"/>
                <a:gd name="T74" fmla="*/ 432 w 2326"/>
                <a:gd name="T75" fmla="*/ 941 h 1956"/>
                <a:gd name="T76" fmla="*/ 388 w 2326"/>
                <a:gd name="T77" fmla="*/ 851 h 1956"/>
                <a:gd name="T78" fmla="*/ 523 w 2326"/>
                <a:gd name="T79" fmla="*/ 932 h 1956"/>
                <a:gd name="T80" fmla="*/ 700 w 2326"/>
                <a:gd name="T81" fmla="*/ 988 h 1956"/>
                <a:gd name="T82" fmla="*/ 381 w 2326"/>
                <a:gd name="T83" fmla="*/ 1039 h 1956"/>
                <a:gd name="T84" fmla="*/ 105 w 2326"/>
                <a:gd name="T85" fmla="*/ 1072 h 1956"/>
                <a:gd name="T86" fmla="*/ 40 w 2326"/>
                <a:gd name="T87" fmla="*/ 1352 h 1956"/>
                <a:gd name="T88" fmla="*/ 351 w 2326"/>
                <a:gd name="T89" fmla="*/ 1499 h 1956"/>
                <a:gd name="T90" fmla="*/ 467 w 2326"/>
                <a:gd name="T91" fmla="*/ 1947 h 1956"/>
                <a:gd name="T92" fmla="*/ 784 w 2326"/>
                <a:gd name="T93" fmla="*/ 1628 h 1956"/>
                <a:gd name="T94" fmla="*/ 765 w 2326"/>
                <a:gd name="T95" fmla="*/ 1270 h 1956"/>
                <a:gd name="T96" fmla="*/ 819 w 2326"/>
                <a:gd name="T97" fmla="*/ 1308 h 1956"/>
                <a:gd name="T98" fmla="*/ 965 w 2326"/>
                <a:gd name="T99" fmla="*/ 1154 h 1956"/>
                <a:gd name="T100" fmla="*/ 1051 w 2326"/>
                <a:gd name="T101" fmla="*/ 1148 h 1956"/>
                <a:gd name="T102" fmla="*/ 1248 w 2326"/>
                <a:gd name="T103" fmla="*/ 1306 h 1956"/>
                <a:gd name="T104" fmla="*/ 1469 w 2326"/>
                <a:gd name="T105" fmla="*/ 1183 h 1956"/>
                <a:gd name="T106" fmla="*/ 1312 w 2326"/>
                <a:gd name="T107" fmla="*/ 49 h 1956"/>
                <a:gd name="T108" fmla="*/ 492 w 2326"/>
                <a:gd name="T109" fmla="*/ 350 h 1956"/>
                <a:gd name="T110" fmla="*/ 628 w 2326"/>
                <a:gd name="T111" fmla="*/ 541 h 1956"/>
                <a:gd name="T112" fmla="*/ 693 w 2326"/>
                <a:gd name="T113" fmla="*/ 906 h 1956"/>
                <a:gd name="T114" fmla="*/ 667 w 2326"/>
                <a:gd name="T115" fmla="*/ 837 h 1956"/>
                <a:gd name="T116" fmla="*/ 877 w 2326"/>
                <a:gd name="T117" fmla="*/ 919 h 1956"/>
                <a:gd name="T118" fmla="*/ 926 w 2326"/>
                <a:gd name="T119" fmla="*/ 942 h 1956"/>
                <a:gd name="T120" fmla="*/ 1200 w 2326"/>
                <a:gd name="T121" fmla="*/ 23 h 1956"/>
                <a:gd name="T122" fmla="*/ 1240 w 2326"/>
                <a:gd name="T123" fmla="*/ 109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6" h="1956">
                  <a:moveTo>
                    <a:pt x="1549" y="1262"/>
                  </a:moveTo>
                  <a:cubicBezTo>
                    <a:pt x="1550" y="1262"/>
                    <a:pt x="1551" y="1261"/>
                    <a:pt x="1552" y="1262"/>
                  </a:cubicBezTo>
                  <a:cubicBezTo>
                    <a:pt x="1555" y="1265"/>
                    <a:pt x="1559" y="1267"/>
                    <a:pt x="1560" y="1271"/>
                  </a:cubicBezTo>
                  <a:cubicBezTo>
                    <a:pt x="1561" y="1275"/>
                    <a:pt x="1562" y="1278"/>
                    <a:pt x="1563" y="1282"/>
                  </a:cubicBezTo>
                  <a:cubicBezTo>
                    <a:pt x="1566" y="1291"/>
                    <a:pt x="1567" y="1300"/>
                    <a:pt x="1573" y="1308"/>
                  </a:cubicBezTo>
                  <a:cubicBezTo>
                    <a:pt x="1575" y="1310"/>
                    <a:pt x="1575" y="1312"/>
                    <a:pt x="1576" y="1314"/>
                  </a:cubicBezTo>
                  <a:cubicBezTo>
                    <a:pt x="1576" y="1316"/>
                    <a:pt x="1576" y="1318"/>
                    <a:pt x="1577" y="1320"/>
                  </a:cubicBezTo>
                  <a:cubicBezTo>
                    <a:pt x="1580" y="1328"/>
                    <a:pt x="1580" y="1335"/>
                    <a:pt x="1577" y="1343"/>
                  </a:cubicBezTo>
                  <a:cubicBezTo>
                    <a:pt x="1577" y="1345"/>
                    <a:pt x="1576" y="1347"/>
                    <a:pt x="1577" y="1349"/>
                  </a:cubicBezTo>
                  <a:cubicBezTo>
                    <a:pt x="1579" y="1355"/>
                    <a:pt x="1578" y="1361"/>
                    <a:pt x="1576" y="1366"/>
                  </a:cubicBezTo>
                  <a:cubicBezTo>
                    <a:pt x="1573" y="1372"/>
                    <a:pt x="1574" y="1377"/>
                    <a:pt x="1581" y="1380"/>
                  </a:cubicBezTo>
                  <a:cubicBezTo>
                    <a:pt x="1582" y="1380"/>
                    <a:pt x="1583" y="1380"/>
                    <a:pt x="1583" y="1381"/>
                  </a:cubicBezTo>
                  <a:cubicBezTo>
                    <a:pt x="1589" y="1389"/>
                    <a:pt x="1596" y="1396"/>
                    <a:pt x="1602" y="1404"/>
                  </a:cubicBezTo>
                  <a:cubicBezTo>
                    <a:pt x="1605" y="1408"/>
                    <a:pt x="1605" y="1413"/>
                    <a:pt x="1606" y="1418"/>
                  </a:cubicBezTo>
                  <a:cubicBezTo>
                    <a:pt x="1606" y="1419"/>
                    <a:pt x="1606" y="1420"/>
                    <a:pt x="1607" y="1420"/>
                  </a:cubicBezTo>
                  <a:cubicBezTo>
                    <a:pt x="1609" y="1423"/>
                    <a:pt x="1609" y="1426"/>
                    <a:pt x="1609" y="1429"/>
                  </a:cubicBezTo>
                  <a:cubicBezTo>
                    <a:pt x="1609" y="1433"/>
                    <a:pt x="1610" y="1436"/>
                    <a:pt x="1612" y="1438"/>
                  </a:cubicBezTo>
                  <a:cubicBezTo>
                    <a:pt x="1616" y="1441"/>
                    <a:pt x="1619" y="1445"/>
                    <a:pt x="1620" y="1450"/>
                  </a:cubicBezTo>
                  <a:cubicBezTo>
                    <a:pt x="1621" y="1451"/>
                    <a:pt x="1622" y="1452"/>
                    <a:pt x="1623" y="1453"/>
                  </a:cubicBezTo>
                  <a:cubicBezTo>
                    <a:pt x="1625" y="1454"/>
                    <a:pt x="1627" y="1455"/>
                    <a:pt x="1628" y="1457"/>
                  </a:cubicBezTo>
                  <a:cubicBezTo>
                    <a:pt x="1631" y="1461"/>
                    <a:pt x="1636" y="1463"/>
                    <a:pt x="1640" y="1465"/>
                  </a:cubicBezTo>
                  <a:cubicBezTo>
                    <a:pt x="1645" y="1468"/>
                    <a:pt x="1651" y="1471"/>
                    <a:pt x="1656" y="1473"/>
                  </a:cubicBezTo>
                  <a:cubicBezTo>
                    <a:pt x="1656" y="1474"/>
                    <a:pt x="1656" y="1474"/>
                    <a:pt x="1656" y="1474"/>
                  </a:cubicBezTo>
                  <a:cubicBezTo>
                    <a:pt x="1656" y="1474"/>
                    <a:pt x="1656" y="1474"/>
                    <a:pt x="1657" y="1474"/>
                  </a:cubicBezTo>
                  <a:cubicBezTo>
                    <a:pt x="1657" y="1474"/>
                    <a:pt x="1656" y="1474"/>
                    <a:pt x="1656" y="1473"/>
                  </a:cubicBezTo>
                  <a:cubicBezTo>
                    <a:pt x="1657" y="1473"/>
                    <a:pt x="1658" y="1472"/>
                    <a:pt x="1659" y="1471"/>
                  </a:cubicBezTo>
                  <a:cubicBezTo>
                    <a:pt x="1661" y="1469"/>
                    <a:pt x="1662" y="1467"/>
                    <a:pt x="1661" y="1465"/>
                  </a:cubicBezTo>
                  <a:cubicBezTo>
                    <a:pt x="1659" y="1461"/>
                    <a:pt x="1658" y="1456"/>
                    <a:pt x="1655" y="1453"/>
                  </a:cubicBezTo>
                  <a:cubicBezTo>
                    <a:pt x="1651" y="1449"/>
                    <a:pt x="1650" y="1444"/>
                    <a:pt x="1650" y="1439"/>
                  </a:cubicBezTo>
                  <a:cubicBezTo>
                    <a:pt x="1650" y="1435"/>
                    <a:pt x="1650" y="1432"/>
                    <a:pt x="1650" y="1429"/>
                  </a:cubicBezTo>
                  <a:cubicBezTo>
                    <a:pt x="1650" y="1426"/>
                    <a:pt x="1649" y="1422"/>
                    <a:pt x="1646" y="1419"/>
                  </a:cubicBezTo>
                  <a:cubicBezTo>
                    <a:pt x="1642" y="1414"/>
                    <a:pt x="1637" y="1410"/>
                    <a:pt x="1633" y="1406"/>
                  </a:cubicBezTo>
                  <a:cubicBezTo>
                    <a:pt x="1626" y="1403"/>
                    <a:pt x="1622" y="1397"/>
                    <a:pt x="1615" y="1395"/>
                  </a:cubicBezTo>
                  <a:cubicBezTo>
                    <a:pt x="1611" y="1393"/>
                    <a:pt x="1607" y="1389"/>
                    <a:pt x="1608" y="1384"/>
                  </a:cubicBezTo>
                  <a:cubicBezTo>
                    <a:pt x="1608" y="1381"/>
                    <a:pt x="1606" y="1378"/>
                    <a:pt x="1604" y="1375"/>
                  </a:cubicBezTo>
                  <a:cubicBezTo>
                    <a:pt x="1600" y="1372"/>
                    <a:pt x="1599" y="1368"/>
                    <a:pt x="1597" y="1364"/>
                  </a:cubicBezTo>
                  <a:cubicBezTo>
                    <a:pt x="1592" y="1363"/>
                    <a:pt x="1589" y="1360"/>
                    <a:pt x="1588" y="1355"/>
                  </a:cubicBezTo>
                  <a:cubicBezTo>
                    <a:pt x="1588" y="1352"/>
                    <a:pt x="1588" y="1349"/>
                    <a:pt x="1589" y="1346"/>
                  </a:cubicBezTo>
                  <a:cubicBezTo>
                    <a:pt x="1593" y="1335"/>
                    <a:pt x="1597" y="1323"/>
                    <a:pt x="1598" y="1311"/>
                  </a:cubicBezTo>
                  <a:cubicBezTo>
                    <a:pt x="1598" y="1311"/>
                    <a:pt x="1598" y="1310"/>
                    <a:pt x="1599" y="1310"/>
                  </a:cubicBezTo>
                  <a:cubicBezTo>
                    <a:pt x="1600" y="1309"/>
                    <a:pt x="1601" y="1309"/>
                    <a:pt x="1602" y="1308"/>
                  </a:cubicBezTo>
                  <a:cubicBezTo>
                    <a:pt x="1602" y="1308"/>
                    <a:pt x="1604" y="1309"/>
                    <a:pt x="1605" y="1309"/>
                  </a:cubicBezTo>
                  <a:cubicBezTo>
                    <a:pt x="1605" y="1310"/>
                    <a:pt x="1606" y="1311"/>
                    <a:pt x="1606" y="1312"/>
                  </a:cubicBezTo>
                  <a:cubicBezTo>
                    <a:pt x="1607" y="1317"/>
                    <a:pt x="1610" y="1320"/>
                    <a:pt x="1616" y="1320"/>
                  </a:cubicBezTo>
                  <a:cubicBezTo>
                    <a:pt x="1618" y="1320"/>
                    <a:pt x="1620" y="1320"/>
                    <a:pt x="1621" y="1321"/>
                  </a:cubicBezTo>
                  <a:cubicBezTo>
                    <a:pt x="1627" y="1325"/>
                    <a:pt x="1633" y="1327"/>
                    <a:pt x="1637" y="1334"/>
                  </a:cubicBezTo>
                  <a:cubicBezTo>
                    <a:pt x="1640" y="1342"/>
                    <a:pt x="1648" y="1346"/>
                    <a:pt x="1654" y="1352"/>
                  </a:cubicBezTo>
                  <a:cubicBezTo>
                    <a:pt x="1656" y="1351"/>
                    <a:pt x="1658" y="1350"/>
                    <a:pt x="1659" y="1350"/>
                  </a:cubicBezTo>
                  <a:cubicBezTo>
                    <a:pt x="1662" y="1352"/>
                    <a:pt x="1666" y="1353"/>
                    <a:pt x="1665" y="1358"/>
                  </a:cubicBezTo>
                  <a:cubicBezTo>
                    <a:pt x="1665" y="1362"/>
                    <a:pt x="1665" y="1367"/>
                    <a:pt x="1666" y="1371"/>
                  </a:cubicBezTo>
                  <a:cubicBezTo>
                    <a:pt x="1666" y="1372"/>
                    <a:pt x="1669" y="1373"/>
                    <a:pt x="1670" y="1372"/>
                  </a:cubicBezTo>
                  <a:cubicBezTo>
                    <a:pt x="1670" y="1372"/>
                    <a:pt x="1671" y="1372"/>
                    <a:pt x="1671" y="1372"/>
                  </a:cubicBezTo>
                  <a:cubicBezTo>
                    <a:pt x="1678" y="1366"/>
                    <a:pt x="1684" y="1360"/>
                    <a:pt x="1690" y="1354"/>
                  </a:cubicBezTo>
                  <a:cubicBezTo>
                    <a:pt x="1692" y="1353"/>
                    <a:pt x="1693" y="1351"/>
                    <a:pt x="1695" y="1351"/>
                  </a:cubicBezTo>
                  <a:cubicBezTo>
                    <a:pt x="1704" y="1349"/>
                    <a:pt x="1710" y="1344"/>
                    <a:pt x="1716" y="1338"/>
                  </a:cubicBezTo>
                  <a:cubicBezTo>
                    <a:pt x="1720" y="1335"/>
                    <a:pt x="1722" y="1331"/>
                    <a:pt x="1723" y="1326"/>
                  </a:cubicBezTo>
                  <a:cubicBezTo>
                    <a:pt x="1725" y="1319"/>
                    <a:pt x="1726" y="1312"/>
                    <a:pt x="1723" y="1305"/>
                  </a:cubicBezTo>
                  <a:cubicBezTo>
                    <a:pt x="1723" y="1305"/>
                    <a:pt x="1723" y="1304"/>
                    <a:pt x="1723" y="1303"/>
                  </a:cubicBezTo>
                  <a:cubicBezTo>
                    <a:pt x="1722" y="1294"/>
                    <a:pt x="1718" y="1285"/>
                    <a:pt x="1713" y="1277"/>
                  </a:cubicBezTo>
                  <a:cubicBezTo>
                    <a:pt x="1712" y="1274"/>
                    <a:pt x="1709" y="1271"/>
                    <a:pt x="1706" y="1268"/>
                  </a:cubicBezTo>
                  <a:cubicBezTo>
                    <a:pt x="1701" y="1263"/>
                    <a:pt x="1695" y="1259"/>
                    <a:pt x="1688" y="1255"/>
                  </a:cubicBezTo>
                  <a:cubicBezTo>
                    <a:pt x="1684" y="1252"/>
                    <a:pt x="1680" y="1249"/>
                    <a:pt x="1679" y="1244"/>
                  </a:cubicBezTo>
                  <a:cubicBezTo>
                    <a:pt x="1679" y="1242"/>
                    <a:pt x="1676" y="1240"/>
                    <a:pt x="1674" y="1238"/>
                  </a:cubicBezTo>
                  <a:cubicBezTo>
                    <a:pt x="1673" y="1237"/>
                    <a:pt x="1671" y="1235"/>
                    <a:pt x="1669" y="1234"/>
                  </a:cubicBezTo>
                  <a:cubicBezTo>
                    <a:pt x="1669" y="1233"/>
                    <a:pt x="1668" y="1232"/>
                    <a:pt x="1668" y="1231"/>
                  </a:cubicBezTo>
                  <a:cubicBezTo>
                    <a:pt x="1668" y="1226"/>
                    <a:pt x="1666" y="1220"/>
                    <a:pt x="1672" y="1215"/>
                  </a:cubicBezTo>
                  <a:cubicBezTo>
                    <a:pt x="1674" y="1213"/>
                    <a:pt x="1676" y="1210"/>
                    <a:pt x="1676" y="1207"/>
                  </a:cubicBezTo>
                  <a:cubicBezTo>
                    <a:pt x="1677" y="1205"/>
                    <a:pt x="1678" y="1203"/>
                    <a:pt x="1680" y="1202"/>
                  </a:cubicBezTo>
                  <a:cubicBezTo>
                    <a:pt x="1686" y="1199"/>
                    <a:pt x="1692" y="1196"/>
                    <a:pt x="1699" y="1192"/>
                  </a:cubicBezTo>
                  <a:cubicBezTo>
                    <a:pt x="1700" y="1192"/>
                    <a:pt x="1702" y="1192"/>
                    <a:pt x="1704" y="1192"/>
                  </a:cubicBezTo>
                  <a:cubicBezTo>
                    <a:pt x="1705" y="1192"/>
                    <a:pt x="1707" y="1193"/>
                    <a:pt x="1708" y="1194"/>
                  </a:cubicBezTo>
                  <a:cubicBezTo>
                    <a:pt x="1712" y="1195"/>
                    <a:pt x="1715" y="1196"/>
                    <a:pt x="1716" y="1200"/>
                  </a:cubicBezTo>
                  <a:cubicBezTo>
                    <a:pt x="1716" y="1204"/>
                    <a:pt x="1719" y="1206"/>
                    <a:pt x="1721" y="1208"/>
                  </a:cubicBezTo>
                  <a:cubicBezTo>
                    <a:pt x="1724" y="1210"/>
                    <a:pt x="1728" y="1209"/>
                    <a:pt x="1729" y="1205"/>
                  </a:cubicBezTo>
                  <a:cubicBezTo>
                    <a:pt x="1729" y="1204"/>
                    <a:pt x="1729" y="1202"/>
                    <a:pt x="1729" y="1201"/>
                  </a:cubicBezTo>
                  <a:cubicBezTo>
                    <a:pt x="1729" y="1201"/>
                    <a:pt x="1729" y="1201"/>
                    <a:pt x="1729" y="1201"/>
                  </a:cubicBezTo>
                  <a:cubicBezTo>
                    <a:pt x="1730" y="1200"/>
                    <a:pt x="1730" y="1200"/>
                    <a:pt x="1730" y="1200"/>
                  </a:cubicBezTo>
                  <a:cubicBezTo>
                    <a:pt x="1729" y="1200"/>
                    <a:pt x="1729" y="1200"/>
                    <a:pt x="1729" y="1200"/>
                  </a:cubicBezTo>
                  <a:cubicBezTo>
                    <a:pt x="1729" y="1200"/>
                    <a:pt x="1728" y="1199"/>
                    <a:pt x="1728" y="1198"/>
                  </a:cubicBezTo>
                  <a:cubicBezTo>
                    <a:pt x="1728" y="1197"/>
                    <a:pt x="1729" y="1196"/>
                    <a:pt x="1730" y="1196"/>
                  </a:cubicBezTo>
                  <a:cubicBezTo>
                    <a:pt x="1737" y="1195"/>
                    <a:pt x="1744" y="1191"/>
                    <a:pt x="1751" y="1189"/>
                  </a:cubicBezTo>
                  <a:cubicBezTo>
                    <a:pt x="1758" y="1187"/>
                    <a:pt x="1763" y="1183"/>
                    <a:pt x="1766" y="1177"/>
                  </a:cubicBezTo>
                  <a:cubicBezTo>
                    <a:pt x="1767" y="1175"/>
                    <a:pt x="1768" y="1175"/>
                    <a:pt x="1770" y="1176"/>
                  </a:cubicBezTo>
                  <a:cubicBezTo>
                    <a:pt x="1772" y="1177"/>
                    <a:pt x="1773" y="1179"/>
                    <a:pt x="1776" y="1178"/>
                  </a:cubicBezTo>
                  <a:cubicBezTo>
                    <a:pt x="1780" y="1176"/>
                    <a:pt x="1785" y="1175"/>
                    <a:pt x="1790" y="1174"/>
                  </a:cubicBezTo>
                  <a:cubicBezTo>
                    <a:pt x="1794" y="1174"/>
                    <a:pt x="1797" y="1172"/>
                    <a:pt x="1801" y="1171"/>
                  </a:cubicBezTo>
                  <a:cubicBezTo>
                    <a:pt x="1805" y="1169"/>
                    <a:pt x="1808" y="1167"/>
                    <a:pt x="1809" y="1163"/>
                  </a:cubicBezTo>
                  <a:cubicBezTo>
                    <a:pt x="1809" y="1162"/>
                    <a:pt x="1811" y="1161"/>
                    <a:pt x="1812" y="1161"/>
                  </a:cubicBezTo>
                  <a:cubicBezTo>
                    <a:pt x="1818" y="1157"/>
                    <a:pt x="1824" y="1154"/>
                    <a:pt x="1826" y="1148"/>
                  </a:cubicBezTo>
                  <a:cubicBezTo>
                    <a:pt x="1826" y="1147"/>
                    <a:pt x="1826" y="1147"/>
                    <a:pt x="1827" y="1146"/>
                  </a:cubicBezTo>
                  <a:cubicBezTo>
                    <a:pt x="1831" y="1144"/>
                    <a:pt x="1834" y="1140"/>
                    <a:pt x="1835" y="1135"/>
                  </a:cubicBezTo>
                  <a:cubicBezTo>
                    <a:pt x="1836" y="1134"/>
                    <a:pt x="1838" y="1134"/>
                    <a:pt x="1839" y="1133"/>
                  </a:cubicBezTo>
                  <a:cubicBezTo>
                    <a:pt x="1842" y="1132"/>
                    <a:pt x="1843" y="1131"/>
                    <a:pt x="1842" y="1128"/>
                  </a:cubicBezTo>
                  <a:cubicBezTo>
                    <a:pt x="1841" y="1124"/>
                    <a:pt x="1841" y="1120"/>
                    <a:pt x="1841" y="1116"/>
                  </a:cubicBezTo>
                  <a:cubicBezTo>
                    <a:pt x="1841" y="1114"/>
                    <a:pt x="1840" y="1112"/>
                    <a:pt x="1843" y="1110"/>
                  </a:cubicBezTo>
                  <a:cubicBezTo>
                    <a:pt x="1848" y="1107"/>
                    <a:pt x="1851" y="1102"/>
                    <a:pt x="1852" y="1097"/>
                  </a:cubicBezTo>
                  <a:cubicBezTo>
                    <a:pt x="1852" y="1094"/>
                    <a:pt x="1853" y="1091"/>
                    <a:pt x="1856" y="1089"/>
                  </a:cubicBezTo>
                  <a:cubicBezTo>
                    <a:pt x="1860" y="1086"/>
                    <a:pt x="1861" y="1083"/>
                    <a:pt x="1861" y="1078"/>
                  </a:cubicBezTo>
                  <a:cubicBezTo>
                    <a:pt x="1861" y="1076"/>
                    <a:pt x="1862" y="1073"/>
                    <a:pt x="1863" y="1071"/>
                  </a:cubicBezTo>
                  <a:cubicBezTo>
                    <a:pt x="1866" y="1066"/>
                    <a:pt x="1864" y="1063"/>
                    <a:pt x="1861" y="1059"/>
                  </a:cubicBezTo>
                  <a:cubicBezTo>
                    <a:pt x="1859" y="1057"/>
                    <a:pt x="1857" y="1056"/>
                    <a:pt x="1855" y="1054"/>
                  </a:cubicBezTo>
                  <a:cubicBezTo>
                    <a:pt x="1853" y="1053"/>
                    <a:pt x="1851" y="1053"/>
                    <a:pt x="1849" y="1053"/>
                  </a:cubicBezTo>
                  <a:cubicBezTo>
                    <a:pt x="1849" y="1053"/>
                    <a:pt x="1849" y="1053"/>
                    <a:pt x="1849" y="1053"/>
                  </a:cubicBezTo>
                  <a:cubicBezTo>
                    <a:pt x="1848" y="1053"/>
                    <a:pt x="1848" y="1053"/>
                    <a:pt x="1848" y="1053"/>
                  </a:cubicBezTo>
                  <a:cubicBezTo>
                    <a:pt x="1849" y="1053"/>
                    <a:pt x="1849" y="1053"/>
                    <a:pt x="1849" y="1053"/>
                  </a:cubicBezTo>
                  <a:cubicBezTo>
                    <a:pt x="1849" y="1053"/>
                    <a:pt x="1849" y="1053"/>
                    <a:pt x="1849" y="1053"/>
                  </a:cubicBezTo>
                  <a:cubicBezTo>
                    <a:pt x="1849" y="1052"/>
                    <a:pt x="1849" y="1050"/>
                    <a:pt x="1850" y="1049"/>
                  </a:cubicBezTo>
                  <a:cubicBezTo>
                    <a:pt x="1852" y="1047"/>
                    <a:pt x="1854" y="1046"/>
                    <a:pt x="1856" y="1044"/>
                  </a:cubicBezTo>
                  <a:cubicBezTo>
                    <a:pt x="1858" y="1042"/>
                    <a:pt x="1858" y="1040"/>
                    <a:pt x="1857" y="1038"/>
                  </a:cubicBezTo>
                  <a:cubicBezTo>
                    <a:pt x="1855" y="1035"/>
                    <a:pt x="1852" y="1033"/>
                    <a:pt x="1849" y="1031"/>
                  </a:cubicBezTo>
                  <a:cubicBezTo>
                    <a:pt x="1849" y="1031"/>
                    <a:pt x="1849" y="1031"/>
                    <a:pt x="1848" y="1031"/>
                  </a:cubicBezTo>
                  <a:cubicBezTo>
                    <a:pt x="1848" y="1030"/>
                    <a:pt x="1848" y="1030"/>
                    <a:pt x="1848" y="1030"/>
                  </a:cubicBezTo>
                  <a:cubicBezTo>
                    <a:pt x="1849" y="1031"/>
                    <a:pt x="1849" y="1031"/>
                    <a:pt x="1849" y="1031"/>
                  </a:cubicBezTo>
                  <a:cubicBezTo>
                    <a:pt x="1849" y="1031"/>
                    <a:pt x="1849" y="1031"/>
                    <a:pt x="1849" y="1031"/>
                  </a:cubicBezTo>
                  <a:cubicBezTo>
                    <a:pt x="1850" y="1031"/>
                    <a:pt x="1851" y="1031"/>
                    <a:pt x="1852" y="1030"/>
                  </a:cubicBezTo>
                  <a:cubicBezTo>
                    <a:pt x="1855" y="1029"/>
                    <a:pt x="1856" y="1026"/>
                    <a:pt x="1853" y="1023"/>
                  </a:cubicBezTo>
                  <a:cubicBezTo>
                    <a:pt x="1852" y="1021"/>
                    <a:pt x="1850" y="1019"/>
                    <a:pt x="1848" y="1018"/>
                  </a:cubicBezTo>
                  <a:cubicBezTo>
                    <a:pt x="1843" y="1015"/>
                    <a:pt x="1841" y="1012"/>
                    <a:pt x="1839" y="1009"/>
                  </a:cubicBezTo>
                  <a:cubicBezTo>
                    <a:pt x="1836" y="1003"/>
                    <a:pt x="1833" y="998"/>
                    <a:pt x="1831" y="993"/>
                  </a:cubicBezTo>
                  <a:cubicBezTo>
                    <a:pt x="1829" y="990"/>
                    <a:pt x="1826" y="987"/>
                    <a:pt x="1823" y="986"/>
                  </a:cubicBezTo>
                  <a:cubicBezTo>
                    <a:pt x="1821" y="985"/>
                    <a:pt x="1819" y="984"/>
                    <a:pt x="1817" y="983"/>
                  </a:cubicBezTo>
                  <a:cubicBezTo>
                    <a:pt x="1812" y="980"/>
                    <a:pt x="1811" y="977"/>
                    <a:pt x="1811" y="972"/>
                  </a:cubicBezTo>
                  <a:cubicBezTo>
                    <a:pt x="1812" y="969"/>
                    <a:pt x="1812" y="966"/>
                    <a:pt x="1814" y="963"/>
                  </a:cubicBezTo>
                  <a:cubicBezTo>
                    <a:pt x="1816" y="961"/>
                    <a:pt x="1818" y="959"/>
                    <a:pt x="1819" y="957"/>
                  </a:cubicBezTo>
                  <a:cubicBezTo>
                    <a:pt x="1821" y="952"/>
                    <a:pt x="1824" y="949"/>
                    <a:pt x="1829" y="947"/>
                  </a:cubicBezTo>
                  <a:cubicBezTo>
                    <a:pt x="1833" y="944"/>
                    <a:pt x="1837" y="942"/>
                    <a:pt x="1843" y="942"/>
                  </a:cubicBezTo>
                  <a:cubicBezTo>
                    <a:pt x="1844" y="942"/>
                    <a:pt x="1845" y="941"/>
                    <a:pt x="1846" y="939"/>
                  </a:cubicBezTo>
                  <a:cubicBezTo>
                    <a:pt x="1846" y="938"/>
                    <a:pt x="1846" y="936"/>
                    <a:pt x="1846" y="935"/>
                  </a:cubicBezTo>
                  <a:cubicBezTo>
                    <a:pt x="1846" y="932"/>
                    <a:pt x="1844" y="929"/>
                    <a:pt x="1841" y="929"/>
                  </a:cubicBezTo>
                  <a:cubicBezTo>
                    <a:pt x="1839" y="929"/>
                    <a:pt x="1836" y="929"/>
                    <a:pt x="1833" y="929"/>
                  </a:cubicBezTo>
                  <a:cubicBezTo>
                    <a:pt x="1831" y="929"/>
                    <a:pt x="1829" y="929"/>
                    <a:pt x="1827" y="928"/>
                  </a:cubicBezTo>
                  <a:cubicBezTo>
                    <a:pt x="1825" y="928"/>
                    <a:pt x="1823" y="926"/>
                    <a:pt x="1821" y="925"/>
                  </a:cubicBezTo>
                  <a:cubicBezTo>
                    <a:pt x="1819" y="924"/>
                    <a:pt x="1817" y="925"/>
                    <a:pt x="1815" y="926"/>
                  </a:cubicBezTo>
                  <a:cubicBezTo>
                    <a:pt x="1811" y="928"/>
                    <a:pt x="1808" y="931"/>
                    <a:pt x="1805" y="934"/>
                  </a:cubicBezTo>
                  <a:cubicBezTo>
                    <a:pt x="1804" y="935"/>
                    <a:pt x="1803" y="936"/>
                    <a:pt x="1801" y="936"/>
                  </a:cubicBezTo>
                  <a:cubicBezTo>
                    <a:pt x="1799" y="937"/>
                    <a:pt x="1796" y="936"/>
                    <a:pt x="1795" y="933"/>
                  </a:cubicBezTo>
                  <a:cubicBezTo>
                    <a:pt x="1793" y="929"/>
                    <a:pt x="1791" y="926"/>
                    <a:pt x="1786" y="925"/>
                  </a:cubicBezTo>
                  <a:cubicBezTo>
                    <a:pt x="1781" y="923"/>
                    <a:pt x="1778" y="920"/>
                    <a:pt x="1774" y="916"/>
                  </a:cubicBezTo>
                  <a:cubicBezTo>
                    <a:pt x="1772" y="913"/>
                    <a:pt x="1774" y="907"/>
                    <a:pt x="1778" y="906"/>
                  </a:cubicBezTo>
                  <a:cubicBezTo>
                    <a:pt x="1780" y="906"/>
                    <a:pt x="1781" y="906"/>
                    <a:pt x="1783" y="906"/>
                  </a:cubicBezTo>
                  <a:cubicBezTo>
                    <a:pt x="1787" y="905"/>
                    <a:pt x="1789" y="904"/>
                    <a:pt x="1790" y="900"/>
                  </a:cubicBezTo>
                  <a:cubicBezTo>
                    <a:pt x="1792" y="894"/>
                    <a:pt x="1793" y="888"/>
                    <a:pt x="1800" y="885"/>
                  </a:cubicBezTo>
                  <a:cubicBezTo>
                    <a:pt x="1802" y="884"/>
                    <a:pt x="1803" y="882"/>
                    <a:pt x="1804" y="880"/>
                  </a:cubicBezTo>
                  <a:cubicBezTo>
                    <a:pt x="1805" y="877"/>
                    <a:pt x="1807" y="874"/>
                    <a:pt x="1809" y="872"/>
                  </a:cubicBezTo>
                  <a:cubicBezTo>
                    <a:pt x="1809" y="871"/>
                    <a:pt x="1811" y="870"/>
                    <a:pt x="1813" y="869"/>
                  </a:cubicBezTo>
                  <a:cubicBezTo>
                    <a:pt x="1817" y="868"/>
                    <a:pt x="1820" y="871"/>
                    <a:pt x="1823" y="873"/>
                  </a:cubicBezTo>
                  <a:cubicBezTo>
                    <a:pt x="1825" y="876"/>
                    <a:pt x="1824" y="878"/>
                    <a:pt x="1823" y="881"/>
                  </a:cubicBezTo>
                  <a:cubicBezTo>
                    <a:pt x="1822" y="881"/>
                    <a:pt x="1822" y="882"/>
                    <a:pt x="1821" y="883"/>
                  </a:cubicBezTo>
                  <a:cubicBezTo>
                    <a:pt x="1819" y="887"/>
                    <a:pt x="1819" y="890"/>
                    <a:pt x="1820" y="894"/>
                  </a:cubicBezTo>
                  <a:cubicBezTo>
                    <a:pt x="1821" y="895"/>
                    <a:pt x="1821" y="897"/>
                    <a:pt x="1822" y="898"/>
                  </a:cubicBezTo>
                  <a:cubicBezTo>
                    <a:pt x="1823" y="901"/>
                    <a:pt x="1821" y="902"/>
                    <a:pt x="1820" y="903"/>
                  </a:cubicBezTo>
                  <a:cubicBezTo>
                    <a:pt x="1820" y="904"/>
                    <a:pt x="1819" y="904"/>
                    <a:pt x="1819" y="905"/>
                  </a:cubicBezTo>
                  <a:cubicBezTo>
                    <a:pt x="1819" y="906"/>
                    <a:pt x="1820" y="907"/>
                    <a:pt x="1820" y="907"/>
                  </a:cubicBezTo>
                  <a:cubicBezTo>
                    <a:pt x="1821" y="908"/>
                    <a:pt x="1822" y="908"/>
                    <a:pt x="1823" y="908"/>
                  </a:cubicBezTo>
                  <a:cubicBezTo>
                    <a:pt x="1827" y="907"/>
                    <a:pt x="1829" y="904"/>
                    <a:pt x="1832" y="901"/>
                  </a:cubicBezTo>
                  <a:cubicBezTo>
                    <a:pt x="1837" y="893"/>
                    <a:pt x="1846" y="890"/>
                    <a:pt x="1855" y="888"/>
                  </a:cubicBezTo>
                  <a:cubicBezTo>
                    <a:pt x="1857" y="888"/>
                    <a:pt x="1858" y="889"/>
                    <a:pt x="1860" y="889"/>
                  </a:cubicBezTo>
                  <a:cubicBezTo>
                    <a:pt x="1862" y="889"/>
                    <a:pt x="1863" y="890"/>
                    <a:pt x="1865" y="891"/>
                  </a:cubicBezTo>
                  <a:cubicBezTo>
                    <a:pt x="1871" y="893"/>
                    <a:pt x="1871" y="893"/>
                    <a:pt x="1871" y="899"/>
                  </a:cubicBezTo>
                  <a:cubicBezTo>
                    <a:pt x="1871" y="904"/>
                    <a:pt x="1871" y="909"/>
                    <a:pt x="1871" y="915"/>
                  </a:cubicBezTo>
                  <a:cubicBezTo>
                    <a:pt x="1871" y="917"/>
                    <a:pt x="1872" y="920"/>
                    <a:pt x="1874" y="922"/>
                  </a:cubicBezTo>
                  <a:cubicBezTo>
                    <a:pt x="1876" y="923"/>
                    <a:pt x="1878" y="924"/>
                    <a:pt x="1880" y="924"/>
                  </a:cubicBezTo>
                  <a:cubicBezTo>
                    <a:pt x="1882" y="923"/>
                    <a:pt x="1883" y="923"/>
                    <a:pt x="1885" y="922"/>
                  </a:cubicBezTo>
                  <a:cubicBezTo>
                    <a:pt x="1888" y="922"/>
                    <a:pt x="1890" y="922"/>
                    <a:pt x="1893" y="924"/>
                  </a:cubicBezTo>
                  <a:cubicBezTo>
                    <a:pt x="1895" y="926"/>
                    <a:pt x="1896" y="928"/>
                    <a:pt x="1898" y="930"/>
                  </a:cubicBezTo>
                  <a:cubicBezTo>
                    <a:pt x="1900" y="932"/>
                    <a:pt x="1900" y="933"/>
                    <a:pt x="1897" y="936"/>
                  </a:cubicBezTo>
                  <a:cubicBezTo>
                    <a:pt x="1895" y="939"/>
                    <a:pt x="1894" y="940"/>
                    <a:pt x="1896" y="942"/>
                  </a:cubicBezTo>
                  <a:cubicBezTo>
                    <a:pt x="1903" y="947"/>
                    <a:pt x="1904" y="954"/>
                    <a:pt x="1903" y="962"/>
                  </a:cubicBezTo>
                  <a:cubicBezTo>
                    <a:pt x="1903" y="964"/>
                    <a:pt x="1903" y="966"/>
                    <a:pt x="1903" y="968"/>
                  </a:cubicBezTo>
                  <a:cubicBezTo>
                    <a:pt x="1903" y="972"/>
                    <a:pt x="1906" y="976"/>
                    <a:pt x="1908" y="979"/>
                  </a:cubicBezTo>
                  <a:cubicBezTo>
                    <a:pt x="1908" y="980"/>
                    <a:pt x="1909" y="980"/>
                    <a:pt x="1909" y="980"/>
                  </a:cubicBezTo>
                  <a:cubicBezTo>
                    <a:pt x="1912" y="979"/>
                    <a:pt x="1914" y="978"/>
                    <a:pt x="1916" y="976"/>
                  </a:cubicBezTo>
                  <a:cubicBezTo>
                    <a:pt x="1919" y="973"/>
                    <a:pt x="1922" y="972"/>
                    <a:pt x="1927" y="972"/>
                  </a:cubicBezTo>
                  <a:cubicBezTo>
                    <a:pt x="1928" y="972"/>
                    <a:pt x="1930" y="972"/>
                    <a:pt x="1931" y="972"/>
                  </a:cubicBezTo>
                  <a:cubicBezTo>
                    <a:pt x="1935" y="973"/>
                    <a:pt x="1937" y="970"/>
                    <a:pt x="1940" y="968"/>
                  </a:cubicBezTo>
                  <a:cubicBezTo>
                    <a:pt x="1944" y="963"/>
                    <a:pt x="1946" y="957"/>
                    <a:pt x="1943" y="950"/>
                  </a:cubicBezTo>
                  <a:cubicBezTo>
                    <a:pt x="1942" y="947"/>
                    <a:pt x="1941" y="944"/>
                    <a:pt x="1940" y="941"/>
                  </a:cubicBezTo>
                  <a:cubicBezTo>
                    <a:pt x="1936" y="929"/>
                    <a:pt x="1937" y="929"/>
                    <a:pt x="1928" y="920"/>
                  </a:cubicBezTo>
                  <a:cubicBezTo>
                    <a:pt x="1925" y="916"/>
                    <a:pt x="1921" y="913"/>
                    <a:pt x="1919" y="908"/>
                  </a:cubicBezTo>
                  <a:cubicBezTo>
                    <a:pt x="1917" y="904"/>
                    <a:pt x="1914" y="902"/>
                    <a:pt x="1910" y="899"/>
                  </a:cubicBezTo>
                  <a:cubicBezTo>
                    <a:pt x="1907" y="898"/>
                    <a:pt x="1905" y="896"/>
                    <a:pt x="1902" y="894"/>
                  </a:cubicBezTo>
                  <a:cubicBezTo>
                    <a:pt x="1899" y="892"/>
                    <a:pt x="1898" y="887"/>
                    <a:pt x="1900" y="884"/>
                  </a:cubicBezTo>
                  <a:cubicBezTo>
                    <a:pt x="1902" y="882"/>
                    <a:pt x="1903" y="880"/>
                    <a:pt x="1905" y="879"/>
                  </a:cubicBezTo>
                  <a:cubicBezTo>
                    <a:pt x="1908" y="877"/>
                    <a:pt x="1910" y="874"/>
                    <a:pt x="1913" y="872"/>
                  </a:cubicBezTo>
                  <a:cubicBezTo>
                    <a:pt x="1919" y="865"/>
                    <a:pt x="1922" y="858"/>
                    <a:pt x="1918" y="849"/>
                  </a:cubicBezTo>
                  <a:cubicBezTo>
                    <a:pt x="1916" y="842"/>
                    <a:pt x="1918" y="836"/>
                    <a:pt x="1924" y="832"/>
                  </a:cubicBezTo>
                  <a:cubicBezTo>
                    <a:pt x="1925" y="830"/>
                    <a:pt x="1927" y="829"/>
                    <a:pt x="1928" y="827"/>
                  </a:cubicBezTo>
                  <a:cubicBezTo>
                    <a:pt x="1930" y="826"/>
                    <a:pt x="1931" y="824"/>
                    <a:pt x="1933" y="823"/>
                  </a:cubicBezTo>
                  <a:cubicBezTo>
                    <a:pt x="1935" y="820"/>
                    <a:pt x="1935" y="817"/>
                    <a:pt x="1938" y="815"/>
                  </a:cubicBezTo>
                  <a:cubicBezTo>
                    <a:pt x="1943" y="814"/>
                    <a:pt x="1945" y="818"/>
                    <a:pt x="1948" y="820"/>
                  </a:cubicBezTo>
                  <a:cubicBezTo>
                    <a:pt x="1952" y="821"/>
                    <a:pt x="1956" y="822"/>
                    <a:pt x="1959" y="820"/>
                  </a:cubicBezTo>
                  <a:cubicBezTo>
                    <a:pt x="1963" y="818"/>
                    <a:pt x="1966" y="816"/>
                    <a:pt x="1968" y="813"/>
                  </a:cubicBezTo>
                  <a:cubicBezTo>
                    <a:pt x="1973" y="808"/>
                    <a:pt x="1976" y="803"/>
                    <a:pt x="1978" y="797"/>
                  </a:cubicBezTo>
                  <a:cubicBezTo>
                    <a:pt x="1982" y="788"/>
                    <a:pt x="1988" y="779"/>
                    <a:pt x="1989" y="769"/>
                  </a:cubicBezTo>
                  <a:cubicBezTo>
                    <a:pt x="1990" y="767"/>
                    <a:pt x="1991" y="765"/>
                    <a:pt x="1992" y="764"/>
                  </a:cubicBezTo>
                  <a:cubicBezTo>
                    <a:pt x="1999" y="755"/>
                    <a:pt x="1999" y="745"/>
                    <a:pt x="2000" y="736"/>
                  </a:cubicBezTo>
                  <a:cubicBezTo>
                    <a:pt x="2001" y="727"/>
                    <a:pt x="2005" y="720"/>
                    <a:pt x="2005" y="711"/>
                  </a:cubicBezTo>
                  <a:cubicBezTo>
                    <a:pt x="2005" y="710"/>
                    <a:pt x="2005" y="708"/>
                    <a:pt x="2006" y="707"/>
                  </a:cubicBezTo>
                  <a:cubicBezTo>
                    <a:pt x="2010" y="701"/>
                    <a:pt x="2009" y="696"/>
                    <a:pt x="2008" y="690"/>
                  </a:cubicBezTo>
                  <a:cubicBezTo>
                    <a:pt x="2007" y="679"/>
                    <a:pt x="2004" y="669"/>
                    <a:pt x="1998" y="660"/>
                  </a:cubicBezTo>
                  <a:cubicBezTo>
                    <a:pt x="1996" y="657"/>
                    <a:pt x="1995" y="653"/>
                    <a:pt x="1994" y="649"/>
                  </a:cubicBezTo>
                  <a:cubicBezTo>
                    <a:pt x="1994" y="640"/>
                    <a:pt x="1994" y="631"/>
                    <a:pt x="1994" y="622"/>
                  </a:cubicBezTo>
                  <a:cubicBezTo>
                    <a:pt x="1994" y="621"/>
                    <a:pt x="1994" y="620"/>
                    <a:pt x="1995" y="619"/>
                  </a:cubicBezTo>
                  <a:cubicBezTo>
                    <a:pt x="1995" y="620"/>
                    <a:pt x="1996" y="620"/>
                    <a:pt x="1996" y="620"/>
                  </a:cubicBezTo>
                  <a:cubicBezTo>
                    <a:pt x="2000" y="625"/>
                    <a:pt x="2004" y="629"/>
                    <a:pt x="2008" y="633"/>
                  </a:cubicBezTo>
                  <a:cubicBezTo>
                    <a:pt x="2012" y="638"/>
                    <a:pt x="2011" y="644"/>
                    <a:pt x="2014" y="649"/>
                  </a:cubicBezTo>
                  <a:cubicBezTo>
                    <a:pt x="2015" y="652"/>
                    <a:pt x="2017" y="654"/>
                    <a:pt x="2018" y="656"/>
                  </a:cubicBezTo>
                  <a:cubicBezTo>
                    <a:pt x="2021" y="662"/>
                    <a:pt x="2023" y="668"/>
                    <a:pt x="2023" y="674"/>
                  </a:cubicBezTo>
                  <a:cubicBezTo>
                    <a:pt x="2023" y="675"/>
                    <a:pt x="2024" y="676"/>
                    <a:pt x="2024" y="677"/>
                  </a:cubicBezTo>
                  <a:cubicBezTo>
                    <a:pt x="2026" y="684"/>
                    <a:pt x="2026" y="692"/>
                    <a:pt x="2032" y="698"/>
                  </a:cubicBezTo>
                  <a:cubicBezTo>
                    <a:pt x="2034" y="700"/>
                    <a:pt x="2035" y="704"/>
                    <a:pt x="2036" y="708"/>
                  </a:cubicBezTo>
                  <a:cubicBezTo>
                    <a:pt x="2036" y="713"/>
                    <a:pt x="2038" y="718"/>
                    <a:pt x="2040" y="723"/>
                  </a:cubicBezTo>
                  <a:cubicBezTo>
                    <a:pt x="2042" y="726"/>
                    <a:pt x="2043" y="729"/>
                    <a:pt x="2043" y="733"/>
                  </a:cubicBezTo>
                  <a:cubicBezTo>
                    <a:pt x="2043" y="735"/>
                    <a:pt x="2043" y="736"/>
                    <a:pt x="2043" y="738"/>
                  </a:cubicBezTo>
                  <a:cubicBezTo>
                    <a:pt x="2044" y="742"/>
                    <a:pt x="2046" y="745"/>
                    <a:pt x="2050" y="746"/>
                  </a:cubicBezTo>
                  <a:cubicBezTo>
                    <a:pt x="2050" y="746"/>
                    <a:pt x="2052" y="746"/>
                    <a:pt x="2052" y="745"/>
                  </a:cubicBezTo>
                  <a:cubicBezTo>
                    <a:pt x="2053" y="743"/>
                    <a:pt x="2052" y="741"/>
                    <a:pt x="2052" y="739"/>
                  </a:cubicBezTo>
                  <a:cubicBezTo>
                    <a:pt x="2052" y="736"/>
                    <a:pt x="2054" y="735"/>
                    <a:pt x="2058" y="735"/>
                  </a:cubicBezTo>
                  <a:cubicBezTo>
                    <a:pt x="2061" y="736"/>
                    <a:pt x="2063" y="738"/>
                    <a:pt x="2066" y="740"/>
                  </a:cubicBezTo>
                  <a:cubicBezTo>
                    <a:pt x="2067" y="740"/>
                    <a:pt x="2068" y="740"/>
                    <a:pt x="2068" y="740"/>
                  </a:cubicBezTo>
                  <a:cubicBezTo>
                    <a:pt x="2068" y="739"/>
                    <a:pt x="2069" y="738"/>
                    <a:pt x="2069" y="737"/>
                  </a:cubicBezTo>
                  <a:cubicBezTo>
                    <a:pt x="2068" y="733"/>
                    <a:pt x="2067" y="729"/>
                    <a:pt x="2063" y="728"/>
                  </a:cubicBezTo>
                  <a:cubicBezTo>
                    <a:pt x="2056" y="725"/>
                    <a:pt x="2055" y="717"/>
                    <a:pt x="2049" y="713"/>
                  </a:cubicBezTo>
                  <a:cubicBezTo>
                    <a:pt x="2047" y="709"/>
                    <a:pt x="2045" y="706"/>
                    <a:pt x="2044" y="702"/>
                  </a:cubicBezTo>
                  <a:cubicBezTo>
                    <a:pt x="2043" y="697"/>
                    <a:pt x="2042" y="691"/>
                    <a:pt x="2042" y="686"/>
                  </a:cubicBezTo>
                  <a:cubicBezTo>
                    <a:pt x="2041" y="685"/>
                    <a:pt x="2041" y="683"/>
                    <a:pt x="2041" y="682"/>
                  </a:cubicBezTo>
                  <a:cubicBezTo>
                    <a:pt x="2041" y="680"/>
                    <a:pt x="2043" y="677"/>
                    <a:pt x="2045" y="677"/>
                  </a:cubicBezTo>
                  <a:cubicBezTo>
                    <a:pt x="2048" y="677"/>
                    <a:pt x="2050" y="677"/>
                    <a:pt x="2053" y="676"/>
                  </a:cubicBezTo>
                  <a:cubicBezTo>
                    <a:pt x="2054" y="674"/>
                    <a:pt x="2053" y="671"/>
                    <a:pt x="2052" y="669"/>
                  </a:cubicBezTo>
                  <a:cubicBezTo>
                    <a:pt x="2041" y="653"/>
                    <a:pt x="2033" y="636"/>
                    <a:pt x="2020" y="621"/>
                  </a:cubicBezTo>
                  <a:cubicBezTo>
                    <a:pt x="2016" y="617"/>
                    <a:pt x="2013" y="612"/>
                    <a:pt x="2014" y="606"/>
                  </a:cubicBezTo>
                  <a:cubicBezTo>
                    <a:pt x="2014" y="603"/>
                    <a:pt x="2013" y="600"/>
                    <a:pt x="2012" y="598"/>
                  </a:cubicBezTo>
                  <a:cubicBezTo>
                    <a:pt x="2008" y="591"/>
                    <a:pt x="2006" y="583"/>
                    <a:pt x="1998" y="577"/>
                  </a:cubicBezTo>
                  <a:cubicBezTo>
                    <a:pt x="1995" y="575"/>
                    <a:pt x="1995" y="572"/>
                    <a:pt x="1993" y="569"/>
                  </a:cubicBezTo>
                  <a:cubicBezTo>
                    <a:pt x="1992" y="566"/>
                    <a:pt x="1989" y="565"/>
                    <a:pt x="1985" y="565"/>
                  </a:cubicBezTo>
                  <a:cubicBezTo>
                    <a:pt x="1984" y="565"/>
                    <a:pt x="1983" y="566"/>
                    <a:pt x="1983" y="566"/>
                  </a:cubicBezTo>
                  <a:cubicBezTo>
                    <a:pt x="1982" y="567"/>
                    <a:pt x="1982" y="567"/>
                    <a:pt x="1982" y="568"/>
                  </a:cubicBezTo>
                  <a:cubicBezTo>
                    <a:pt x="1983" y="569"/>
                    <a:pt x="1984" y="570"/>
                    <a:pt x="1984" y="570"/>
                  </a:cubicBezTo>
                  <a:cubicBezTo>
                    <a:pt x="1990" y="576"/>
                    <a:pt x="1990" y="577"/>
                    <a:pt x="1985" y="584"/>
                  </a:cubicBezTo>
                  <a:cubicBezTo>
                    <a:pt x="1984" y="585"/>
                    <a:pt x="1984" y="587"/>
                    <a:pt x="1984" y="587"/>
                  </a:cubicBezTo>
                  <a:cubicBezTo>
                    <a:pt x="1985" y="589"/>
                    <a:pt x="1985" y="591"/>
                    <a:pt x="1986" y="593"/>
                  </a:cubicBezTo>
                  <a:cubicBezTo>
                    <a:pt x="1990" y="598"/>
                    <a:pt x="1991" y="604"/>
                    <a:pt x="1992" y="609"/>
                  </a:cubicBezTo>
                  <a:cubicBezTo>
                    <a:pt x="1992" y="610"/>
                    <a:pt x="1991" y="611"/>
                    <a:pt x="1991" y="612"/>
                  </a:cubicBezTo>
                  <a:cubicBezTo>
                    <a:pt x="1990" y="613"/>
                    <a:pt x="1988" y="612"/>
                    <a:pt x="1988" y="610"/>
                  </a:cubicBezTo>
                  <a:cubicBezTo>
                    <a:pt x="1987" y="607"/>
                    <a:pt x="1986" y="604"/>
                    <a:pt x="1984" y="601"/>
                  </a:cubicBezTo>
                  <a:cubicBezTo>
                    <a:pt x="1982" y="600"/>
                    <a:pt x="1981" y="598"/>
                    <a:pt x="1981" y="596"/>
                  </a:cubicBezTo>
                  <a:cubicBezTo>
                    <a:pt x="1982" y="591"/>
                    <a:pt x="1979" y="588"/>
                    <a:pt x="1975" y="585"/>
                  </a:cubicBezTo>
                  <a:cubicBezTo>
                    <a:pt x="1969" y="581"/>
                    <a:pt x="1962" y="578"/>
                    <a:pt x="1956" y="574"/>
                  </a:cubicBezTo>
                  <a:cubicBezTo>
                    <a:pt x="1955" y="573"/>
                    <a:pt x="1953" y="573"/>
                    <a:pt x="1951" y="573"/>
                  </a:cubicBezTo>
                  <a:cubicBezTo>
                    <a:pt x="1948" y="573"/>
                    <a:pt x="1946" y="573"/>
                    <a:pt x="1943" y="573"/>
                  </a:cubicBezTo>
                  <a:cubicBezTo>
                    <a:pt x="1940" y="573"/>
                    <a:pt x="1938" y="574"/>
                    <a:pt x="1937" y="577"/>
                  </a:cubicBezTo>
                  <a:cubicBezTo>
                    <a:pt x="1936" y="581"/>
                    <a:pt x="1935" y="585"/>
                    <a:pt x="1932" y="587"/>
                  </a:cubicBezTo>
                  <a:cubicBezTo>
                    <a:pt x="1932" y="587"/>
                    <a:pt x="1931" y="587"/>
                    <a:pt x="1930" y="587"/>
                  </a:cubicBezTo>
                  <a:cubicBezTo>
                    <a:pt x="1928" y="583"/>
                    <a:pt x="1926" y="578"/>
                    <a:pt x="1924" y="574"/>
                  </a:cubicBezTo>
                  <a:cubicBezTo>
                    <a:pt x="1924" y="574"/>
                    <a:pt x="1923" y="573"/>
                    <a:pt x="1923" y="573"/>
                  </a:cubicBezTo>
                  <a:cubicBezTo>
                    <a:pt x="1922" y="574"/>
                    <a:pt x="1921" y="574"/>
                    <a:pt x="1920" y="575"/>
                  </a:cubicBezTo>
                  <a:cubicBezTo>
                    <a:pt x="1919" y="577"/>
                    <a:pt x="1919" y="579"/>
                    <a:pt x="1919" y="581"/>
                  </a:cubicBezTo>
                  <a:cubicBezTo>
                    <a:pt x="1920" y="582"/>
                    <a:pt x="1919" y="583"/>
                    <a:pt x="1918" y="583"/>
                  </a:cubicBezTo>
                  <a:cubicBezTo>
                    <a:pt x="1917" y="584"/>
                    <a:pt x="1916" y="583"/>
                    <a:pt x="1916" y="582"/>
                  </a:cubicBezTo>
                  <a:cubicBezTo>
                    <a:pt x="1914" y="579"/>
                    <a:pt x="1913" y="575"/>
                    <a:pt x="1911" y="571"/>
                  </a:cubicBezTo>
                  <a:cubicBezTo>
                    <a:pt x="1910" y="567"/>
                    <a:pt x="1908" y="566"/>
                    <a:pt x="1903" y="568"/>
                  </a:cubicBezTo>
                  <a:cubicBezTo>
                    <a:pt x="1902" y="568"/>
                    <a:pt x="1900" y="569"/>
                    <a:pt x="1899" y="569"/>
                  </a:cubicBezTo>
                  <a:cubicBezTo>
                    <a:pt x="1897" y="569"/>
                    <a:pt x="1895" y="569"/>
                    <a:pt x="1894" y="569"/>
                  </a:cubicBezTo>
                  <a:cubicBezTo>
                    <a:pt x="1891" y="569"/>
                    <a:pt x="1888" y="566"/>
                    <a:pt x="1889" y="564"/>
                  </a:cubicBezTo>
                  <a:cubicBezTo>
                    <a:pt x="1890" y="562"/>
                    <a:pt x="1890" y="561"/>
                    <a:pt x="1891" y="559"/>
                  </a:cubicBezTo>
                  <a:cubicBezTo>
                    <a:pt x="1894" y="555"/>
                    <a:pt x="1896" y="550"/>
                    <a:pt x="1899" y="545"/>
                  </a:cubicBezTo>
                  <a:cubicBezTo>
                    <a:pt x="1902" y="540"/>
                    <a:pt x="1905" y="535"/>
                    <a:pt x="1906" y="529"/>
                  </a:cubicBezTo>
                  <a:cubicBezTo>
                    <a:pt x="1907" y="519"/>
                    <a:pt x="1910" y="509"/>
                    <a:pt x="1915" y="500"/>
                  </a:cubicBezTo>
                  <a:cubicBezTo>
                    <a:pt x="1918" y="493"/>
                    <a:pt x="1921" y="486"/>
                    <a:pt x="1919" y="479"/>
                  </a:cubicBezTo>
                  <a:cubicBezTo>
                    <a:pt x="1919" y="475"/>
                    <a:pt x="1920" y="472"/>
                    <a:pt x="1922" y="470"/>
                  </a:cubicBezTo>
                  <a:cubicBezTo>
                    <a:pt x="1925" y="465"/>
                    <a:pt x="1926" y="461"/>
                    <a:pt x="1924" y="456"/>
                  </a:cubicBezTo>
                  <a:cubicBezTo>
                    <a:pt x="1923" y="454"/>
                    <a:pt x="1924" y="452"/>
                    <a:pt x="1925" y="450"/>
                  </a:cubicBezTo>
                  <a:cubicBezTo>
                    <a:pt x="1928" y="446"/>
                    <a:pt x="1931" y="444"/>
                    <a:pt x="1936" y="442"/>
                  </a:cubicBezTo>
                  <a:cubicBezTo>
                    <a:pt x="1943" y="441"/>
                    <a:pt x="1949" y="438"/>
                    <a:pt x="1955" y="436"/>
                  </a:cubicBezTo>
                  <a:cubicBezTo>
                    <a:pt x="1958" y="435"/>
                    <a:pt x="1960" y="436"/>
                    <a:pt x="1963" y="437"/>
                  </a:cubicBezTo>
                  <a:cubicBezTo>
                    <a:pt x="1966" y="438"/>
                    <a:pt x="1968" y="438"/>
                    <a:pt x="1970" y="435"/>
                  </a:cubicBezTo>
                  <a:cubicBezTo>
                    <a:pt x="1972" y="431"/>
                    <a:pt x="1976" y="430"/>
                    <a:pt x="1980" y="431"/>
                  </a:cubicBezTo>
                  <a:cubicBezTo>
                    <a:pt x="1986" y="432"/>
                    <a:pt x="1991" y="428"/>
                    <a:pt x="1997" y="428"/>
                  </a:cubicBezTo>
                  <a:cubicBezTo>
                    <a:pt x="1998" y="428"/>
                    <a:pt x="1999" y="427"/>
                    <a:pt x="2000" y="426"/>
                  </a:cubicBezTo>
                  <a:cubicBezTo>
                    <a:pt x="2000" y="424"/>
                    <a:pt x="2001" y="421"/>
                    <a:pt x="2001" y="418"/>
                  </a:cubicBezTo>
                  <a:cubicBezTo>
                    <a:pt x="2002" y="416"/>
                    <a:pt x="2005" y="414"/>
                    <a:pt x="2008" y="414"/>
                  </a:cubicBezTo>
                  <a:cubicBezTo>
                    <a:pt x="2015" y="415"/>
                    <a:pt x="2023" y="416"/>
                    <a:pt x="2031" y="417"/>
                  </a:cubicBezTo>
                  <a:cubicBezTo>
                    <a:pt x="2032" y="417"/>
                    <a:pt x="2034" y="418"/>
                    <a:pt x="2035" y="419"/>
                  </a:cubicBezTo>
                  <a:cubicBezTo>
                    <a:pt x="2036" y="419"/>
                    <a:pt x="2036" y="420"/>
                    <a:pt x="2036" y="421"/>
                  </a:cubicBezTo>
                  <a:cubicBezTo>
                    <a:pt x="2036" y="422"/>
                    <a:pt x="2035" y="423"/>
                    <a:pt x="2034" y="424"/>
                  </a:cubicBezTo>
                  <a:cubicBezTo>
                    <a:pt x="2033" y="426"/>
                    <a:pt x="2034" y="428"/>
                    <a:pt x="2035" y="429"/>
                  </a:cubicBezTo>
                  <a:cubicBezTo>
                    <a:pt x="2037" y="431"/>
                    <a:pt x="2039" y="432"/>
                    <a:pt x="2041" y="431"/>
                  </a:cubicBezTo>
                  <a:cubicBezTo>
                    <a:pt x="2047" y="428"/>
                    <a:pt x="2053" y="426"/>
                    <a:pt x="2057" y="420"/>
                  </a:cubicBezTo>
                  <a:cubicBezTo>
                    <a:pt x="2058" y="418"/>
                    <a:pt x="2060" y="418"/>
                    <a:pt x="2063" y="419"/>
                  </a:cubicBezTo>
                  <a:cubicBezTo>
                    <a:pt x="2065" y="420"/>
                    <a:pt x="2067" y="419"/>
                    <a:pt x="2069" y="417"/>
                  </a:cubicBezTo>
                  <a:cubicBezTo>
                    <a:pt x="2071" y="415"/>
                    <a:pt x="2075" y="414"/>
                    <a:pt x="2074" y="410"/>
                  </a:cubicBezTo>
                  <a:cubicBezTo>
                    <a:pt x="2073" y="406"/>
                    <a:pt x="2069" y="406"/>
                    <a:pt x="2066" y="406"/>
                  </a:cubicBezTo>
                  <a:cubicBezTo>
                    <a:pt x="2066" y="406"/>
                    <a:pt x="2065" y="406"/>
                    <a:pt x="2064" y="406"/>
                  </a:cubicBezTo>
                  <a:cubicBezTo>
                    <a:pt x="2063" y="405"/>
                    <a:pt x="2061" y="404"/>
                    <a:pt x="2061" y="403"/>
                  </a:cubicBezTo>
                  <a:cubicBezTo>
                    <a:pt x="2059" y="397"/>
                    <a:pt x="2058" y="392"/>
                    <a:pt x="2060" y="386"/>
                  </a:cubicBezTo>
                  <a:cubicBezTo>
                    <a:pt x="2061" y="385"/>
                    <a:pt x="2061" y="384"/>
                    <a:pt x="2061" y="383"/>
                  </a:cubicBezTo>
                  <a:cubicBezTo>
                    <a:pt x="2064" y="379"/>
                    <a:pt x="2064" y="374"/>
                    <a:pt x="2064" y="369"/>
                  </a:cubicBezTo>
                  <a:cubicBezTo>
                    <a:pt x="2063" y="363"/>
                    <a:pt x="2064" y="357"/>
                    <a:pt x="2063" y="351"/>
                  </a:cubicBezTo>
                  <a:cubicBezTo>
                    <a:pt x="2063" y="346"/>
                    <a:pt x="2065" y="343"/>
                    <a:pt x="2070" y="341"/>
                  </a:cubicBezTo>
                  <a:cubicBezTo>
                    <a:pt x="2074" y="339"/>
                    <a:pt x="2077" y="338"/>
                    <a:pt x="2081" y="337"/>
                  </a:cubicBezTo>
                  <a:cubicBezTo>
                    <a:pt x="2084" y="335"/>
                    <a:pt x="2088" y="334"/>
                    <a:pt x="2092" y="336"/>
                  </a:cubicBezTo>
                  <a:cubicBezTo>
                    <a:pt x="2094" y="336"/>
                    <a:pt x="2096" y="335"/>
                    <a:pt x="2098" y="334"/>
                  </a:cubicBezTo>
                  <a:cubicBezTo>
                    <a:pt x="2100" y="332"/>
                    <a:pt x="2101" y="333"/>
                    <a:pt x="2102" y="335"/>
                  </a:cubicBezTo>
                  <a:cubicBezTo>
                    <a:pt x="2102" y="338"/>
                    <a:pt x="2103" y="342"/>
                    <a:pt x="2103" y="346"/>
                  </a:cubicBezTo>
                  <a:cubicBezTo>
                    <a:pt x="2103" y="349"/>
                    <a:pt x="2105" y="351"/>
                    <a:pt x="2108" y="353"/>
                  </a:cubicBezTo>
                  <a:cubicBezTo>
                    <a:pt x="2111" y="355"/>
                    <a:pt x="2115" y="356"/>
                    <a:pt x="2118" y="358"/>
                  </a:cubicBezTo>
                  <a:cubicBezTo>
                    <a:pt x="2118" y="359"/>
                    <a:pt x="2120" y="358"/>
                    <a:pt x="2121" y="357"/>
                  </a:cubicBezTo>
                  <a:cubicBezTo>
                    <a:pt x="2122" y="356"/>
                    <a:pt x="2123" y="355"/>
                    <a:pt x="2123" y="353"/>
                  </a:cubicBezTo>
                  <a:cubicBezTo>
                    <a:pt x="2124" y="347"/>
                    <a:pt x="2126" y="341"/>
                    <a:pt x="2126" y="335"/>
                  </a:cubicBezTo>
                  <a:cubicBezTo>
                    <a:pt x="2127" y="331"/>
                    <a:pt x="2129" y="329"/>
                    <a:pt x="2133" y="327"/>
                  </a:cubicBezTo>
                  <a:cubicBezTo>
                    <a:pt x="2135" y="326"/>
                    <a:pt x="2135" y="324"/>
                    <a:pt x="2136" y="322"/>
                  </a:cubicBezTo>
                  <a:cubicBezTo>
                    <a:pt x="2135" y="322"/>
                    <a:pt x="2135" y="322"/>
                    <a:pt x="2135" y="322"/>
                  </a:cubicBezTo>
                  <a:cubicBezTo>
                    <a:pt x="2127" y="316"/>
                    <a:pt x="2125" y="308"/>
                    <a:pt x="2124" y="300"/>
                  </a:cubicBezTo>
                  <a:cubicBezTo>
                    <a:pt x="2124" y="299"/>
                    <a:pt x="2124" y="299"/>
                    <a:pt x="2124" y="298"/>
                  </a:cubicBezTo>
                  <a:cubicBezTo>
                    <a:pt x="2126" y="295"/>
                    <a:pt x="2132" y="293"/>
                    <a:pt x="2136" y="295"/>
                  </a:cubicBezTo>
                  <a:cubicBezTo>
                    <a:pt x="2137" y="296"/>
                    <a:pt x="2138" y="298"/>
                    <a:pt x="2138" y="299"/>
                  </a:cubicBezTo>
                  <a:cubicBezTo>
                    <a:pt x="2135" y="304"/>
                    <a:pt x="2135" y="308"/>
                    <a:pt x="2138" y="312"/>
                  </a:cubicBezTo>
                  <a:cubicBezTo>
                    <a:pt x="2141" y="318"/>
                    <a:pt x="2145" y="323"/>
                    <a:pt x="2145" y="330"/>
                  </a:cubicBezTo>
                  <a:cubicBezTo>
                    <a:pt x="2144" y="330"/>
                    <a:pt x="2145" y="332"/>
                    <a:pt x="2146" y="332"/>
                  </a:cubicBezTo>
                  <a:cubicBezTo>
                    <a:pt x="2150" y="337"/>
                    <a:pt x="2148" y="342"/>
                    <a:pt x="2150" y="347"/>
                  </a:cubicBezTo>
                  <a:cubicBezTo>
                    <a:pt x="2149" y="351"/>
                    <a:pt x="2146" y="353"/>
                    <a:pt x="2144" y="356"/>
                  </a:cubicBezTo>
                  <a:cubicBezTo>
                    <a:pt x="2143" y="357"/>
                    <a:pt x="2143" y="357"/>
                    <a:pt x="2143" y="357"/>
                  </a:cubicBezTo>
                  <a:cubicBezTo>
                    <a:pt x="2140" y="360"/>
                    <a:pt x="2140" y="363"/>
                    <a:pt x="2140" y="366"/>
                  </a:cubicBezTo>
                  <a:cubicBezTo>
                    <a:pt x="2140" y="374"/>
                    <a:pt x="2141" y="383"/>
                    <a:pt x="2137" y="390"/>
                  </a:cubicBezTo>
                  <a:cubicBezTo>
                    <a:pt x="2136" y="392"/>
                    <a:pt x="2136" y="395"/>
                    <a:pt x="2136" y="397"/>
                  </a:cubicBezTo>
                  <a:cubicBezTo>
                    <a:pt x="2136" y="404"/>
                    <a:pt x="2135" y="412"/>
                    <a:pt x="2136" y="420"/>
                  </a:cubicBezTo>
                  <a:cubicBezTo>
                    <a:pt x="2136" y="427"/>
                    <a:pt x="2135" y="433"/>
                    <a:pt x="2131" y="438"/>
                  </a:cubicBezTo>
                  <a:cubicBezTo>
                    <a:pt x="2129" y="439"/>
                    <a:pt x="2129" y="440"/>
                    <a:pt x="2128" y="442"/>
                  </a:cubicBezTo>
                  <a:cubicBezTo>
                    <a:pt x="2127" y="443"/>
                    <a:pt x="2126" y="444"/>
                    <a:pt x="2125" y="445"/>
                  </a:cubicBezTo>
                  <a:cubicBezTo>
                    <a:pt x="2120" y="448"/>
                    <a:pt x="2120" y="448"/>
                    <a:pt x="2123" y="452"/>
                  </a:cubicBezTo>
                  <a:cubicBezTo>
                    <a:pt x="2126" y="456"/>
                    <a:pt x="2127" y="460"/>
                    <a:pt x="2126" y="465"/>
                  </a:cubicBezTo>
                  <a:cubicBezTo>
                    <a:pt x="2125" y="467"/>
                    <a:pt x="2124" y="470"/>
                    <a:pt x="2123" y="472"/>
                  </a:cubicBezTo>
                  <a:cubicBezTo>
                    <a:pt x="2122" y="476"/>
                    <a:pt x="2122" y="479"/>
                    <a:pt x="2122" y="483"/>
                  </a:cubicBezTo>
                  <a:cubicBezTo>
                    <a:pt x="2123" y="489"/>
                    <a:pt x="2126" y="495"/>
                    <a:pt x="2128" y="501"/>
                  </a:cubicBezTo>
                  <a:cubicBezTo>
                    <a:pt x="2134" y="521"/>
                    <a:pt x="2146" y="538"/>
                    <a:pt x="2157" y="555"/>
                  </a:cubicBezTo>
                  <a:cubicBezTo>
                    <a:pt x="2161" y="560"/>
                    <a:pt x="2164" y="564"/>
                    <a:pt x="2167" y="569"/>
                  </a:cubicBezTo>
                  <a:cubicBezTo>
                    <a:pt x="2169" y="572"/>
                    <a:pt x="2171" y="576"/>
                    <a:pt x="2174" y="578"/>
                  </a:cubicBezTo>
                  <a:cubicBezTo>
                    <a:pt x="2178" y="581"/>
                    <a:pt x="2180" y="585"/>
                    <a:pt x="2182" y="589"/>
                  </a:cubicBezTo>
                  <a:cubicBezTo>
                    <a:pt x="2184" y="594"/>
                    <a:pt x="2186" y="598"/>
                    <a:pt x="2187" y="603"/>
                  </a:cubicBezTo>
                  <a:cubicBezTo>
                    <a:pt x="2189" y="607"/>
                    <a:pt x="2194" y="609"/>
                    <a:pt x="2198" y="612"/>
                  </a:cubicBezTo>
                  <a:cubicBezTo>
                    <a:pt x="2198" y="612"/>
                    <a:pt x="2199" y="611"/>
                    <a:pt x="2200" y="611"/>
                  </a:cubicBezTo>
                  <a:cubicBezTo>
                    <a:pt x="2203" y="609"/>
                    <a:pt x="2203" y="605"/>
                    <a:pt x="2205" y="601"/>
                  </a:cubicBezTo>
                  <a:cubicBezTo>
                    <a:pt x="2209" y="593"/>
                    <a:pt x="2210" y="585"/>
                    <a:pt x="2206" y="576"/>
                  </a:cubicBezTo>
                  <a:cubicBezTo>
                    <a:pt x="2203" y="566"/>
                    <a:pt x="2201" y="564"/>
                    <a:pt x="2213" y="558"/>
                  </a:cubicBezTo>
                  <a:cubicBezTo>
                    <a:pt x="2213" y="558"/>
                    <a:pt x="2214" y="558"/>
                    <a:pt x="2214" y="558"/>
                  </a:cubicBezTo>
                  <a:cubicBezTo>
                    <a:pt x="2216" y="556"/>
                    <a:pt x="2216" y="555"/>
                    <a:pt x="2215" y="554"/>
                  </a:cubicBezTo>
                  <a:cubicBezTo>
                    <a:pt x="2214" y="552"/>
                    <a:pt x="2212" y="549"/>
                    <a:pt x="2211" y="547"/>
                  </a:cubicBezTo>
                  <a:cubicBezTo>
                    <a:pt x="2210" y="545"/>
                    <a:pt x="2209" y="543"/>
                    <a:pt x="2209" y="541"/>
                  </a:cubicBezTo>
                  <a:cubicBezTo>
                    <a:pt x="2209" y="537"/>
                    <a:pt x="2209" y="532"/>
                    <a:pt x="2209" y="527"/>
                  </a:cubicBezTo>
                  <a:cubicBezTo>
                    <a:pt x="2210" y="524"/>
                    <a:pt x="2212" y="522"/>
                    <a:pt x="2215" y="520"/>
                  </a:cubicBezTo>
                  <a:cubicBezTo>
                    <a:pt x="2218" y="519"/>
                    <a:pt x="2220" y="518"/>
                    <a:pt x="2223" y="517"/>
                  </a:cubicBezTo>
                  <a:cubicBezTo>
                    <a:pt x="2225" y="516"/>
                    <a:pt x="2226" y="512"/>
                    <a:pt x="2224" y="510"/>
                  </a:cubicBezTo>
                  <a:cubicBezTo>
                    <a:pt x="2222" y="507"/>
                    <a:pt x="2219" y="504"/>
                    <a:pt x="2217" y="502"/>
                  </a:cubicBezTo>
                  <a:cubicBezTo>
                    <a:pt x="2210" y="495"/>
                    <a:pt x="2207" y="487"/>
                    <a:pt x="2209" y="477"/>
                  </a:cubicBezTo>
                  <a:cubicBezTo>
                    <a:pt x="2209" y="476"/>
                    <a:pt x="2211" y="474"/>
                    <a:pt x="2212" y="475"/>
                  </a:cubicBezTo>
                  <a:cubicBezTo>
                    <a:pt x="2214" y="475"/>
                    <a:pt x="2215" y="475"/>
                    <a:pt x="2216" y="475"/>
                  </a:cubicBezTo>
                  <a:cubicBezTo>
                    <a:pt x="2219" y="475"/>
                    <a:pt x="2222" y="471"/>
                    <a:pt x="2221" y="469"/>
                  </a:cubicBezTo>
                  <a:cubicBezTo>
                    <a:pt x="2218" y="465"/>
                    <a:pt x="2216" y="462"/>
                    <a:pt x="2214" y="458"/>
                  </a:cubicBezTo>
                  <a:cubicBezTo>
                    <a:pt x="2212" y="455"/>
                    <a:pt x="2210" y="454"/>
                    <a:pt x="2206" y="454"/>
                  </a:cubicBezTo>
                  <a:cubicBezTo>
                    <a:pt x="2205" y="454"/>
                    <a:pt x="2204" y="454"/>
                    <a:pt x="2203" y="453"/>
                  </a:cubicBezTo>
                  <a:cubicBezTo>
                    <a:pt x="2202" y="449"/>
                    <a:pt x="2199" y="445"/>
                    <a:pt x="2201" y="439"/>
                  </a:cubicBezTo>
                  <a:cubicBezTo>
                    <a:pt x="2202" y="438"/>
                    <a:pt x="2202" y="436"/>
                    <a:pt x="2201" y="435"/>
                  </a:cubicBezTo>
                  <a:cubicBezTo>
                    <a:pt x="2201" y="433"/>
                    <a:pt x="2200" y="432"/>
                    <a:pt x="2199" y="431"/>
                  </a:cubicBezTo>
                  <a:cubicBezTo>
                    <a:pt x="2197" y="428"/>
                    <a:pt x="2194" y="427"/>
                    <a:pt x="2191" y="427"/>
                  </a:cubicBezTo>
                  <a:cubicBezTo>
                    <a:pt x="2190" y="427"/>
                    <a:pt x="2189" y="427"/>
                    <a:pt x="2188" y="428"/>
                  </a:cubicBezTo>
                  <a:cubicBezTo>
                    <a:pt x="2187" y="429"/>
                    <a:pt x="2186" y="430"/>
                    <a:pt x="2186" y="432"/>
                  </a:cubicBezTo>
                  <a:cubicBezTo>
                    <a:pt x="2186" y="432"/>
                    <a:pt x="2186" y="432"/>
                    <a:pt x="2186" y="432"/>
                  </a:cubicBezTo>
                  <a:cubicBezTo>
                    <a:pt x="2186" y="432"/>
                    <a:pt x="2186" y="432"/>
                    <a:pt x="2186" y="432"/>
                  </a:cubicBezTo>
                  <a:cubicBezTo>
                    <a:pt x="2186" y="432"/>
                    <a:pt x="2187" y="432"/>
                    <a:pt x="2187" y="432"/>
                  </a:cubicBezTo>
                  <a:cubicBezTo>
                    <a:pt x="2187" y="433"/>
                    <a:pt x="2186" y="433"/>
                    <a:pt x="2186" y="432"/>
                  </a:cubicBezTo>
                  <a:cubicBezTo>
                    <a:pt x="2186" y="432"/>
                    <a:pt x="2185" y="432"/>
                    <a:pt x="2185" y="432"/>
                  </a:cubicBezTo>
                  <a:cubicBezTo>
                    <a:pt x="2185" y="432"/>
                    <a:pt x="2185" y="432"/>
                    <a:pt x="2186" y="432"/>
                  </a:cubicBezTo>
                  <a:cubicBezTo>
                    <a:pt x="2182" y="430"/>
                    <a:pt x="2180" y="428"/>
                    <a:pt x="2179" y="425"/>
                  </a:cubicBezTo>
                  <a:cubicBezTo>
                    <a:pt x="2177" y="419"/>
                    <a:pt x="2176" y="414"/>
                    <a:pt x="2176" y="408"/>
                  </a:cubicBezTo>
                  <a:cubicBezTo>
                    <a:pt x="2177" y="399"/>
                    <a:pt x="2176" y="390"/>
                    <a:pt x="2171" y="382"/>
                  </a:cubicBezTo>
                  <a:cubicBezTo>
                    <a:pt x="2170" y="382"/>
                    <a:pt x="2170" y="380"/>
                    <a:pt x="2170" y="379"/>
                  </a:cubicBezTo>
                  <a:cubicBezTo>
                    <a:pt x="2168" y="374"/>
                    <a:pt x="2171" y="369"/>
                    <a:pt x="2177" y="368"/>
                  </a:cubicBezTo>
                  <a:cubicBezTo>
                    <a:pt x="2178" y="367"/>
                    <a:pt x="2180" y="368"/>
                    <a:pt x="2181" y="368"/>
                  </a:cubicBezTo>
                  <a:cubicBezTo>
                    <a:pt x="2184" y="368"/>
                    <a:pt x="2185" y="367"/>
                    <a:pt x="2185" y="364"/>
                  </a:cubicBezTo>
                  <a:cubicBezTo>
                    <a:pt x="2186" y="362"/>
                    <a:pt x="2186" y="359"/>
                    <a:pt x="2188" y="357"/>
                  </a:cubicBezTo>
                  <a:cubicBezTo>
                    <a:pt x="2189" y="356"/>
                    <a:pt x="2191" y="356"/>
                    <a:pt x="2192" y="357"/>
                  </a:cubicBezTo>
                  <a:cubicBezTo>
                    <a:pt x="2193" y="359"/>
                    <a:pt x="2195" y="362"/>
                    <a:pt x="2196" y="364"/>
                  </a:cubicBezTo>
                  <a:cubicBezTo>
                    <a:pt x="2197" y="364"/>
                    <a:pt x="2198" y="365"/>
                    <a:pt x="2199" y="365"/>
                  </a:cubicBezTo>
                  <a:cubicBezTo>
                    <a:pt x="2200" y="364"/>
                    <a:pt x="2201" y="363"/>
                    <a:pt x="2201" y="363"/>
                  </a:cubicBezTo>
                  <a:cubicBezTo>
                    <a:pt x="2202" y="360"/>
                    <a:pt x="2202" y="358"/>
                    <a:pt x="2203" y="355"/>
                  </a:cubicBezTo>
                  <a:cubicBezTo>
                    <a:pt x="2204" y="351"/>
                    <a:pt x="2206" y="348"/>
                    <a:pt x="2208" y="346"/>
                  </a:cubicBezTo>
                  <a:cubicBezTo>
                    <a:pt x="2212" y="342"/>
                    <a:pt x="2217" y="340"/>
                    <a:pt x="2221" y="340"/>
                  </a:cubicBezTo>
                  <a:cubicBezTo>
                    <a:pt x="2225" y="339"/>
                    <a:pt x="2228" y="341"/>
                    <a:pt x="2230" y="343"/>
                  </a:cubicBezTo>
                  <a:cubicBezTo>
                    <a:pt x="2233" y="345"/>
                    <a:pt x="2236" y="347"/>
                    <a:pt x="2238" y="348"/>
                  </a:cubicBezTo>
                  <a:cubicBezTo>
                    <a:pt x="2239" y="349"/>
                    <a:pt x="2240" y="350"/>
                    <a:pt x="2241" y="350"/>
                  </a:cubicBezTo>
                  <a:cubicBezTo>
                    <a:pt x="2243" y="350"/>
                    <a:pt x="2244" y="351"/>
                    <a:pt x="2246" y="351"/>
                  </a:cubicBezTo>
                  <a:cubicBezTo>
                    <a:pt x="2248" y="351"/>
                    <a:pt x="2249" y="349"/>
                    <a:pt x="2249" y="348"/>
                  </a:cubicBezTo>
                  <a:cubicBezTo>
                    <a:pt x="2249" y="344"/>
                    <a:pt x="2246" y="341"/>
                    <a:pt x="2247" y="337"/>
                  </a:cubicBezTo>
                  <a:cubicBezTo>
                    <a:pt x="2248" y="334"/>
                    <a:pt x="2249" y="330"/>
                    <a:pt x="2250" y="327"/>
                  </a:cubicBezTo>
                  <a:cubicBezTo>
                    <a:pt x="2251" y="321"/>
                    <a:pt x="2252" y="316"/>
                    <a:pt x="2252" y="311"/>
                  </a:cubicBezTo>
                  <a:cubicBezTo>
                    <a:pt x="2253" y="303"/>
                    <a:pt x="2255" y="296"/>
                    <a:pt x="2260" y="289"/>
                  </a:cubicBezTo>
                  <a:cubicBezTo>
                    <a:pt x="2262" y="285"/>
                    <a:pt x="2264" y="281"/>
                    <a:pt x="2266" y="277"/>
                  </a:cubicBezTo>
                  <a:cubicBezTo>
                    <a:pt x="2269" y="270"/>
                    <a:pt x="2274" y="264"/>
                    <a:pt x="2279" y="259"/>
                  </a:cubicBezTo>
                  <a:cubicBezTo>
                    <a:pt x="2281" y="257"/>
                    <a:pt x="2284" y="256"/>
                    <a:pt x="2287" y="256"/>
                  </a:cubicBezTo>
                  <a:cubicBezTo>
                    <a:pt x="2291" y="256"/>
                    <a:pt x="2295" y="257"/>
                    <a:pt x="2298" y="257"/>
                  </a:cubicBezTo>
                  <a:cubicBezTo>
                    <a:pt x="2300" y="257"/>
                    <a:pt x="2302" y="257"/>
                    <a:pt x="2303" y="256"/>
                  </a:cubicBezTo>
                  <a:cubicBezTo>
                    <a:pt x="2304" y="256"/>
                    <a:pt x="2305" y="255"/>
                    <a:pt x="2305" y="254"/>
                  </a:cubicBezTo>
                  <a:cubicBezTo>
                    <a:pt x="2306" y="247"/>
                    <a:pt x="2306" y="240"/>
                    <a:pt x="2299" y="235"/>
                  </a:cubicBezTo>
                  <a:cubicBezTo>
                    <a:pt x="2298" y="234"/>
                    <a:pt x="2297" y="232"/>
                    <a:pt x="2296" y="230"/>
                  </a:cubicBezTo>
                  <a:cubicBezTo>
                    <a:pt x="2295" y="229"/>
                    <a:pt x="2294" y="227"/>
                    <a:pt x="2293" y="227"/>
                  </a:cubicBezTo>
                  <a:cubicBezTo>
                    <a:pt x="2286" y="225"/>
                    <a:pt x="2282" y="220"/>
                    <a:pt x="2275" y="218"/>
                  </a:cubicBezTo>
                  <a:cubicBezTo>
                    <a:pt x="2275" y="219"/>
                    <a:pt x="2275" y="219"/>
                    <a:pt x="2275" y="219"/>
                  </a:cubicBezTo>
                  <a:cubicBezTo>
                    <a:pt x="2274" y="219"/>
                    <a:pt x="2274" y="219"/>
                    <a:pt x="2274" y="219"/>
                  </a:cubicBezTo>
                  <a:cubicBezTo>
                    <a:pt x="2275" y="218"/>
                    <a:pt x="2275" y="218"/>
                    <a:pt x="2275" y="218"/>
                  </a:cubicBezTo>
                  <a:cubicBezTo>
                    <a:pt x="2275" y="218"/>
                    <a:pt x="2275" y="218"/>
                    <a:pt x="2275" y="218"/>
                  </a:cubicBezTo>
                  <a:cubicBezTo>
                    <a:pt x="2275" y="217"/>
                    <a:pt x="2274" y="215"/>
                    <a:pt x="2274" y="213"/>
                  </a:cubicBezTo>
                  <a:cubicBezTo>
                    <a:pt x="2272" y="209"/>
                    <a:pt x="2270" y="206"/>
                    <a:pt x="2265" y="207"/>
                  </a:cubicBezTo>
                  <a:cubicBezTo>
                    <a:pt x="2264" y="207"/>
                    <a:pt x="2263" y="207"/>
                    <a:pt x="2263" y="205"/>
                  </a:cubicBezTo>
                  <a:cubicBezTo>
                    <a:pt x="2262" y="204"/>
                    <a:pt x="2262" y="203"/>
                    <a:pt x="2261" y="202"/>
                  </a:cubicBezTo>
                  <a:cubicBezTo>
                    <a:pt x="2259" y="198"/>
                    <a:pt x="2258" y="197"/>
                    <a:pt x="2253" y="198"/>
                  </a:cubicBezTo>
                  <a:cubicBezTo>
                    <a:pt x="2247" y="199"/>
                    <a:pt x="2244" y="196"/>
                    <a:pt x="2241" y="193"/>
                  </a:cubicBezTo>
                  <a:cubicBezTo>
                    <a:pt x="2240" y="192"/>
                    <a:pt x="2241" y="189"/>
                    <a:pt x="2242" y="189"/>
                  </a:cubicBezTo>
                  <a:cubicBezTo>
                    <a:pt x="2244" y="188"/>
                    <a:pt x="2246" y="188"/>
                    <a:pt x="2249" y="187"/>
                  </a:cubicBezTo>
                  <a:cubicBezTo>
                    <a:pt x="2255" y="186"/>
                    <a:pt x="2258" y="181"/>
                    <a:pt x="2258" y="176"/>
                  </a:cubicBezTo>
                  <a:cubicBezTo>
                    <a:pt x="2259" y="170"/>
                    <a:pt x="2259" y="163"/>
                    <a:pt x="2259" y="157"/>
                  </a:cubicBezTo>
                  <a:cubicBezTo>
                    <a:pt x="2259" y="155"/>
                    <a:pt x="2258" y="153"/>
                    <a:pt x="2257" y="151"/>
                  </a:cubicBezTo>
                  <a:cubicBezTo>
                    <a:pt x="2256" y="149"/>
                    <a:pt x="2254" y="147"/>
                    <a:pt x="2253" y="144"/>
                  </a:cubicBezTo>
                  <a:cubicBezTo>
                    <a:pt x="2252" y="140"/>
                    <a:pt x="2249" y="138"/>
                    <a:pt x="2245" y="137"/>
                  </a:cubicBezTo>
                  <a:cubicBezTo>
                    <a:pt x="2241" y="137"/>
                    <a:pt x="2238" y="135"/>
                    <a:pt x="2236" y="131"/>
                  </a:cubicBezTo>
                  <a:cubicBezTo>
                    <a:pt x="2235" y="130"/>
                    <a:pt x="2234" y="129"/>
                    <a:pt x="2235" y="127"/>
                  </a:cubicBezTo>
                  <a:cubicBezTo>
                    <a:pt x="2236" y="126"/>
                    <a:pt x="2236" y="124"/>
                    <a:pt x="2237" y="123"/>
                  </a:cubicBezTo>
                  <a:cubicBezTo>
                    <a:pt x="2238" y="120"/>
                    <a:pt x="2241" y="120"/>
                    <a:pt x="2242" y="122"/>
                  </a:cubicBezTo>
                  <a:cubicBezTo>
                    <a:pt x="2243" y="126"/>
                    <a:pt x="2246" y="128"/>
                    <a:pt x="2249" y="130"/>
                  </a:cubicBezTo>
                  <a:cubicBezTo>
                    <a:pt x="2259" y="135"/>
                    <a:pt x="2260" y="135"/>
                    <a:pt x="2265" y="125"/>
                  </a:cubicBezTo>
                  <a:cubicBezTo>
                    <a:pt x="2265" y="124"/>
                    <a:pt x="2266" y="123"/>
                    <a:pt x="2266" y="122"/>
                  </a:cubicBezTo>
                  <a:cubicBezTo>
                    <a:pt x="2268" y="119"/>
                    <a:pt x="2271" y="118"/>
                    <a:pt x="2274" y="117"/>
                  </a:cubicBezTo>
                  <a:cubicBezTo>
                    <a:pt x="2277" y="116"/>
                    <a:pt x="2278" y="118"/>
                    <a:pt x="2280" y="119"/>
                  </a:cubicBezTo>
                  <a:cubicBezTo>
                    <a:pt x="2282" y="121"/>
                    <a:pt x="2284" y="123"/>
                    <a:pt x="2286" y="125"/>
                  </a:cubicBezTo>
                  <a:cubicBezTo>
                    <a:pt x="2289" y="128"/>
                    <a:pt x="2293" y="129"/>
                    <a:pt x="2296" y="127"/>
                  </a:cubicBezTo>
                  <a:cubicBezTo>
                    <a:pt x="2300" y="125"/>
                    <a:pt x="2303" y="124"/>
                    <a:pt x="2307" y="124"/>
                  </a:cubicBezTo>
                  <a:cubicBezTo>
                    <a:pt x="2310" y="124"/>
                    <a:pt x="2312" y="125"/>
                    <a:pt x="2315" y="125"/>
                  </a:cubicBezTo>
                  <a:cubicBezTo>
                    <a:pt x="2317" y="125"/>
                    <a:pt x="2319" y="124"/>
                    <a:pt x="2321" y="124"/>
                  </a:cubicBezTo>
                  <a:cubicBezTo>
                    <a:pt x="2323" y="123"/>
                    <a:pt x="2324" y="123"/>
                    <a:pt x="2324" y="122"/>
                  </a:cubicBezTo>
                  <a:cubicBezTo>
                    <a:pt x="2325" y="121"/>
                    <a:pt x="2326" y="120"/>
                    <a:pt x="2326" y="119"/>
                  </a:cubicBezTo>
                  <a:cubicBezTo>
                    <a:pt x="2325" y="114"/>
                    <a:pt x="2325" y="109"/>
                    <a:pt x="2318" y="108"/>
                  </a:cubicBezTo>
                  <a:cubicBezTo>
                    <a:pt x="2315" y="108"/>
                    <a:pt x="2314" y="105"/>
                    <a:pt x="2314" y="103"/>
                  </a:cubicBezTo>
                  <a:cubicBezTo>
                    <a:pt x="2313" y="102"/>
                    <a:pt x="2314" y="101"/>
                    <a:pt x="2314" y="100"/>
                  </a:cubicBezTo>
                  <a:cubicBezTo>
                    <a:pt x="2314" y="95"/>
                    <a:pt x="2313" y="91"/>
                    <a:pt x="2308" y="88"/>
                  </a:cubicBezTo>
                  <a:cubicBezTo>
                    <a:pt x="2305" y="87"/>
                    <a:pt x="2304" y="84"/>
                    <a:pt x="2302" y="82"/>
                  </a:cubicBezTo>
                  <a:cubicBezTo>
                    <a:pt x="2300" y="80"/>
                    <a:pt x="2300" y="79"/>
                    <a:pt x="2302" y="77"/>
                  </a:cubicBezTo>
                  <a:cubicBezTo>
                    <a:pt x="2307" y="74"/>
                    <a:pt x="2308" y="70"/>
                    <a:pt x="2310" y="65"/>
                  </a:cubicBezTo>
                  <a:cubicBezTo>
                    <a:pt x="2310" y="64"/>
                    <a:pt x="2310" y="62"/>
                    <a:pt x="2309" y="61"/>
                  </a:cubicBezTo>
                  <a:cubicBezTo>
                    <a:pt x="2304" y="56"/>
                    <a:pt x="2303" y="50"/>
                    <a:pt x="2303" y="44"/>
                  </a:cubicBezTo>
                  <a:cubicBezTo>
                    <a:pt x="2303" y="42"/>
                    <a:pt x="2302" y="41"/>
                    <a:pt x="2300" y="41"/>
                  </a:cubicBezTo>
                  <a:cubicBezTo>
                    <a:pt x="2298" y="41"/>
                    <a:pt x="2297" y="42"/>
                    <a:pt x="2296" y="41"/>
                  </a:cubicBezTo>
                  <a:cubicBezTo>
                    <a:pt x="2290" y="40"/>
                    <a:pt x="2285" y="38"/>
                    <a:pt x="2279" y="37"/>
                  </a:cubicBezTo>
                  <a:cubicBezTo>
                    <a:pt x="2277" y="37"/>
                    <a:pt x="2275" y="35"/>
                    <a:pt x="2273" y="35"/>
                  </a:cubicBezTo>
                  <a:cubicBezTo>
                    <a:pt x="2270" y="33"/>
                    <a:pt x="2267" y="34"/>
                    <a:pt x="2264" y="36"/>
                  </a:cubicBezTo>
                  <a:cubicBezTo>
                    <a:pt x="2261" y="39"/>
                    <a:pt x="2258" y="43"/>
                    <a:pt x="2252" y="44"/>
                  </a:cubicBezTo>
                  <a:cubicBezTo>
                    <a:pt x="2251" y="44"/>
                    <a:pt x="2251" y="45"/>
                    <a:pt x="2250" y="46"/>
                  </a:cubicBezTo>
                  <a:cubicBezTo>
                    <a:pt x="2249" y="48"/>
                    <a:pt x="2248" y="51"/>
                    <a:pt x="2250" y="52"/>
                  </a:cubicBezTo>
                  <a:cubicBezTo>
                    <a:pt x="2252" y="55"/>
                    <a:pt x="2255" y="57"/>
                    <a:pt x="2257" y="60"/>
                  </a:cubicBezTo>
                  <a:cubicBezTo>
                    <a:pt x="2258" y="62"/>
                    <a:pt x="2259" y="64"/>
                    <a:pt x="2257" y="66"/>
                  </a:cubicBezTo>
                  <a:cubicBezTo>
                    <a:pt x="2257" y="67"/>
                    <a:pt x="2256" y="68"/>
                    <a:pt x="2255" y="68"/>
                  </a:cubicBezTo>
                  <a:cubicBezTo>
                    <a:pt x="2255" y="68"/>
                    <a:pt x="2254" y="68"/>
                    <a:pt x="2254" y="68"/>
                  </a:cubicBezTo>
                  <a:cubicBezTo>
                    <a:pt x="2250" y="60"/>
                    <a:pt x="2242" y="56"/>
                    <a:pt x="2238" y="48"/>
                  </a:cubicBezTo>
                  <a:cubicBezTo>
                    <a:pt x="2232" y="44"/>
                    <a:pt x="2226" y="39"/>
                    <a:pt x="2217" y="41"/>
                  </a:cubicBezTo>
                  <a:cubicBezTo>
                    <a:pt x="2214" y="41"/>
                    <a:pt x="2210" y="41"/>
                    <a:pt x="2207" y="40"/>
                  </a:cubicBezTo>
                  <a:cubicBezTo>
                    <a:pt x="2203" y="39"/>
                    <a:pt x="2198" y="39"/>
                    <a:pt x="2193" y="39"/>
                  </a:cubicBezTo>
                  <a:cubicBezTo>
                    <a:pt x="2187" y="39"/>
                    <a:pt x="2181" y="38"/>
                    <a:pt x="2175" y="36"/>
                  </a:cubicBezTo>
                  <a:cubicBezTo>
                    <a:pt x="2170" y="35"/>
                    <a:pt x="2164" y="34"/>
                    <a:pt x="2159" y="36"/>
                  </a:cubicBezTo>
                  <a:cubicBezTo>
                    <a:pt x="2155" y="38"/>
                    <a:pt x="2151" y="37"/>
                    <a:pt x="2148" y="34"/>
                  </a:cubicBezTo>
                  <a:cubicBezTo>
                    <a:pt x="2145" y="32"/>
                    <a:pt x="2141" y="31"/>
                    <a:pt x="2138" y="30"/>
                  </a:cubicBezTo>
                  <a:cubicBezTo>
                    <a:pt x="2126" y="29"/>
                    <a:pt x="2114" y="25"/>
                    <a:pt x="2102" y="26"/>
                  </a:cubicBezTo>
                  <a:cubicBezTo>
                    <a:pt x="2100" y="26"/>
                    <a:pt x="2098" y="26"/>
                    <a:pt x="2097" y="26"/>
                  </a:cubicBezTo>
                  <a:cubicBezTo>
                    <a:pt x="2089" y="24"/>
                    <a:pt x="2081" y="26"/>
                    <a:pt x="2074" y="29"/>
                  </a:cubicBezTo>
                  <a:cubicBezTo>
                    <a:pt x="2069" y="31"/>
                    <a:pt x="2064" y="34"/>
                    <a:pt x="2059" y="34"/>
                  </a:cubicBezTo>
                  <a:cubicBezTo>
                    <a:pt x="2053" y="34"/>
                    <a:pt x="2047" y="37"/>
                    <a:pt x="2041" y="36"/>
                  </a:cubicBezTo>
                  <a:cubicBezTo>
                    <a:pt x="2038" y="36"/>
                    <a:pt x="2036" y="37"/>
                    <a:pt x="2033" y="37"/>
                  </a:cubicBezTo>
                  <a:cubicBezTo>
                    <a:pt x="2032" y="37"/>
                    <a:pt x="2031" y="38"/>
                    <a:pt x="2031" y="39"/>
                  </a:cubicBezTo>
                  <a:cubicBezTo>
                    <a:pt x="2032" y="45"/>
                    <a:pt x="2037" y="48"/>
                    <a:pt x="2036" y="54"/>
                  </a:cubicBezTo>
                  <a:cubicBezTo>
                    <a:pt x="2036" y="55"/>
                    <a:pt x="2038" y="57"/>
                    <a:pt x="2039" y="57"/>
                  </a:cubicBezTo>
                  <a:cubicBezTo>
                    <a:pt x="2043" y="59"/>
                    <a:pt x="2048" y="60"/>
                    <a:pt x="2051" y="63"/>
                  </a:cubicBezTo>
                  <a:cubicBezTo>
                    <a:pt x="2054" y="66"/>
                    <a:pt x="2057" y="70"/>
                    <a:pt x="2060" y="74"/>
                  </a:cubicBezTo>
                  <a:cubicBezTo>
                    <a:pt x="2061" y="75"/>
                    <a:pt x="2061" y="78"/>
                    <a:pt x="2060" y="80"/>
                  </a:cubicBezTo>
                  <a:cubicBezTo>
                    <a:pt x="2058" y="81"/>
                    <a:pt x="2057" y="82"/>
                    <a:pt x="2055" y="84"/>
                  </a:cubicBezTo>
                  <a:cubicBezTo>
                    <a:pt x="2052" y="86"/>
                    <a:pt x="2049" y="86"/>
                    <a:pt x="2048" y="83"/>
                  </a:cubicBezTo>
                  <a:cubicBezTo>
                    <a:pt x="2044" y="77"/>
                    <a:pt x="2039" y="75"/>
                    <a:pt x="2032" y="74"/>
                  </a:cubicBezTo>
                  <a:cubicBezTo>
                    <a:pt x="2031" y="74"/>
                    <a:pt x="2029" y="74"/>
                    <a:pt x="2028" y="73"/>
                  </a:cubicBezTo>
                  <a:cubicBezTo>
                    <a:pt x="2027" y="73"/>
                    <a:pt x="2025" y="72"/>
                    <a:pt x="2025" y="71"/>
                  </a:cubicBezTo>
                  <a:cubicBezTo>
                    <a:pt x="2023" y="69"/>
                    <a:pt x="2022" y="67"/>
                    <a:pt x="2021" y="65"/>
                  </a:cubicBezTo>
                  <a:cubicBezTo>
                    <a:pt x="2021" y="64"/>
                    <a:pt x="2021" y="63"/>
                    <a:pt x="2022" y="63"/>
                  </a:cubicBezTo>
                  <a:cubicBezTo>
                    <a:pt x="2025" y="59"/>
                    <a:pt x="2024" y="56"/>
                    <a:pt x="2022" y="53"/>
                  </a:cubicBezTo>
                  <a:cubicBezTo>
                    <a:pt x="2020" y="49"/>
                    <a:pt x="2016" y="49"/>
                    <a:pt x="2012" y="49"/>
                  </a:cubicBezTo>
                  <a:cubicBezTo>
                    <a:pt x="2010" y="49"/>
                    <a:pt x="2006" y="52"/>
                    <a:pt x="2006" y="54"/>
                  </a:cubicBezTo>
                  <a:cubicBezTo>
                    <a:pt x="2006" y="58"/>
                    <a:pt x="2007" y="63"/>
                    <a:pt x="2006" y="67"/>
                  </a:cubicBezTo>
                  <a:cubicBezTo>
                    <a:pt x="2006" y="69"/>
                    <a:pt x="2004" y="72"/>
                    <a:pt x="2001" y="72"/>
                  </a:cubicBezTo>
                  <a:cubicBezTo>
                    <a:pt x="1996" y="73"/>
                    <a:pt x="1990" y="73"/>
                    <a:pt x="1985" y="75"/>
                  </a:cubicBezTo>
                  <a:cubicBezTo>
                    <a:pt x="1981" y="76"/>
                    <a:pt x="1978" y="77"/>
                    <a:pt x="1974" y="76"/>
                  </a:cubicBezTo>
                  <a:cubicBezTo>
                    <a:pt x="1973" y="76"/>
                    <a:pt x="1972" y="76"/>
                    <a:pt x="1971" y="76"/>
                  </a:cubicBezTo>
                  <a:cubicBezTo>
                    <a:pt x="1965" y="79"/>
                    <a:pt x="1958" y="82"/>
                    <a:pt x="1952" y="86"/>
                  </a:cubicBezTo>
                  <a:cubicBezTo>
                    <a:pt x="1943" y="91"/>
                    <a:pt x="1934" y="93"/>
                    <a:pt x="1924" y="92"/>
                  </a:cubicBezTo>
                  <a:cubicBezTo>
                    <a:pt x="1922" y="92"/>
                    <a:pt x="1920" y="91"/>
                    <a:pt x="1919" y="89"/>
                  </a:cubicBezTo>
                  <a:cubicBezTo>
                    <a:pt x="1919" y="88"/>
                    <a:pt x="1918" y="88"/>
                    <a:pt x="1918" y="87"/>
                  </a:cubicBezTo>
                  <a:cubicBezTo>
                    <a:pt x="1916" y="77"/>
                    <a:pt x="1910" y="70"/>
                    <a:pt x="1901" y="65"/>
                  </a:cubicBezTo>
                  <a:cubicBezTo>
                    <a:pt x="1900" y="65"/>
                    <a:pt x="1900" y="64"/>
                    <a:pt x="1899" y="63"/>
                  </a:cubicBezTo>
                  <a:cubicBezTo>
                    <a:pt x="1889" y="57"/>
                    <a:pt x="1879" y="53"/>
                    <a:pt x="1868" y="60"/>
                  </a:cubicBezTo>
                  <a:cubicBezTo>
                    <a:pt x="1866" y="61"/>
                    <a:pt x="1864" y="61"/>
                    <a:pt x="1862" y="62"/>
                  </a:cubicBezTo>
                  <a:cubicBezTo>
                    <a:pt x="1853" y="65"/>
                    <a:pt x="1845" y="69"/>
                    <a:pt x="1837" y="74"/>
                  </a:cubicBezTo>
                  <a:cubicBezTo>
                    <a:pt x="1833" y="77"/>
                    <a:pt x="1829" y="79"/>
                    <a:pt x="1825" y="82"/>
                  </a:cubicBezTo>
                  <a:cubicBezTo>
                    <a:pt x="1822" y="83"/>
                    <a:pt x="1818" y="83"/>
                    <a:pt x="1816" y="80"/>
                  </a:cubicBezTo>
                  <a:cubicBezTo>
                    <a:pt x="1815" y="76"/>
                    <a:pt x="1812" y="74"/>
                    <a:pt x="1808" y="72"/>
                  </a:cubicBezTo>
                  <a:cubicBezTo>
                    <a:pt x="1806" y="71"/>
                    <a:pt x="1803" y="70"/>
                    <a:pt x="1801" y="69"/>
                  </a:cubicBezTo>
                  <a:cubicBezTo>
                    <a:pt x="1798" y="67"/>
                    <a:pt x="1796" y="68"/>
                    <a:pt x="1793" y="70"/>
                  </a:cubicBezTo>
                  <a:cubicBezTo>
                    <a:pt x="1791" y="72"/>
                    <a:pt x="1791" y="72"/>
                    <a:pt x="1788" y="70"/>
                  </a:cubicBezTo>
                  <a:cubicBezTo>
                    <a:pt x="1786" y="69"/>
                    <a:pt x="1785" y="68"/>
                    <a:pt x="1782" y="68"/>
                  </a:cubicBezTo>
                  <a:cubicBezTo>
                    <a:pt x="1781" y="69"/>
                    <a:pt x="1779" y="69"/>
                    <a:pt x="1778" y="68"/>
                  </a:cubicBezTo>
                  <a:cubicBezTo>
                    <a:pt x="1775" y="65"/>
                    <a:pt x="1772" y="65"/>
                    <a:pt x="1769" y="64"/>
                  </a:cubicBezTo>
                  <a:cubicBezTo>
                    <a:pt x="1768" y="64"/>
                    <a:pt x="1768" y="63"/>
                    <a:pt x="1768" y="62"/>
                  </a:cubicBezTo>
                  <a:cubicBezTo>
                    <a:pt x="1771" y="57"/>
                    <a:pt x="1771" y="55"/>
                    <a:pt x="1768" y="52"/>
                  </a:cubicBezTo>
                  <a:cubicBezTo>
                    <a:pt x="1768" y="52"/>
                    <a:pt x="1768" y="51"/>
                    <a:pt x="1767" y="51"/>
                  </a:cubicBezTo>
                  <a:cubicBezTo>
                    <a:pt x="1761" y="48"/>
                    <a:pt x="1755" y="45"/>
                    <a:pt x="1747" y="47"/>
                  </a:cubicBezTo>
                  <a:cubicBezTo>
                    <a:pt x="1744" y="47"/>
                    <a:pt x="1741" y="48"/>
                    <a:pt x="1737" y="49"/>
                  </a:cubicBezTo>
                  <a:cubicBezTo>
                    <a:pt x="1735" y="50"/>
                    <a:pt x="1733" y="51"/>
                    <a:pt x="1732" y="52"/>
                  </a:cubicBezTo>
                  <a:cubicBezTo>
                    <a:pt x="1728" y="57"/>
                    <a:pt x="1725" y="57"/>
                    <a:pt x="1719" y="56"/>
                  </a:cubicBezTo>
                  <a:cubicBezTo>
                    <a:pt x="1713" y="54"/>
                    <a:pt x="1707" y="54"/>
                    <a:pt x="1701" y="55"/>
                  </a:cubicBezTo>
                  <a:cubicBezTo>
                    <a:pt x="1694" y="55"/>
                    <a:pt x="1687" y="55"/>
                    <a:pt x="1679" y="56"/>
                  </a:cubicBezTo>
                  <a:cubicBezTo>
                    <a:pt x="1672" y="57"/>
                    <a:pt x="1665" y="58"/>
                    <a:pt x="1658" y="56"/>
                  </a:cubicBezTo>
                  <a:cubicBezTo>
                    <a:pt x="1657" y="55"/>
                    <a:pt x="1655" y="56"/>
                    <a:pt x="1654" y="57"/>
                  </a:cubicBezTo>
                  <a:cubicBezTo>
                    <a:pt x="1653" y="58"/>
                    <a:pt x="1653" y="59"/>
                    <a:pt x="1652" y="60"/>
                  </a:cubicBezTo>
                  <a:cubicBezTo>
                    <a:pt x="1652" y="60"/>
                    <a:pt x="1653" y="61"/>
                    <a:pt x="1653" y="61"/>
                  </a:cubicBezTo>
                  <a:cubicBezTo>
                    <a:pt x="1656" y="62"/>
                    <a:pt x="1658" y="63"/>
                    <a:pt x="1661" y="64"/>
                  </a:cubicBezTo>
                  <a:cubicBezTo>
                    <a:pt x="1662" y="64"/>
                    <a:pt x="1662" y="65"/>
                    <a:pt x="1663" y="66"/>
                  </a:cubicBezTo>
                  <a:cubicBezTo>
                    <a:pt x="1664" y="67"/>
                    <a:pt x="1662" y="69"/>
                    <a:pt x="1661" y="70"/>
                  </a:cubicBezTo>
                  <a:cubicBezTo>
                    <a:pt x="1659" y="70"/>
                    <a:pt x="1657" y="71"/>
                    <a:pt x="1656" y="71"/>
                  </a:cubicBezTo>
                  <a:cubicBezTo>
                    <a:pt x="1653" y="73"/>
                    <a:pt x="1652" y="76"/>
                    <a:pt x="1652" y="79"/>
                  </a:cubicBezTo>
                  <a:cubicBezTo>
                    <a:pt x="1652" y="82"/>
                    <a:pt x="1654" y="84"/>
                    <a:pt x="1657" y="85"/>
                  </a:cubicBezTo>
                  <a:cubicBezTo>
                    <a:pt x="1659" y="85"/>
                    <a:pt x="1661" y="85"/>
                    <a:pt x="1663" y="84"/>
                  </a:cubicBezTo>
                  <a:cubicBezTo>
                    <a:pt x="1663" y="84"/>
                    <a:pt x="1663" y="84"/>
                    <a:pt x="1663" y="84"/>
                  </a:cubicBezTo>
                  <a:cubicBezTo>
                    <a:pt x="1664" y="83"/>
                    <a:pt x="1664" y="83"/>
                    <a:pt x="1664" y="83"/>
                  </a:cubicBezTo>
                  <a:cubicBezTo>
                    <a:pt x="1663" y="84"/>
                    <a:pt x="1663" y="84"/>
                    <a:pt x="1663" y="84"/>
                  </a:cubicBezTo>
                  <a:cubicBezTo>
                    <a:pt x="1663" y="84"/>
                    <a:pt x="1663" y="84"/>
                    <a:pt x="1663" y="84"/>
                  </a:cubicBezTo>
                  <a:cubicBezTo>
                    <a:pt x="1663" y="87"/>
                    <a:pt x="1663" y="89"/>
                    <a:pt x="1665" y="92"/>
                  </a:cubicBezTo>
                  <a:cubicBezTo>
                    <a:pt x="1667" y="95"/>
                    <a:pt x="1670" y="98"/>
                    <a:pt x="1673" y="101"/>
                  </a:cubicBezTo>
                  <a:cubicBezTo>
                    <a:pt x="1675" y="102"/>
                    <a:pt x="1675" y="103"/>
                    <a:pt x="1674" y="105"/>
                  </a:cubicBezTo>
                  <a:cubicBezTo>
                    <a:pt x="1673" y="106"/>
                    <a:pt x="1671" y="107"/>
                    <a:pt x="1670" y="106"/>
                  </a:cubicBezTo>
                  <a:cubicBezTo>
                    <a:pt x="1666" y="104"/>
                    <a:pt x="1663" y="103"/>
                    <a:pt x="1659" y="106"/>
                  </a:cubicBezTo>
                  <a:cubicBezTo>
                    <a:pt x="1657" y="107"/>
                    <a:pt x="1654" y="108"/>
                    <a:pt x="1652" y="110"/>
                  </a:cubicBezTo>
                  <a:cubicBezTo>
                    <a:pt x="1649" y="112"/>
                    <a:pt x="1647" y="113"/>
                    <a:pt x="1643" y="112"/>
                  </a:cubicBezTo>
                  <a:cubicBezTo>
                    <a:pt x="1640" y="112"/>
                    <a:pt x="1638" y="111"/>
                    <a:pt x="1635" y="112"/>
                  </a:cubicBezTo>
                  <a:cubicBezTo>
                    <a:pt x="1631" y="112"/>
                    <a:pt x="1627" y="114"/>
                    <a:pt x="1626" y="118"/>
                  </a:cubicBezTo>
                  <a:cubicBezTo>
                    <a:pt x="1625" y="122"/>
                    <a:pt x="1622" y="123"/>
                    <a:pt x="1618" y="124"/>
                  </a:cubicBezTo>
                  <a:cubicBezTo>
                    <a:pt x="1610" y="125"/>
                    <a:pt x="1603" y="123"/>
                    <a:pt x="1597" y="117"/>
                  </a:cubicBezTo>
                  <a:cubicBezTo>
                    <a:pt x="1596" y="117"/>
                    <a:pt x="1596" y="117"/>
                    <a:pt x="1595" y="117"/>
                  </a:cubicBezTo>
                  <a:cubicBezTo>
                    <a:pt x="1595" y="117"/>
                    <a:pt x="1594" y="117"/>
                    <a:pt x="1594" y="117"/>
                  </a:cubicBezTo>
                  <a:cubicBezTo>
                    <a:pt x="1593" y="117"/>
                    <a:pt x="1593" y="118"/>
                    <a:pt x="1593" y="118"/>
                  </a:cubicBezTo>
                  <a:cubicBezTo>
                    <a:pt x="1593" y="123"/>
                    <a:pt x="1594" y="128"/>
                    <a:pt x="1596" y="132"/>
                  </a:cubicBezTo>
                  <a:cubicBezTo>
                    <a:pt x="1599" y="138"/>
                    <a:pt x="1601" y="143"/>
                    <a:pt x="1602" y="150"/>
                  </a:cubicBezTo>
                  <a:cubicBezTo>
                    <a:pt x="1603" y="151"/>
                    <a:pt x="1602" y="153"/>
                    <a:pt x="1599" y="152"/>
                  </a:cubicBezTo>
                  <a:cubicBezTo>
                    <a:pt x="1596" y="152"/>
                    <a:pt x="1593" y="152"/>
                    <a:pt x="1590" y="151"/>
                  </a:cubicBezTo>
                  <a:cubicBezTo>
                    <a:pt x="1580" y="148"/>
                    <a:pt x="1574" y="140"/>
                    <a:pt x="1566" y="135"/>
                  </a:cubicBezTo>
                  <a:cubicBezTo>
                    <a:pt x="1565" y="135"/>
                    <a:pt x="1566" y="134"/>
                    <a:pt x="1566" y="133"/>
                  </a:cubicBezTo>
                  <a:cubicBezTo>
                    <a:pt x="1564" y="129"/>
                    <a:pt x="1564" y="129"/>
                    <a:pt x="1560" y="131"/>
                  </a:cubicBezTo>
                  <a:cubicBezTo>
                    <a:pt x="1557" y="133"/>
                    <a:pt x="1556" y="133"/>
                    <a:pt x="1553" y="131"/>
                  </a:cubicBezTo>
                  <a:cubicBezTo>
                    <a:pt x="1552" y="130"/>
                    <a:pt x="1552" y="129"/>
                    <a:pt x="1551" y="127"/>
                  </a:cubicBezTo>
                  <a:cubicBezTo>
                    <a:pt x="1551" y="127"/>
                    <a:pt x="1551" y="127"/>
                    <a:pt x="1551" y="128"/>
                  </a:cubicBezTo>
                  <a:cubicBezTo>
                    <a:pt x="1551" y="127"/>
                    <a:pt x="1550" y="127"/>
                    <a:pt x="1550" y="127"/>
                  </a:cubicBezTo>
                  <a:cubicBezTo>
                    <a:pt x="1549" y="127"/>
                    <a:pt x="1548" y="127"/>
                    <a:pt x="1547" y="126"/>
                  </a:cubicBezTo>
                  <a:cubicBezTo>
                    <a:pt x="1547" y="126"/>
                    <a:pt x="1548" y="125"/>
                    <a:pt x="1548" y="126"/>
                  </a:cubicBezTo>
                  <a:cubicBezTo>
                    <a:pt x="1549" y="126"/>
                    <a:pt x="1550" y="127"/>
                    <a:pt x="1550" y="127"/>
                  </a:cubicBezTo>
                  <a:cubicBezTo>
                    <a:pt x="1551" y="127"/>
                    <a:pt x="1551" y="127"/>
                    <a:pt x="1551" y="127"/>
                  </a:cubicBezTo>
                  <a:cubicBezTo>
                    <a:pt x="1551" y="127"/>
                    <a:pt x="1551" y="127"/>
                    <a:pt x="1551" y="127"/>
                  </a:cubicBezTo>
                  <a:cubicBezTo>
                    <a:pt x="1553" y="126"/>
                    <a:pt x="1555" y="126"/>
                    <a:pt x="1556" y="125"/>
                  </a:cubicBezTo>
                  <a:cubicBezTo>
                    <a:pt x="1557" y="124"/>
                    <a:pt x="1558" y="123"/>
                    <a:pt x="1557" y="122"/>
                  </a:cubicBezTo>
                  <a:cubicBezTo>
                    <a:pt x="1557" y="118"/>
                    <a:pt x="1554" y="115"/>
                    <a:pt x="1552" y="113"/>
                  </a:cubicBezTo>
                  <a:cubicBezTo>
                    <a:pt x="1550" y="111"/>
                    <a:pt x="1547" y="110"/>
                    <a:pt x="1544" y="110"/>
                  </a:cubicBezTo>
                  <a:cubicBezTo>
                    <a:pt x="1542" y="110"/>
                    <a:pt x="1541" y="109"/>
                    <a:pt x="1542" y="107"/>
                  </a:cubicBezTo>
                  <a:cubicBezTo>
                    <a:pt x="1543" y="105"/>
                    <a:pt x="1544" y="103"/>
                    <a:pt x="1542" y="102"/>
                  </a:cubicBezTo>
                  <a:cubicBezTo>
                    <a:pt x="1537" y="98"/>
                    <a:pt x="1533" y="93"/>
                    <a:pt x="1529" y="90"/>
                  </a:cubicBezTo>
                  <a:cubicBezTo>
                    <a:pt x="1525" y="87"/>
                    <a:pt x="1510" y="83"/>
                    <a:pt x="1506" y="83"/>
                  </a:cubicBezTo>
                  <a:cubicBezTo>
                    <a:pt x="1505" y="83"/>
                    <a:pt x="1503" y="83"/>
                    <a:pt x="1502" y="84"/>
                  </a:cubicBezTo>
                  <a:cubicBezTo>
                    <a:pt x="1500" y="85"/>
                    <a:pt x="1498" y="86"/>
                    <a:pt x="1495" y="85"/>
                  </a:cubicBezTo>
                  <a:cubicBezTo>
                    <a:pt x="1488" y="83"/>
                    <a:pt x="1481" y="82"/>
                    <a:pt x="1474" y="84"/>
                  </a:cubicBezTo>
                  <a:cubicBezTo>
                    <a:pt x="1472" y="84"/>
                    <a:pt x="1470" y="86"/>
                    <a:pt x="1468" y="87"/>
                  </a:cubicBezTo>
                  <a:cubicBezTo>
                    <a:pt x="1465" y="89"/>
                    <a:pt x="1464" y="92"/>
                    <a:pt x="1466" y="95"/>
                  </a:cubicBezTo>
                  <a:cubicBezTo>
                    <a:pt x="1468" y="99"/>
                    <a:pt x="1471" y="102"/>
                    <a:pt x="1473" y="105"/>
                  </a:cubicBezTo>
                  <a:cubicBezTo>
                    <a:pt x="1474" y="107"/>
                    <a:pt x="1473" y="109"/>
                    <a:pt x="1472" y="110"/>
                  </a:cubicBezTo>
                  <a:cubicBezTo>
                    <a:pt x="1465" y="112"/>
                    <a:pt x="1459" y="115"/>
                    <a:pt x="1452" y="117"/>
                  </a:cubicBezTo>
                  <a:cubicBezTo>
                    <a:pt x="1448" y="119"/>
                    <a:pt x="1444" y="118"/>
                    <a:pt x="1440" y="115"/>
                  </a:cubicBezTo>
                  <a:cubicBezTo>
                    <a:pt x="1437" y="113"/>
                    <a:pt x="1437" y="113"/>
                    <a:pt x="1434" y="115"/>
                  </a:cubicBezTo>
                  <a:cubicBezTo>
                    <a:pt x="1427" y="120"/>
                    <a:pt x="1420" y="118"/>
                    <a:pt x="1419" y="110"/>
                  </a:cubicBezTo>
                  <a:cubicBezTo>
                    <a:pt x="1418" y="109"/>
                    <a:pt x="1419" y="108"/>
                    <a:pt x="1418" y="107"/>
                  </a:cubicBezTo>
                  <a:cubicBezTo>
                    <a:pt x="1418" y="104"/>
                    <a:pt x="1415" y="103"/>
                    <a:pt x="1412" y="103"/>
                  </a:cubicBezTo>
                  <a:cubicBezTo>
                    <a:pt x="1403" y="105"/>
                    <a:pt x="1395" y="106"/>
                    <a:pt x="1386" y="108"/>
                  </a:cubicBezTo>
                  <a:cubicBezTo>
                    <a:pt x="1383" y="109"/>
                    <a:pt x="1380" y="110"/>
                    <a:pt x="1377" y="111"/>
                  </a:cubicBezTo>
                  <a:cubicBezTo>
                    <a:pt x="1374" y="113"/>
                    <a:pt x="1370" y="115"/>
                    <a:pt x="1367" y="117"/>
                  </a:cubicBezTo>
                  <a:cubicBezTo>
                    <a:pt x="1364" y="115"/>
                    <a:pt x="1360" y="114"/>
                    <a:pt x="1357" y="112"/>
                  </a:cubicBezTo>
                  <a:cubicBezTo>
                    <a:pt x="1357" y="112"/>
                    <a:pt x="1356" y="112"/>
                    <a:pt x="1356" y="112"/>
                  </a:cubicBezTo>
                  <a:cubicBezTo>
                    <a:pt x="1355" y="113"/>
                    <a:pt x="1355" y="114"/>
                    <a:pt x="1355" y="115"/>
                  </a:cubicBezTo>
                  <a:cubicBezTo>
                    <a:pt x="1353" y="120"/>
                    <a:pt x="1346" y="122"/>
                    <a:pt x="1342" y="118"/>
                  </a:cubicBezTo>
                  <a:cubicBezTo>
                    <a:pt x="1341" y="117"/>
                    <a:pt x="1340" y="115"/>
                    <a:pt x="1338" y="113"/>
                  </a:cubicBezTo>
                  <a:cubicBezTo>
                    <a:pt x="1338" y="112"/>
                    <a:pt x="1336" y="111"/>
                    <a:pt x="1335" y="112"/>
                  </a:cubicBezTo>
                  <a:cubicBezTo>
                    <a:pt x="1332" y="113"/>
                    <a:pt x="1330" y="113"/>
                    <a:pt x="1327" y="113"/>
                  </a:cubicBezTo>
                  <a:cubicBezTo>
                    <a:pt x="1324" y="112"/>
                    <a:pt x="1322" y="114"/>
                    <a:pt x="1321" y="117"/>
                  </a:cubicBezTo>
                  <a:cubicBezTo>
                    <a:pt x="1320" y="118"/>
                    <a:pt x="1320" y="120"/>
                    <a:pt x="1320" y="121"/>
                  </a:cubicBezTo>
                  <a:cubicBezTo>
                    <a:pt x="1320" y="124"/>
                    <a:pt x="1321" y="126"/>
                    <a:pt x="1323" y="126"/>
                  </a:cubicBezTo>
                  <a:cubicBezTo>
                    <a:pt x="1325" y="127"/>
                    <a:pt x="1327" y="127"/>
                    <a:pt x="1329" y="128"/>
                  </a:cubicBezTo>
                  <a:cubicBezTo>
                    <a:pt x="1329" y="128"/>
                    <a:pt x="1329" y="128"/>
                    <a:pt x="1329" y="128"/>
                  </a:cubicBezTo>
                  <a:cubicBezTo>
                    <a:pt x="1329" y="127"/>
                    <a:pt x="1329" y="127"/>
                    <a:pt x="1329" y="127"/>
                  </a:cubicBezTo>
                  <a:cubicBezTo>
                    <a:pt x="1329" y="127"/>
                    <a:pt x="1329" y="126"/>
                    <a:pt x="1330" y="125"/>
                  </a:cubicBezTo>
                  <a:cubicBezTo>
                    <a:pt x="1330" y="124"/>
                    <a:pt x="1331" y="124"/>
                    <a:pt x="1332" y="124"/>
                  </a:cubicBezTo>
                  <a:cubicBezTo>
                    <a:pt x="1332" y="124"/>
                    <a:pt x="1332" y="124"/>
                    <a:pt x="1332" y="125"/>
                  </a:cubicBezTo>
                  <a:cubicBezTo>
                    <a:pt x="1332" y="125"/>
                    <a:pt x="1332" y="126"/>
                    <a:pt x="1331" y="126"/>
                  </a:cubicBezTo>
                  <a:cubicBezTo>
                    <a:pt x="1331" y="126"/>
                    <a:pt x="1330" y="127"/>
                    <a:pt x="1329" y="127"/>
                  </a:cubicBezTo>
                  <a:cubicBezTo>
                    <a:pt x="1329" y="127"/>
                    <a:pt x="1329" y="128"/>
                    <a:pt x="1329" y="128"/>
                  </a:cubicBezTo>
                  <a:cubicBezTo>
                    <a:pt x="1329" y="128"/>
                    <a:pt x="1329" y="128"/>
                    <a:pt x="1329" y="128"/>
                  </a:cubicBezTo>
                  <a:cubicBezTo>
                    <a:pt x="1328" y="129"/>
                    <a:pt x="1328" y="131"/>
                    <a:pt x="1327" y="132"/>
                  </a:cubicBezTo>
                  <a:cubicBezTo>
                    <a:pt x="1324" y="134"/>
                    <a:pt x="1322" y="137"/>
                    <a:pt x="1320" y="140"/>
                  </a:cubicBezTo>
                  <a:cubicBezTo>
                    <a:pt x="1317" y="147"/>
                    <a:pt x="1311" y="149"/>
                    <a:pt x="1304" y="149"/>
                  </a:cubicBezTo>
                  <a:cubicBezTo>
                    <a:pt x="1301" y="150"/>
                    <a:pt x="1300" y="149"/>
                    <a:pt x="1301" y="147"/>
                  </a:cubicBezTo>
                  <a:cubicBezTo>
                    <a:pt x="1303" y="144"/>
                    <a:pt x="1304" y="141"/>
                    <a:pt x="1304" y="138"/>
                  </a:cubicBezTo>
                  <a:cubicBezTo>
                    <a:pt x="1304" y="134"/>
                    <a:pt x="1309" y="134"/>
                    <a:pt x="1310" y="131"/>
                  </a:cubicBezTo>
                  <a:cubicBezTo>
                    <a:pt x="1311" y="130"/>
                    <a:pt x="1312" y="128"/>
                    <a:pt x="1311" y="127"/>
                  </a:cubicBezTo>
                  <a:cubicBezTo>
                    <a:pt x="1310" y="122"/>
                    <a:pt x="1312" y="117"/>
                    <a:pt x="1314" y="113"/>
                  </a:cubicBezTo>
                  <a:cubicBezTo>
                    <a:pt x="1315" y="111"/>
                    <a:pt x="1316" y="109"/>
                    <a:pt x="1315" y="107"/>
                  </a:cubicBezTo>
                  <a:cubicBezTo>
                    <a:pt x="1315" y="105"/>
                    <a:pt x="1315" y="103"/>
                    <a:pt x="1316" y="101"/>
                  </a:cubicBezTo>
                  <a:cubicBezTo>
                    <a:pt x="1318" y="96"/>
                    <a:pt x="1321" y="92"/>
                    <a:pt x="1322" y="87"/>
                  </a:cubicBezTo>
                  <a:cubicBezTo>
                    <a:pt x="1323" y="82"/>
                    <a:pt x="1324" y="76"/>
                    <a:pt x="1326" y="72"/>
                  </a:cubicBezTo>
                  <a:cubicBezTo>
                    <a:pt x="1328" y="67"/>
                    <a:pt x="1327" y="62"/>
                    <a:pt x="1325" y="58"/>
                  </a:cubicBezTo>
                  <a:cubicBezTo>
                    <a:pt x="1323" y="53"/>
                    <a:pt x="1319" y="49"/>
                    <a:pt x="1318" y="44"/>
                  </a:cubicBezTo>
                  <a:cubicBezTo>
                    <a:pt x="1318" y="43"/>
                    <a:pt x="1317" y="41"/>
                    <a:pt x="1316" y="41"/>
                  </a:cubicBezTo>
                  <a:cubicBezTo>
                    <a:pt x="1311" y="39"/>
                    <a:pt x="1308" y="33"/>
                    <a:pt x="1303" y="29"/>
                  </a:cubicBezTo>
                  <a:cubicBezTo>
                    <a:pt x="1302" y="28"/>
                    <a:pt x="1301" y="28"/>
                    <a:pt x="1299" y="29"/>
                  </a:cubicBezTo>
                  <a:cubicBezTo>
                    <a:pt x="1298" y="31"/>
                    <a:pt x="1298" y="35"/>
                    <a:pt x="1296" y="31"/>
                  </a:cubicBezTo>
                  <a:cubicBezTo>
                    <a:pt x="1293" y="27"/>
                    <a:pt x="1288" y="25"/>
                    <a:pt x="1284" y="23"/>
                  </a:cubicBezTo>
                  <a:cubicBezTo>
                    <a:pt x="1280" y="21"/>
                    <a:pt x="1276" y="20"/>
                    <a:pt x="1272" y="17"/>
                  </a:cubicBezTo>
                  <a:cubicBezTo>
                    <a:pt x="1269" y="15"/>
                    <a:pt x="1265" y="14"/>
                    <a:pt x="1262" y="17"/>
                  </a:cubicBezTo>
                  <a:cubicBezTo>
                    <a:pt x="1255" y="21"/>
                    <a:pt x="1248" y="23"/>
                    <a:pt x="1241" y="25"/>
                  </a:cubicBezTo>
                  <a:cubicBezTo>
                    <a:pt x="1239" y="26"/>
                    <a:pt x="1238" y="28"/>
                    <a:pt x="1239" y="29"/>
                  </a:cubicBezTo>
                  <a:cubicBezTo>
                    <a:pt x="1239" y="31"/>
                    <a:pt x="1240" y="32"/>
                    <a:pt x="1241" y="33"/>
                  </a:cubicBezTo>
                  <a:cubicBezTo>
                    <a:pt x="1242" y="36"/>
                    <a:pt x="1241" y="38"/>
                    <a:pt x="1238" y="40"/>
                  </a:cubicBezTo>
                  <a:cubicBezTo>
                    <a:pt x="1235" y="42"/>
                    <a:pt x="1232" y="40"/>
                    <a:pt x="1231" y="37"/>
                  </a:cubicBezTo>
                  <a:cubicBezTo>
                    <a:pt x="1231" y="34"/>
                    <a:pt x="1231" y="32"/>
                    <a:pt x="1231" y="29"/>
                  </a:cubicBezTo>
                  <a:cubicBezTo>
                    <a:pt x="1231" y="27"/>
                    <a:pt x="1230" y="24"/>
                    <a:pt x="1230" y="21"/>
                  </a:cubicBezTo>
                  <a:cubicBezTo>
                    <a:pt x="1229" y="19"/>
                    <a:pt x="1226" y="17"/>
                    <a:pt x="1223" y="18"/>
                  </a:cubicBezTo>
                  <a:cubicBezTo>
                    <a:pt x="1221" y="18"/>
                    <a:pt x="1219" y="19"/>
                    <a:pt x="1217" y="19"/>
                  </a:cubicBezTo>
                  <a:cubicBezTo>
                    <a:pt x="1213" y="20"/>
                    <a:pt x="1210" y="19"/>
                    <a:pt x="1207" y="18"/>
                  </a:cubicBezTo>
                  <a:cubicBezTo>
                    <a:pt x="1205" y="17"/>
                    <a:pt x="1204" y="15"/>
                    <a:pt x="1204" y="13"/>
                  </a:cubicBezTo>
                  <a:cubicBezTo>
                    <a:pt x="1205" y="8"/>
                    <a:pt x="1202" y="5"/>
                    <a:pt x="1198" y="3"/>
                  </a:cubicBezTo>
                  <a:cubicBezTo>
                    <a:pt x="1192" y="4"/>
                    <a:pt x="1187" y="0"/>
                    <a:pt x="1181" y="0"/>
                  </a:cubicBezTo>
                  <a:cubicBezTo>
                    <a:pt x="1179" y="0"/>
                    <a:pt x="1178" y="1"/>
                    <a:pt x="1176" y="2"/>
                  </a:cubicBezTo>
                  <a:cubicBezTo>
                    <a:pt x="1176" y="2"/>
                    <a:pt x="1175" y="3"/>
                    <a:pt x="1174" y="4"/>
                  </a:cubicBezTo>
                  <a:cubicBezTo>
                    <a:pt x="1170" y="13"/>
                    <a:pt x="1168" y="22"/>
                    <a:pt x="1169" y="32"/>
                  </a:cubicBezTo>
                  <a:cubicBezTo>
                    <a:pt x="1169" y="37"/>
                    <a:pt x="1169" y="44"/>
                    <a:pt x="1176" y="48"/>
                  </a:cubicBezTo>
                  <a:cubicBezTo>
                    <a:pt x="1179" y="50"/>
                    <a:pt x="1178" y="54"/>
                    <a:pt x="1180" y="57"/>
                  </a:cubicBezTo>
                  <a:cubicBezTo>
                    <a:pt x="1181" y="60"/>
                    <a:pt x="1181" y="60"/>
                    <a:pt x="1178" y="61"/>
                  </a:cubicBezTo>
                  <a:cubicBezTo>
                    <a:pt x="1174" y="61"/>
                    <a:pt x="1170" y="61"/>
                    <a:pt x="1167" y="63"/>
                  </a:cubicBezTo>
                  <a:cubicBezTo>
                    <a:pt x="1165" y="64"/>
                    <a:pt x="1164" y="65"/>
                    <a:pt x="1164" y="67"/>
                  </a:cubicBezTo>
                  <a:cubicBezTo>
                    <a:pt x="1165" y="68"/>
                    <a:pt x="1166" y="70"/>
                    <a:pt x="1165" y="71"/>
                  </a:cubicBezTo>
                  <a:cubicBezTo>
                    <a:pt x="1163" y="75"/>
                    <a:pt x="1161" y="78"/>
                    <a:pt x="1159" y="81"/>
                  </a:cubicBezTo>
                  <a:cubicBezTo>
                    <a:pt x="1159" y="81"/>
                    <a:pt x="1158" y="82"/>
                    <a:pt x="1157" y="82"/>
                  </a:cubicBezTo>
                  <a:cubicBezTo>
                    <a:pt x="1153" y="84"/>
                    <a:pt x="1150" y="85"/>
                    <a:pt x="1146" y="86"/>
                  </a:cubicBezTo>
                  <a:cubicBezTo>
                    <a:pt x="1145" y="86"/>
                    <a:pt x="1145" y="85"/>
                    <a:pt x="1145" y="84"/>
                  </a:cubicBezTo>
                  <a:cubicBezTo>
                    <a:pt x="1145" y="82"/>
                    <a:pt x="1146" y="80"/>
                    <a:pt x="1147" y="78"/>
                  </a:cubicBezTo>
                  <a:cubicBezTo>
                    <a:pt x="1147" y="76"/>
                    <a:pt x="1145" y="74"/>
                    <a:pt x="1143" y="74"/>
                  </a:cubicBezTo>
                  <a:cubicBezTo>
                    <a:pt x="1139" y="75"/>
                    <a:pt x="1136" y="75"/>
                    <a:pt x="1135" y="79"/>
                  </a:cubicBezTo>
                  <a:cubicBezTo>
                    <a:pt x="1134" y="81"/>
                    <a:pt x="1134" y="83"/>
                    <a:pt x="1131" y="83"/>
                  </a:cubicBezTo>
                  <a:cubicBezTo>
                    <a:pt x="1129" y="83"/>
                    <a:pt x="1127" y="84"/>
                    <a:pt x="1125" y="84"/>
                  </a:cubicBezTo>
                  <a:cubicBezTo>
                    <a:pt x="1121" y="84"/>
                    <a:pt x="1119" y="86"/>
                    <a:pt x="1116" y="89"/>
                  </a:cubicBezTo>
                  <a:cubicBezTo>
                    <a:pt x="1114" y="92"/>
                    <a:pt x="1113" y="93"/>
                    <a:pt x="1116" y="97"/>
                  </a:cubicBezTo>
                  <a:cubicBezTo>
                    <a:pt x="1118" y="98"/>
                    <a:pt x="1118" y="100"/>
                    <a:pt x="1116" y="101"/>
                  </a:cubicBezTo>
                  <a:cubicBezTo>
                    <a:pt x="1112" y="103"/>
                    <a:pt x="1108" y="106"/>
                    <a:pt x="1104" y="108"/>
                  </a:cubicBezTo>
                  <a:cubicBezTo>
                    <a:pt x="1100" y="110"/>
                    <a:pt x="1096" y="111"/>
                    <a:pt x="1093" y="115"/>
                  </a:cubicBezTo>
                  <a:cubicBezTo>
                    <a:pt x="1091" y="118"/>
                    <a:pt x="1087" y="120"/>
                    <a:pt x="1085" y="125"/>
                  </a:cubicBezTo>
                  <a:cubicBezTo>
                    <a:pt x="1084" y="128"/>
                    <a:pt x="1082" y="130"/>
                    <a:pt x="1079" y="131"/>
                  </a:cubicBezTo>
                  <a:cubicBezTo>
                    <a:pt x="1074" y="133"/>
                    <a:pt x="1075" y="138"/>
                    <a:pt x="1072" y="140"/>
                  </a:cubicBezTo>
                  <a:cubicBezTo>
                    <a:pt x="1070" y="141"/>
                    <a:pt x="1069" y="143"/>
                    <a:pt x="1068" y="145"/>
                  </a:cubicBezTo>
                  <a:cubicBezTo>
                    <a:pt x="1067" y="148"/>
                    <a:pt x="1068" y="152"/>
                    <a:pt x="1069" y="155"/>
                  </a:cubicBezTo>
                  <a:cubicBezTo>
                    <a:pt x="1069" y="157"/>
                    <a:pt x="1070" y="158"/>
                    <a:pt x="1072" y="160"/>
                  </a:cubicBezTo>
                  <a:cubicBezTo>
                    <a:pt x="1076" y="163"/>
                    <a:pt x="1080" y="166"/>
                    <a:pt x="1085" y="167"/>
                  </a:cubicBezTo>
                  <a:cubicBezTo>
                    <a:pt x="1090" y="169"/>
                    <a:pt x="1095" y="171"/>
                    <a:pt x="1099" y="175"/>
                  </a:cubicBezTo>
                  <a:cubicBezTo>
                    <a:pt x="1099" y="176"/>
                    <a:pt x="1100" y="177"/>
                    <a:pt x="1099" y="178"/>
                  </a:cubicBezTo>
                  <a:cubicBezTo>
                    <a:pt x="1099" y="179"/>
                    <a:pt x="1099" y="180"/>
                    <a:pt x="1098" y="180"/>
                  </a:cubicBezTo>
                  <a:cubicBezTo>
                    <a:pt x="1095" y="182"/>
                    <a:pt x="1095" y="180"/>
                    <a:pt x="1095" y="178"/>
                  </a:cubicBezTo>
                  <a:cubicBezTo>
                    <a:pt x="1094" y="177"/>
                    <a:pt x="1093" y="175"/>
                    <a:pt x="1091" y="176"/>
                  </a:cubicBezTo>
                  <a:cubicBezTo>
                    <a:pt x="1089" y="176"/>
                    <a:pt x="1086" y="176"/>
                    <a:pt x="1085" y="177"/>
                  </a:cubicBezTo>
                  <a:cubicBezTo>
                    <a:pt x="1080" y="181"/>
                    <a:pt x="1073" y="183"/>
                    <a:pt x="1067" y="186"/>
                  </a:cubicBezTo>
                  <a:cubicBezTo>
                    <a:pt x="1061" y="188"/>
                    <a:pt x="1055" y="190"/>
                    <a:pt x="1049" y="192"/>
                  </a:cubicBezTo>
                  <a:cubicBezTo>
                    <a:pt x="1047" y="193"/>
                    <a:pt x="1045" y="193"/>
                    <a:pt x="1043" y="194"/>
                  </a:cubicBezTo>
                  <a:cubicBezTo>
                    <a:pt x="1037" y="196"/>
                    <a:pt x="1035" y="201"/>
                    <a:pt x="1038" y="206"/>
                  </a:cubicBezTo>
                  <a:cubicBezTo>
                    <a:pt x="1039" y="209"/>
                    <a:pt x="1041" y="211"/>
                    <a:pt x="1043" y="213"/>
                  </a:cubicBezTo>
                  <a:cubicBezTo>
                    <a:pt x="1045" y="216"/>
                    <a:pt x="1047" y="219"/>
                    <a:pt x="1048" y="222"/>
                  </a:cubicBezTo>
                  <a:cubicBezTo>
                    <a:pt x="1048" y="224"/>
                    <a:pt x="1049" y="226"/>
                    <a:pt x="1050" y="228"/>
                  </a:cubicBezTo>
                  <a:cubicBezTo>
                    <a:pt x="1051" y="230"/>
                    <a:pt x="1053" y="231"/>
                    <a:pt x="1055" y="232"/>
                  </a:cubicBezTo>
                  <a:cubicBezTo>
                    <a:pt x="1059" y="234"/>
                    <a:pt x="1064" y="233"/>
                    <a:pt x="1068" y="234"/>
                  </a:cubicBezTo>
                  <a:cubicBezTo>
                    <a:pt x="1072" y="237"/>
                    <a:pt x="1075" y="240"/>
                    <a:pt x="1079" y="243"/>
                  </a:cubicBezTo>
                  <a:cubicBezTo>
                    <a:pt x="1079" y="244"/>
                    <a:pt x="1081" y="244"/>
                    <a:pt x="1082" y="244"/>
                  </a:cubicBezTo>
                  <a:cubicBezTo>
                    <a:pt x="1084" y="245"/>
                    <a:pt x="1087" y="246"/>
                    <a:pt x="1089" y="247"/>
                  </a:cubicBezTo>
                  <a:cubicBezTo>
                    <a:pt x="1091" y="248"/>
                    <a:pt x="1093" y="250"/>
                    <a:pt x="1093" y="252"/>
                  </a:cubicBezTo>
                  <a:cubicBezTo>
                    <a:pt x="1095" y="258"/>
                    <a:pt x="1097" y="265"/>
                    <a:pt x="1101" y="271"/>
                  </a:cubicBezTo>
                  <a:cubicBezTo>
                    <a:pt x="1102" y="272"/>
                    <a:pt x="1101" y="273"/>
                    <a:pt x="1099" y="274"/>
                  </a:cubicBezTo>
                  <a:cubicBezTo>
                    <a:pt x="1098" y="275"/>
                    <a:pt x="1096" y="276"/>
                    <a:pt x="1094" y="277"/>
                  </a:cubicBezTo>
                  <a:cubicBezTo>
                    <a:pt x="1094" y="278"/>
                    <a:pt x="1094" y="278"/>
                    <a:pt x="1094" y="278"/>
                  </a:cubicBezTo>
                  <a:cubicBezTo>
                    <a:pt x="1094" y="278"/>
                    <a:pt x="1094" y="279"/>
                    <a:pt x="1093" y="279"/>
                  </a:cubicBezTo>
                  <a:cubicBezTo>
                    <a:pt x="1093" y="279"/>
                    <a:pt x="1093" y="280"/>
                    <a:pt x="1093" y="280"/>
                  </a:cubicBezTo>
                  <a:cubicBezTo>
                    <a:pt x="1093" y="279"/>
                    <a:pt x="1094" y="278"/>
                    <a:pt x="1094" y="277"/>
                  </a:cubicBezTo>
                  <a:cubicBezTo>
                    <a:pt x="1094" y="277"/>
                    <a:pt x="1094" y="277"/>
                    <a:pt x="1094" y="277"/>
                  </a:cubicBezTo>
                  <a:cubicBezTo>
                    <a:pt x="1093" y="277"/>
                    <a:pt x="1093" y="276"/>
                    <a:pt x="1092" y="275"/>
                  </a:cubicBezTo>
                  <a:cubicBezTo>
                    <a:pt x="1088" y="270"/>
                    <a:pt x="1087" y="264"/>
                    <a:pt x="1090" y="258"/>
                  </a:cubicBezTo>
                  <a:cubicBezTo>
                    <a:pt x="1091" y="257"/>
                    <a:pt x="1091" y="256"/>
                    <a:pt x="1091" y="255"/>
                  </a:cubicBezTo>
                  <a:cubicBezTo>
                    <a:pt x="1091" y="252"/>
                    <a:pt x="1088" y="248"/>
                    <a:pt x="1085" y="249"/>
                  </a:cubicBezTo>
                  <a:cubicBezTo>
                    <a:pt x="1082" y="249"/>
                    <a:pt x="1079" y="249"/>
                    <a:pt x="1077" y="250"/>
                  </a:cubicBezTo>
                  <a:cubicBezTo>
                    <a:pt x="1071" y="251"/>
                    <a:pt x="1067" y="250"/>
                    <a:pt x="1063" y="247"/>
                  </a:cubicBezTo>
                  <a:cubicBezTo>
                    <a:pt x="1060" y="245"/>
                    <a:pt x="1058" y="243"/>
                    <a:pt x="1055" y="241"/>
                  </a:cubicBezTo>
                  <a:cubicBezTo>
                    <a:pt x="1050" y="239"/>
                    <a:pt x="1045" y="237"/>
                    <a:pt x="1040" y="235"/>
                  </a:cubicBezTo>
                  <a:cubicBezTo>
                    <a:pt x="1034" y="234"/>
                    <a:pt x="1029" y="232"/>
                    <a:pt x="1024" y="231"/>
                  </a:cubicBezTo>
                  <a:cubicBezTo>
                    <a:pt x="1023" y="231"/>
                    <a:pt x="1021" y="231"/>
                    <a:pt x="1019" y="232"/>
                  </a:cubicBezTo>
                  <a:cubicBezTo>
                    <a:pt x="1017" y="234"/>
                    <a:pt x="1015" y="237"/>
                    <a:pt x="1015" y="240"/>
                  </a:cubicBezTo>
                  <a:cubicBezTo>
                    <a:pt x="1015" y="241"/>
                    <a:pt x="1016" y="243"/>
                    <a:pt x="1017" y="243"/>
                  </a:cubicBezTo>
                  <a:cubicBezTo>
                    <a:pt x="1018" y="244"/>
                    <a:pt x="1020" y="244"/>
                    <a:pt x="1022" y="244"/>
                  </a:cubicBezTo>
                  <a:cubicBezTo>
                    <a:pt x="1022" y="244"/>
                    <a:pt x="1021" y="244"/>
                    <a:pt x="1021" y="244"/>
                  </a:cubicBezTo>
                  <a:cubicBezTo>
                    <a:pt x="1022" y="243"/>
                    <a:pt x="1022" y="243"/>
                    <a:pt x="1022" y="243"/>
                  </a:cubicBezTo>
                  <a:cubicBezTo>
                    <a:pt x="1022" y="244"/>
                    <a:pt x="1022" y="244"/>
                    <a:pt x="1022" y="244"/>
                  </a:cubicBezTo>
                  <a:cubicBezTo>
                    <a:pt x="1023" y="245"/>
                    <a:pt x="1024" y="246"/>
                    <a:pt x="1025" y="247"/>
                  </a:cubicBezTo>
                  <a:cubicBezTo>
                    <a:pt x="1026" y="247"/>
                    <a:pt x="1028" y="247"/>
                    <a:pt x="1030" y="248"/>
                  </a:cubicBezTo>
                  <a:cubicBezTo>
                    <a:pt x="1032" y="249"/>
                    <a:pt x="1032" y="251"/>
                    <a:pt x="1031" y="253"/>
                  </a:cubicBezTo>
                  <a:cubicBezTo>
                    <a:pt x="1030" y="255"/>
                    <a:pt x="1029" y="256"/>
                    <a:pt x="1027" y="255"/>
                  </a:cubicBezTo>
                  <a:cubicBezTo>
                    <a:pt x="1025" y="255"/>
                    <a:pt x="1023" y="254"/>
                    <a:pt x="1021" y="253"/>
                  </a:cubicBezTo>
                  <a:cubicBezTo>
                    <a:pt x="1020" y="252"/>
                    <a:pt x="1018" y="251"/>
                    <a:pt x="1017" y="251"/>
                  </a:cubicBezTo>
                  <a:cubicBezTo>
                    <a:pt x="1014" y="251"/>
                    <a:pt x="1012" y="252"/>
                    <a:pt x="1011" y="253"/>
                  </a:cubicBezTo>
                  <a:cubicBezTo>
                    <a:pt x="1010" y="255"/>
                    <a:pt x="1010" y="257"/>
                    <a:pt x="1010" y="258"/>
                  </a:cubicBezTo>
                  <a:cubicBezTo>
                    <a:pt x="1013" y="264"/>
                    <a:pt x="1017" y="268"/>
                    <a:pt x="1024" y="270"/>
                  </a:cubicBezTo>
                  <a:cubicBezTo>
                    <a:pt x="1028" y="271"/>
                    <a:pt x="1031" y="272"/>
                    <a:pt x="1035" y="272"/>
                  </a:cubicBezTo>
                  <a:cubicBezTo>
                    <a:pt x="1037" y="272"/>
                    <a:pt x="1038" y="273"/>
                    <a:pt x="1040" y="274"/>
                  </a:cubicBezTo>
                  <a:cubicBezTo>
                    <a:pt x="1040" y="274"/>
                    <a:pt x="1041" y="274"/>
                    <a:pt x="1041" y="275"/>
                  </a:cubicBezTo>
                  <a:cubicBezTo>
                    <a:pt x="1041" y="276"/>
                    <a:pt x="1041" y="277"/>
                    <a:pt x="1039" y="276"/>
                  </a:cubicBezTo>
                  <a:cubicBezTo>
                    <a:pt x="1037" y="275"/>
                    <a:pt x="1034" y="274"/>
                    <a:pt x="1031" y="275"/>
                  </a:cubicBezTo>
                  <a:cubicBezTo>
                    <a:pt x="1027" y="275"/>
                    <a:pt x="1022" y="275"/>
                    <a:pt x="1017" y="274"/>
                  </a:cubicBezTo>
                  <a:cubicBezTo>
                    <a:pt x="1014" y="274"/>
                    <a:pt x="1011" y="273"/>
                    <a:pt x="1010" y="271"/>
                  </a:cubicBezTo>
                  <a:cubicBezTo>
                    <a:pt x="1009" y="270"/>
                    <a:pt x="1009" y="269"/>
                    <a:pt x="1009" y="268"/>
                  </a:cubicBezTo>
                  <a:cubicBezTo>
                    <a:pt x="1005" y="262"/>
                    <a:pt x="1002" y="257"/>
                    <a:pt x="1001" y="251"/>
                  </a:cubicBezTo>
                  <a:cubicBezTo>
                    <a:pt x="1001" y="245"/>
                    <a:pt x="998" y="240"/>
                    <a:pt x="995" y="236"/>
                  </a:cubicBezTo>
                  <a:cubicBezTo>
                    <a:pt x="994" y="235"/>
                    <a:pt x="993" y="234"/>
                    <a:pt x="991" y="233"/>
                  </a:cubicBezTo>
                  <a:cubicBezTo>
                    <a:pt x="991" y="233"/>
                    <a:pt x="990" y="233"/>
                    <a:pt x="990" y="233"/>
                  </a:cubicBezTo>
                  <a:cubicBezTo>
                    <a:pt x="990" y="234"/>
                    <a:pt x="989" y="234"/>
                    <a:pt x="989" y="234"/>
                  </a:cubicBezTo>
                  <a:cubicBezTo>
                    <a:pt x="990" y="238"/>
                    <a:pt x="992" y="242"/>
                    <a:pt x="993" y="246"/>
                  </a:cubicBezTo>
                  <a:cubicBezTo>
                    <a:pt x="994" y="249"/>
                    <a:pt x="994" y="253"/>
                    <a:pt x="992" y="255"/>
                  </a:cubicBezTo>
                  <a:cubicBezTo>
                    <a:pt x="991" y="256"/>
                    <a:pt x="991" y="257"/>
                    <a:pt x="990" y="258"/>
                  </a:cubicBezTo>
                  <a:cubicBezTo>
                    <a:pt x="987" y="261"/>
                    <a:pt x="986" y="264"/>
                    <a:pt x="987" y="268"/>
                  </a:cubicBezTo>
                  <a:cubicBezTo>
                    <a:pt x="988" y="271"/>
                    <a:pt x="986" y="276"/>
                    <a:pt x="988" y="279"/>
                  </a:cubicBezTo>
                  <a:cubicBezTo>
                    <a:pt x="991" y="282"/>
                    <a:pt x="994" y="284"/>
                    <a:pt x="997" y="286"/>
                  </a:cubicBezTo>
                  <a:cubicBezTo>
                    <a:pt x="999" y="288"/>
                    <a:pt x="1001" y="290"/>
                    <a:pt x="1003" y="292"/>
                  </a:cubicBezTo>
                  <a:cubicBezTo>
                    <a:pt x="1006" y="294"/>
                    <a:pt x="1008" y="297"/>
                    <a:pt x="1008" y="301"/>
                  </a:cubicBezTo>
                  <a:cubicBezTo>
                    <a:pt x="1008" y="305"/>
                    <a:pt x="1008" y="309"/>
                    <a:pt x="1008" y="314"/>
                  </a:cubicBezTo>
                  <a:cubicBezTo>
                    <a:pt x="1010" y="322"/>
                    <a:pt x="1015" y="328"/>
                    <a:pt x="1018" y="335"/>
                  </a:cubicBezTo>
                  <a:cubicBezTo>
                    <a:pt x="1019" y="337"/>
                    <a:pt x="1021" y="338"/>
                    <a:pt x="1024" y="337"/>
                  </a:cubicBezTo>
                  <a:cubicBezTo>
                    <a:pt x="1028" y="337"/>
                    <a:pt x="1032" y="336"/>
                    <a:pt x="1035" y="333"/>
                  </a:cubicBezTo>
                  <a:cubicBezTo>
                    <a:pt x="1039" y="329"/>
                    <a:pt x="1043" y="330"/>
                    <a:pt x="1047" y="332"/>
                  </a:cubicBezTo>
                  <a:cubicBezTo>
                    <a:pt x="1048" y="332"/>
                    <a:pt x="1048" y="333"/>
                    <a:pt x="1048" y="333"/>
                  </a:cubicBezTo>
                  <a:cubicBezTo>
                    <a:pt x="1048" y="333"/>
                    <a:pt x="1048" y="334"/>
                    <a:pt x="1047" y="334"/>
                  </a:cubicBezTo>
                  <a:cubicBezTo>
                    <a:pt x="1043" y="337"/>
                    <a:pt x="1038" y="340"/>
                    <a:pt x="1034" y="344"/>
                  </a:cubicBezTo>
                  <a:cubicBezTo>
                    <a:pt x="1030" y="347"/>
                    <a:pt x="1030" y="353"/>
                    <a:pt x="1033" y="356"/>
                  </a:cubicBezTo>
                  <a:cubicBezTo>
                    <a:pt x="1035" y="358"/>
                    <a:pt x="1037" y="360"/>
                    <a:pt x="1038" y="362"/>
                  </a:cubicBezTo>
                  <a:cubicBezTo>
                    <a:pt x="1041" y="365"/>
                    <a:pt x="1042" y="369"/>
                    <a:pt x="1040" y="373"/>
                  </a:cubicBezTo>
                  <a:cubicBezTo>
                    <a:pt x="1038" y="377"/>
                    <a:pt x="1037" y="382"/>
                    <a:pt x="1037" y="388"/>
                  </a:cubicBezTo>
                  <a:cubicBezTo>
                    <a:pt x="1038" y="390"/>
                    <a:pt x="1037" y="393"/>
                    <a:pt x="1035" y="395"/>
                  </a:cubicBezTo>
                  <a:cubicBezTo>
                    <a:pt x="1032" y="400"/>
                    <a:pt x="1028" y="404"/>
                    <a:pt x="1027" y="410"/>
                  </a:cubicBezTo>
                  <a:cubicBezTo>
                    <a:pt x="1027" y="411"/>
                    <a:pt x="1025" y="412"/>
                    <a:pt x="1024" y="412"/>
                  </a:cubicBezTo>
                  <a:cubicBezTo>
                    <a:pt x="1018" y="411"/>
                    <a:pt x="1011" y="410"/>
                    <a:pt x="1005" y="409"/>
                  </a:cubicBezTo>
                  <a:cubicBezTo>
                    <a:pt x="1004" y="409"/>
                    <a:pt x="1002" y="409"/>
                    <a:pt x="1002" y="408"/>
                  </a:cubicBezTo>
                  <a:cubicBezTo>
                    <a:pt x="1002" y="407"/>
                    <a:pt x="1002" y="405"/>
                    <a:pt x="1002" y="404"/>
                  </a:cubicBezTo>
                  <a:cubicBezTo>
                    <a:pt x="1002" y="404"/>
                    <a:pt x="1002" y="404"/>
                    <a:pt x="1002" y="404"/>
                  </a:cubicBezTo>
                  <a:cubicBezTo>
                    <a:pt x="1000" y="404"/>
                    <a:pt x="1000" y="403"/>
                    <a:pt x="1001" y="403"/>
                  </a:cubicBezTo>
                  <a:cubicBezTo>
                    <a:pt x="1001" y="403"/>
                    <a:pt x="1002" y="403"/>
                    <a:pt x="1002" y="404"/>
                  </a:cubicBezTo>
                  <a:cubicBezTo>
                    <a:pt x="1002" y="404"/>
                    <a:pt x="1002" y="404"/>
                    <a:pt x="1002" y="404"/>
                  </a:cubicBezTo>
                  <a:cubicBezTo>
                    <a:pt x="1003" y="404"/>
                    <a:pt x="1005" y="405"/>
                    <a:pt x="1006" y="406"/>
                  </a:cubicBezTo>
                  <a:cubicBezTo>
                    <a:pt x="1012" y="408"/>
                    <a:pt x="1016" y="406"/>
                    <a:pt x="1018" y="401"/>
                  </a:cubicBezTo>
                  <a:cubicBezTo>
                    <a:pt x="1022" y="392"/>
                    <a:pt x="1024" y="382"/>
                    <a:pt x="1026" y="372"/>
                  </a:cubicBezTo>
                  <a:cubicBezTo>
                    <a:pt x="1026" y="371"/>
                    <a:pt x="1026" y="369"/>
                    <a:pt x="1025" y="368"/>
                  </a:cubicBezTo>
                  <a:cubicBezTo>
                    <a:pt x="1023" y="364"/>
                    <a:pt x="1022" y="360"/>
                    <a:pt x="1023" y="356"/>
                  </a:cubicBezTo>
                  <a:cubicBezTo>
                    <a:pt x="1023" y="353"/>
                    <a:pt x="1022" y="351"/>
                    <a:pt x="1019" y="349"/>
                  </a:cubicBezTo>
                  <a:cubicBezTo>
                    <a:pt x="1017" y="348"/>
                    <a:pt x="1015" y="346"/>
                    <a:pt x="1012" y="345"/>
                  </a:cubicBezTo>
                  <a:cubicBezTo>
                    <a:pt x="1009" y="343"/>
                    <a:pt x="1007" y="340"/>
                    <a:pt x="1006" y="336"/>
                  </a:cubicBezTo>
                  <a:cubicBezTo>
                    <a:pt x="1001" y="324"/>
                    <a:pt x="997" y="312"/>
                    <a:pt x="993" y="301"/>
                  </a:cubicBezTo>
                  <a:cubicBezTo>
                    <a:pt x="991" y="293"/>
                    <a:pt x="987" y="287"/>
                    <a:pt x="980" y="283"/>
                  </a:cubicBezTo>
                  <a:cubicBezTo>
                    <a:pt x="977" y="281"/>
                    <a:pt x="975" y="278"/>
                    <a:pt x="975" y="274"/>
                  </a:cubicBezTo>
                  <a:cubicBezTo>
                    <a:pt x="975" y="263"/>
                    <a:pt x="973" y="253"/>
                    <a:pt x="971" y="243"/>
                  </a:cubicBezTo>
                  <a:cubicBezTo>
                    <a:pt x="970" y="241"/>
                    <a:pt x="969" y="239"/>
                    <a:pt x="967" y="238"/>
                  </a:cubicBezTo>
                  <a:cubicBezTo>
                    <a:pt x="958" y="235"/>
                    <a:pt x="950" y="233"/>
                    <a:pt x="941" y="236"/>
                  </a:cubicBezTo>
                  <a:cubicBezTo>
                    <a:pt x="939" y="237"/>
                    <a:pt x="936" y="236"/>
                    <a:pt x="934" y="236"/>
                  </a:cubicBezTo>
                  <a:cubicBezTo>
                    <a:pt x="933" y="236"/>
                    <a:pt x="931" y="238"/>
                    <a:pt x="931" y="239"/>
                  </a:cubicBezTo>
                  <a:cubicBezTo>
                    <a:pt x="931" y="242"/>
                    <a:pt x="931" y="244"/>
                    <a:pt x="931" y="247"/>
                  </a:cubicBezTo>
                  <a:cubicBezTo>
                    <a:pt x="931" y="255"/>
                    <a:pt x="932" y="264"/>
                    <a:pt x="932" y="272"/>
                  </a:cubicBezTo>
                  <a:cubicBezTo>
                    <a:pt x="932" y="276"/>
                    <a:pt x="931" y="280"/>
                    <a:pt x="928" y="284"/>
                  </a:cubicBezTo>
                  <a:cubicBezTo>
                    <a:pt x="925" y="287"/>
                    <a:pt x="924" y="292"/>
                    <a:pt x="924" y="297"/>
                  </a:cubicBezTo>
                  <a:cubicBezTo>
                    <a:pt x="924" y="300"/>
                    <a:pt x="924" y="303"/>
                    <a:pt x="928" y="305"/>
                  </a:cubicBezTo>
                  <a:cubicBezTo>
                    <a:pt x="931" y="307"/>
                    <a:pt x="933" y="309"/>
                    <a:pt x="934" y="312"/>
                  </a:cubicBezTo>
                  <a:cubicBezTo>
                    <a:pt x="935" y="316"/>
                    <a:pt x="938" y="321"/>
                    <a:pt x="936" y="326"/>
                  </a:cubicBezTo>
                  <a:cubicBezTo>
                    <a:pt x="935" y="326"/>
                    <a:pt x="935" y="328"/>
                    <a:pt x="936" y="329"/>
                  </a:cubicBezTo>
                  <a:cubicBezTo>
                    <a:pt x="938" y="333"/>
                    <a:pt x="940" y="337"/>
                    <a:pt x="943" y="341"/>
                  </a:cubicBezTo>
                  <a:cubicBezTo>
                    <a:pt x="943" y="341"/>
                    <a:pt x="945" y="341"/>
                    <a:pt x="946" y="340"/>
                  </a:cubicBezTo>
                  <a:cubicBezTo>
                    <a:pt x="949" y="339"/>
                    <a:pt x="951" y="338"/>
                    <a:pt x="953" y="341"/>
                  </a:cubicBezTo>
                  <a:cubicBezTo>
                    <a:pt x="958" y="346"/>
                    <a:pt x="962" y="350"/>
                    <a:pt x="969" y="352"/>
                  </a:cubicBezTo>
                  <a:cubicBezTo>
                    <a:pt x="969" y="352"/>
                    <a:pt x="970" y="354"/>
                    <a:pt x="970" y="355"/>
                  </a:cubicBezTo>
                  <a:cubicBezTo>
                    <a:pt x="970" y="357"/>
                    <a:pt x="970" y="360"/>
                    <a:pt x="970" y="363"/>
                  </a:cubicBezTo>
                  <a:cubicBezTo>
                    <a:pt x="970" y="364"/>
                    <a:pt x="968" y="365"/>
                    <a:pt x="966" y="364"/>
                  </a:cubicBezTo>
                  <a:cubicBezTo>
                    <a:pt x="963" y="362"/>
                    <a:pt x="960" y="360"/>
                    <a:pt x="957" y="358"/>
                  </a:cubicBezTo>
                  <a:cubicBezTo>
                    <a:pt x="954" y="357"/>
                    <a:pt x="952" y="355"/>
                    <a:pt x="950" y="354"/>
                  </a:cubicBezTo>
                  <a:cubicBezTo>
                    <a:pt x="946" y="352"/>
                    <a:pt x="941" y="351"/>
                    <a:pt x="937" y="350"/>
                  </a:cubicBezTo>
                  <a:cubicBezTo>
                    <a:pt x="934" y="348"/>
                    <a:pt x="930" y="347"/>
                    <a:pt x="927" y="345"/>
                  </a:cubicBezTo>
                  <a:cubicBezTo>
                    <a:pt x="922" y="346"/>
                    <a:pt x="919" y="341"/>
                    <a:pt x="915" y="340"/>
                  </a:cubicBezTo>
                  <a:cubicBezTo>
                    <a:pt x="907" y="337"/>
                    <a:pt x="900" y="335"/>
                    <a:pt x="891" y="336"/>
                  </a:cubicBezTo>
                  <a:cubicBezTo>
                    <a:pt x="890" y="336"/>
                    <a:pt x="889" y="336"/>
                    <a:pt x="888" y="336"/>
                  </a:cubicBezTo>
                  <a:cubicBezTo>
                    <a:pt x="878" y="336"/>
                    <a:pt x="869" y="335"/>
                    <a:pt x="862" y="329"/>
                  </a:cubicBezTo>
                  <a:cubicBezTo>
                    <a:pt x="858" y="326"/>
                    <a:pt x="854" y="324"/>
                    <a:pt x="850" y="321"/>
                  </a:cubicBezTo>
                  <a:cubicBezTo>
                    <a:pt x="849" y="320"/>
                    <a:pt x="846" y="321"/>
                    <a:pt x="845" y="323"/>
                  </a:cubicBezTo>
                  <a:cubicBezTo>
                    <a:pt x="845" y="323"/>
                    <a:pt x="845" y="323"/>
                    <a:pt x="845" y="324"/>
                  </a:cubicBezTo>
                  <a:cubicBezTo>
                    <a:pt x="843" y="328"/>
                    <a:pt x="844" y="332"/>
                    <a:pt x="848" y="335"/>
                  </a:cubicBezTo>
                  <a:cubicBezTo>
                    <a:pt x="853" y="338"/>
                    <a:pt x="859" y="338"/>
                    <a:pt x="862" y="343"/>
                  </a:cubicBezTo>
                  <a:cubicBezTo>
                    <a:pt x="863" y="344"/>
                    <a:pt x="864" y="344"/>
                    <a:pt x="865" y="344"/>
                  </a:cubicBezTo>
                  <a:cubicBezTo>
                    <a:pt x="868" y="344"/>
                    <a:pt x="869" y="346"/>
                    <a:pt x="871" y="347"/>
                  </a:cubicBezTo>
                  <a:cubicBezTo>
                    <a:pt x="874" y="351"/>
                    <a:pt x="877" y="355"/>
                    <a:pt x="880" y="358"/>
                  </a:cubicBezTo>
                  <a:cubicBezTo>
                    <a:pt x="881" y="360"/>
                    <a:pt x="881" y="363"/>
                    <a:pt x="879" y="364"/>
                  </a:cubicBezTo>
                  <a:cubicBezTo>
                    <a:pt x="876" y="367"/>
                    <a:pt x="872" y="369"/>
                    <a:pt x="871" y="373"/>
                  </a:cubicBezTo>
                  <a:cubicBezTo>
                    <a:pt x="871" y="373"/>
                    <a:pt x="870" y="374"/>
                    <a:pt x="870" y="374"/>
                  </a:cubicBezTo>
                  <a:cubicBezTo>
                    <a:pt x="869" y="373"/>
                    <a:pt x="868" y="373"/>
                    <a:pt x="867" y="372"/>
                  </a:cubicBezTo>
                  <a:cubicBezTo>
                    <a:pt x="867" y="370"/>
                    <a:pt x="867" y="368"/>
                    <a:pt x="866" y="366"/>
                  </a:cubicBezTo>
                  <a:cubicBezTo>
                    <a:pt x="865" y="363"/>
                    <a:pt x="861" y="362"/>
                    <a:pt x="859" y="363"/>
                  </a:cubicBezTo>
                  <a:cubicBezTo>
                    <a:pt x="855" y="365"/>
                    <a:pt x="852" y="367"/>
                    <a:pt x="847" y="367"/>
                  </a:cubicBezTo>
                  <a:cubicBezTo>
                    <a:pt x="846" y="367"/>
                    <a:pt x="846" y="367"/>
                    <a:pt x="846" y="368"/>
                  </a:cubicBezTo>
                  <a:cubicBezTo>
                    <a:pt x="844" y="372"/>
                    <a:pt x="840" y="373"/>
                    <a:pt x="836" y="372"/>
                  </a:cubicBezTo>
                  <a:cubicBezTo>
                    <a:pt x="832" y="372"/>
                    <a:pt x="828" y="373"/>
                    <a:pt x="826" y="376"/>
                  </a:cubicBezTo>
                  <a:cubicBezTo>
                    <a:pt x="823" y="380"/>
                    <a:pt x="818" y="380"/>
                    <a:pt x="815" y="383"/>
                  </a:cubicBezTo>
                  <a:cubicBezTo>
                    <a:pt x="814" y="383"/>
                    <a:pt x="812" y="383"/>
                    <a:pt x="810" y="383"/>
                  </a:cubicBezTo>
                  <a:cubicBezTo>
                    <a:pt x="810" y="382"/>
                    <a:pt x="810" y="381"/>
                    <a:pt x="810" y="380"/>
                  </a:cubicBezTo>
                  <a:cubicBezTo>
                    <a:pt x="811" y="376"/>
                    <a:pt x="809" y="372"/>
                    <a:pt x="806" y="369"/>
                  </a:cubicBezTo>
                  <a:cubicBezTo>
                    <a:pt x="803" y="369"/>
                    <a:pt x="800" y="370"/>
                    <a:pt x="799" y="373"/>
                  </a:cubicBezTo>
                  <a:cubicBezTo>
                    <a:pt x="798" y="374"/>
                    <a:pt x="797" y="375"/>
                    <a:pt x="797" y="375"/>
                  </a:cubicBezTo>
                  <a:cubicBezTo>
                    <a:pt x="793" y="375"/>
                    <a:pt x="792" y="378"/>
                    <a:pt x="790" y="379"/>
                  </a:cubicBezTo>
                  <a:cubicBezTo>
                    <a:pt x="788" y="380"/>
                    <a:pt x="785" y="381"/>
                    <a:pt x="782" y="382"/>
                  </a:cubicBezTo>
                  <a:cubicBezTo>
                    <a:pt x="778" y="382"/>
                    <a:pt x="775" y="385"/>
                    <a:pt x="773" y="388"/>
                  </a:cubicBezTo>
                  <a:cubicBezTo>
                    <a:pt x="767" y="394"/>
                    <a:pt x="761" y="401"/>
                    <a:pt x="753" y="406"/>
                  </a:cubicBezTo>
                  <a:cubicBezTo>
                    <a:pt x="751" y="407"/>
                    <a:pt x="750" y="409"/>
                    <a:pt x="749" y="411"/>
                  </a:cubicBezTo>
                  <a:cubicBezTo>
                    <a:pt x="749" y="413"/>
                    <a:pt x="749" y="416"/>
                    <a:pt x="748" y="419"/>
                  </a:cubicBezTo>
                  <a:cubicBezTo>
                    <a:pt x="748" y="419"/>
                    <a:pt x="747" y="420"/>
                    <a:pt x="746" y="421"/>
                  </a:cubicBezTo>
                  <a:cubicBezTo>
                    <a:pt x="742" y="425"/>
                    <a:pt x="733" y="426"/>
                    <a:pt x="730" y="422"/>
                  </a:cubicBezTo>
                  <a:cubicBezTo>
                    <a:pt x="728" y="420"/>
                    <a:pt x="725" y="418"/>
                    <a:pt x="723" y="415"/>
                  </a:cubicBezTo>
                  <a:cubicBezTo>
                    <a:pt x="721" y="413"/>
                    <a:pt x="721" y="410"/>
                    <a:pt x="723" y="409"/>
                  </a:cubicBezTo>
                  <a:cubicBezTo>
                    <a:pt x="726" y="407"/>
                    <a:pt x="729" y="405"/>
                    <a:pt x="731" y="403"/>
                  </a:cubicBezTo>
                  <a:cubicBezTo>
                    <a:pt x="733" y="402"/>
                    <a:pt x="733" y="399"/>
                    <a:pt x="732" y="398"/>
                  </a:cubicBezTo>
                  <a:cubicBezTo>
                    <a:pt x="730" y="395"/>
                    <a:pt x="727" y="393"/>
                    <a:pt x="725" y="391"/>
                  </a:cubicBezTo>
                  <a:cubicBezTo>
                    <a:pt x="722" y="386"/>
                    <a:pt x="717" y="384"/>
                    <a:pt x="711" y="385"/>
                  </a:cubicBezTo>
                  <a:cubicBezTo>
                    <a:pt x="707" y="386"/>
                    <a:pt x="702" y="386"/>
                    <a:pt x="698" y="385"/>
                  </a:cubicBezTo>
                  <a:cubicBezTo>
                    <a:pt x="698" y="385"/>
                    <a:pt x="697" y="385"/>
                    <a:pt x="697" y="386"/>
                  </a:cubicBezTo>
                  <a:cubicBezTo>
                    <a:pt x="696" y="386"/>
                    <a:pt x="696" y="388"/>
                    <a:pt x="697" y="388"/>
                  </a:cubicBezTo>
                  <a:cubicBezTo>
                    <a:pt x="705" y="394"/>
                    <a:pt x="707" y="402"/>
                    <a:pt x="706" y="410"/>
                  </a:cubicBezTo>
                  <a:cubicBezTo>
                    <a:pt x="706" y="413"/>
                    <a:pt x="705" y="415"/>
                    <a:pt x="705" y="417"/>
                  </a:cubicBezTo>
                  <a:cubicBezTo>
                    <a:pt x="705" y="419"/>
                    <a:pt x="706" y="421"/>
                    <a:pt x="708" y="422"/>
                  </a:cubicBezTo>
                  <a:cubicBezTo>
                    <a:pt x="712" y="424"/>
                    <a:pt x="714" y="427"/>
                    <a:pt x="714" y="431"/>
                  </a:cubicBezTo>
                  <a:cubicBezTo>
                    <a:pt x="714" y="433"/>
                    <a:pt x="714" y="435"/>
                    <a:pt x="713" y="437"/>
                  </a:cubicBezTo>
                  <a:cubicBezTo>
                    <a:pt x="713" y="439"/>
                    <a:pt x="711" y="441"/>
                    <a:pt x="709" y="441"/>
                  </a:cubicBezTo>
                  <a:cubicBezTo>
                    <a:pt x="705" y="440"/>
                    <a:pt x="702" y="439"/>
                    <a:pt x="699" y="439"/>
                  </a:cubicBezTo>
                  <a:cubicBezTo>
                    <a:pt x="694" y="438"/>
                    <a:pt x="690" y="438"/>
                    <a:pt x="687" y="442"/>
                  </a:cubicBezTo>
                  <a:cubicBezTo>
                    <a:pt x="686" y="444"/>
                    <a:pt x="684" y="446"/>
                    <a:pt x="682" y="448"/>
                  </a:cubicBezTo>
                  <a:cubicBezTo>
                    <a:pt x="678" y="450"/>
                    <a:pt x="676" y="453"/>
                    <a:pt x="674" y="456"/>
                  </a:cubicBezTo>
                  <a:cubicBezTo>
                    <a:pt x="669" y="462"/>
                    <a:pt x="666" y="465"/>
                    <a:pt x="675" y="473"/>
                  </a:cubicBezTo>
                  <a:cubicBezTo>
                    <a:pt x="675" y="474"/>
                    <a:pt x="676" y="475"/>
                    <a:pt x="676" y="476"/>
                  </a:cubicBezTo>
                  <a:cubicBezTo>
                    <a:pt x="677" y="478"/>
                    <a:pt x="676" y="480"/>
                    <a:pt x="675" y="482"/>
                  </a:cubicBezTo>
                  <a:cubicBezTo>
                    <a:pt x="674" y="483"/>
                    <a:pt x="671" y="485"/>
                    <a:pt x="670" y="484"/>
                  </a:cubicBezTo>
                  <a:cubicBezTo>
                    <a:pt x="662" y="480"/>
                    <a:pt x="653" y="478"/>
                    <a:pt x="646" y="473"/>
                  </a:cubicBezTo>
                  <a:cubicBezTo>
                    <a:pt x="645" y="472"/>
                    <a:pt x="643" y="472"/>
                    <a:pt x="641" y="471"/>
                  </a:cubicBezTo>
                  <a:cubicBezTo>
                    <a:pt x="640" y="471"/>
                    <a:pt x="638" y="472"/>
                    <a:pt x="637" y="473"/>
                  </a:cubicBezTo>
                  <a:cubicBezTo>
                    <a:pt x="636" y="475"/>
                    <a:pt x="636" y="477"/>
                    <a:pt x="635" y="479"/>
                  </a:cubicBezTo>
                  <a:cubicBezTo>
                    <a:pt x="634" y="481"/>
                    <a:pt x="635" y="483"/>
                    <a:pt x="636" y="485"/>
                  </a:cubicBezTo>
                  <a:cubicBezTo>
                    <a:pt x="639" y="489"/>
                    <a:pt x="643" y="492"/>
                    <a:pt x="648" y="492"/>
                  </a:cubicBezTo>
                  <a:cubicBezTo>
                    <a:pt x="649" y="492"/>
                    <a:pt x="650" y="492"/>
                    <a:pt x="651" y="493"/>
                  </a:cubicBezTo>
                  <a:cubicBezTo>
                    <a:pt x="653" y="494"/>
                    <a:pt x="654" y="495"/>
                    <a:pt x="653" y="497"/>
                  </a:cubicBezTo>
                  <a:cubicBezTo>
                    <a:pt x="653" y="499"/>
                    <a:pt x="650" y="502"/>
                    <a:pt x="648" y="501"/>
                  </a:cubicBezTo>
                  <a:cubicBezTo>
                    <a:pt x="643" y="501"/>
                    <a:pt x="637" y="500"/>
                    <a:pt x="633" y="495"/>
                  </a:cubicBezTo>
                  <a:cubicBezTo>
                    <a:pt x="631" y="493"/>
                    <a:pt x="628" y="492"/>
                    <a:pt x="625" y="491"/>
                  </a:cubicBezTo>
                  <a:cubicBezTo>
                    <a:pt x="622" y="491"/>
                    <a:pt x="621" y="489"/>
                    <a:pt x="620" y="487"/>
                  </a:cubicBezTo>
                  <a:cubicBezTo>
                    <a:pt x="619" y="483"/>
                    <a:pt x="618" y="478"/>
                    <a:pt x="615" y="474"/>
                  </a:cubicBezTo>
                  <a:cubicBezTo>
                    <a:pt x="613" y="472"/>
                    <a:pt x="613" y="469"/>
                    <a:pt x="613" y="465"/>
                  </a:cubicBezTo>
                  <a:cubicBezTo>
                    <a:pt x="614" y="457"/>
                    <a:pt x="612" y="454"/>
                    <a:pt x="604" y="451"/>
                  </a:cubicBezTo>
                  <a:cubicBezTo>
                    <a:pt x="601" y="449"/>
                    <a:pt x="598" y="448"/>
                    <a:pt x="596" y="446"/>
                  </a:cubicBezTo>
                  <a:cubicBezTo>
                    <a:pt x="594" y="443"/>
                    <a:pt x="590" y="442"/>
                    <a:pt x="588" y="438"/>
                  </a:cubicBezTo>
                  <a:cubicBezTo>
                    <a:pt x="588" y="438"/>
                    <a:pt x="588" y="438"/>
                    <a:pt x="588" y="438"/>
                  </a:cubicBezTo>
                  <a:cubicBezTo>
                    <a:pt x="588" y="438"/>
                    <a:pt x="588" y="438"/>
                    <a:pt x="588" y="438"/>
                  </a:cubicBezTo>
                  <a:cubicBezTo>
                    <a:pt x="587" y="437"/>
                    <a:pt x="586" y="437"/>
                    <a:pt x="585" y="436"/>
                  </a:cubicBezTo>
                  <a:cubicBezTo>
                    <a:pt x="585" y="436"/>
                    <a:pt x="585" y="435"/>
                    <a:pt x="585" y="435"/>
                  </a:cubicBezTo>
                  <a:cubicBezTo>
                    <a:pt x="584" y="435"/>
                    <a:pt x="584" y="435"/>
                    <a:pt x="584" y="435"/>
                  </a:cubicBezTo>
                  <a:cubicBezTo>
                    <a:pt x="585" y="435"/>
                    <a:pt x="585" y="435"/>
                    <a:pt x="585" y="435"/>
                  </a:cubicBezTo>
                  <a:cubicBezTo>
                    <a:pt x="585" y="435"/>
                    <a:pt x="585" y="435"/>
                    <a:pt x="585" y="436"/>
                  </a:cubicBezTo>
                  <a:cubicBezTo>
                    <a:pt x="586" y="436"/>
                    <a:pt x="587" y="437"/>
                    <a:pt x="588" y="438"/>
                  </a:cubicBezTo>
                  <a:cubicBezTo>
                    <a:pt x="588" y="438"/>
                    <a:pt x="588" y="438"/>
                    <a:pt x="588" y="438"/>
                  </a:cubicBezTo>
                  <a:cubicBezTo>
                    <a:pt x="588" y="438"/>
                    <a:pt x="588" y="438"/>
                    <a:pt x="588" y="438"/>
                  </a:cubicBezTo>
                  <a:cubicBezTo>
                    <a:pt x="593" y="438"/>
                    <a:pt x="598" y="440"/>
                    <a:pt x="602" y="442"/>
                  </a:cubicBezTo>
                  <a:cubicBezTo>
                    <a:pt x="614" y="446"/>
                    <a:pt x="626" y="449"/>
                    <a:pt x="638" y="451"/>
                  </a:cubicBezTo>
                  <a:cubicBezTo>
                    <a:pt x="648" y="453"/>
                    <a:pt x="657" y="451"/>
                    <a:pt x="666" y="448"/>
                  </a:cubicBezTo>
                  <a:cubicBezTo>
                    <a:pt x="667" y="447"/>
                    <a:pt x="669" y="446"/>
                    <a:pt x="670" y="445"/>
                  </a:cubicBezTo>
                  <a:cubicBezTo>
                    <a:pt x="675" y="440"/>
                    <a:pt x="679" y="434"/>
                    <a:pt x="680" y="426"/>
                  </a:cubicBezTo>
                  <a:cubicBezTo>
                    <a:pt x="680" y="424"/>
                    <a:pt x="680" y="422"/>
                    <a:pt x="679" y="420"/>
                  </a:cubicBezTo>
                  <a:cubicBezTo>
                    <a:pt x="676" y="416"/>
                    <a:pt x="673" y="410"/>
                    <a:pt x="667" y="408"/>
                  </a:cubicBezTo>
                  <a:cubicBezTo>
                    <a:pt x="665" y="407"/>
                    <a:pt x="663" y="404"/>
                    <a:pt x="661" y="403"/>
                  </a:cubicBezTo>
                  <a:cubicBezTo>
                    <a:pt x="658" y="400"/>
                    <a:pt x="656" y="399"/>
                    <a:pt x="652" y="399"/>
                  </a:cubicBezTo>
                  <a:cubicBezTo>
                    <a:pt x="647" y="398"/>
                    <a:pt x="642" y="396"/>
                    <a:pt x="638" y="392"/>
                  </a:cubicBezTo>
                  <a:cubicBezTo>
                    <a:pt x="633" y="389"/>
                    <a:pt x="629" y="386"/>
                    <a:pt x="624" y="383"/>
                  </a:cubicBezTo>
                  <a:cubicBezTo>
                    <a:pt x="610" y="376"/>
                    <a:pt x="607" y="375"/>
                    <a:pt x="591" y="375"/>
                  </a:cubicBezTo>
                  <a:cubicBezTo>
                    <a:pt x="589" y="375"/>
                    <a:pt x="587" y="376"/>
                    <a:pt x="585" y="376"/>
                  </a:cubicBezTo>
                  <a:cubicBezTo>
                    <a:pt x="582" y="376"/>
                    <a:pt x="579" y="375"/>
                    <a:pt x="577" y="375"/>
                  </a:cubicBezTo>
                  <a:cubicBezTo>
                    <a:pt x="574" y="374"/>
                    <a:pt x="575" y="373"/>
                    <a:pt x="576" y="371"/>
                  </a:cubicBezTo>
                  <a:cubicBezTo>
                    <a:pt x="576" y="370"/>
                    <a:pt x="576" y="368"/>
                    <a:pt x="575" y="367"/>
                  </a:cubicBezTo>
                  <a:cubicBezTo>
                    <a:pt x="573" y="366"/>
                    <a:pt x="571" y="365"/>
                    <a:pt x="569" y="364"/>
                  </a:cubicBezTo>
                  <a:cubicBezTo>
                    <a:pt x="567" y="363"/>
                    <a:pt x="565" y="363"/>
                    <a:pt x="563" y="365"/>
                  </a:cubicBezTo>
                  <a:cubicBezTo>
                    <a:pt x="561" y="367"/>
                    <a:pt x="558" y="369"/>
                    <a:pt x="554" y="367"/>
                  </a:cubicBezTo>
                  <a:cubicBezTo>
                    <a:pt x="551" y="366"/>
                    <a:pt x="548" y="366"/>
                    <a:pt x="545" y="367"/>
                  </a:cubicBezTo>
                  <a:cubicBezTo>
                    <a:pt x="543" y="367"/>
                    <a:pt x="541" y="366"/>
                    <a:pt x="540" y="365"/>
                  </a:cubicBezTo>
                  <a:cubicBezTo>
                    <a:pt x="539" y="365"/>
                    <a:pt x="539" y="364"/>
                    <a:pt x="539" y="363"/>
                  </a:cubicBezTo>
                  <a:cubicBezTo>
                    <a:pt x="539" y="362"/>
                    <a:pt x="539" y="361"/>
                    <a:pt x="541" y="361"/>
                  </a:cubicBezTo>
                  <a:cubicBezTo>
                    <a:pt x="544" y="361"/>
                    <a:pt x="546" y="360"/>
                    <a:pt x="548" y="358"/>
                  </a:cubicBezTo>
                  <a:cubicBezTo>
                    <a:pt x="551" y="357"/>
                    <a:pt x="553" y="355"/>
                    <a:pt x="555" y="353"/>
                  </a:cubicBezTo>
                  <a:cubicBezTo>
                    <a:pt x="556" y="353"/>
                    <a:pt x="555" y="350"/>
                    <a:pt x="554" y="350"/>
                  </a:cubicBezTo>
                  <a:cubicBezTo>
                    <a:pt x="547" y="345"/>
                    <a:pt x="539" y="343"/>
                    <a:pt x="531" y="341"/>
                  </a:cubicBezTo>
                  <a:cubicBezTo>
                    <a:pt x="530" y="341"/>
                    <a:pt x="528" y="342"/>
                    <a:pt x="527" y="343"/>
                  </a:cubicBezTo>
                  <a:cubicBezTo>
                    <a:pt x="526" y="343"/>
                    <a:pt x="525" y="344"/>
                    <a:pt x="525" y="345"/>
                  </a:cubicBezTo>
                  <a:cubicBezTo>
                    <a:pt x="524" y="346"/>
                    <a:pt x="523" y="347"/>
                    <a:pt x="523" y="346"/>
                  </a:cubicBezTo>
                  <a:cubicBezTo>
                    <a:pt x="522" y="346"/>
                    <a:pt x="522" y="345"/>
                    <a:pt x="522" y="345"/>
                  </a:cubicBezTo>
                  <a:cubicBezTo>
                    <a:pt x="522" y="343"/>
                    <a:pt x="522" y="342"/>
                    <a:pt x="522" y="340"/>
                  </a:cubicBezTo>
                  <a:cubicBezTo>
                    <a:pt x="522" y="337"/>
                    <a:pt x="520" y="335"/>
                    <a:pt x="518" y="334"/>
                  </a:cubicBezTo>
                  <a:cubicBezTo>
                    <a:pt x="515" y="334"/>
                    <a:pt x="513" y="335"/>
                    <a:pt x="512" y="336"/>
                  </a:cubicBezTo>
                  <a:cubicBezTo>
                    <a:pt x="510" y="337"/>
                    <a:pt x="509" y="339"/>
                    <a:pt x="508" y="341"/>
                  </a:cubicBezTo>
                  <a:cubicBezTo>
                    <a:pt x="508" y="343"/>
                    <a:pt x="508" y="344"/>
                    <a:pt x="507" y="346"/>
                  </a:cubicBezTo>
                  <a:cubicBezTo>
                    <a:pt x="507" y="346"/>
                    <a:pt x="505" y="347"/>
                    <a:pt x="504" y="347"/>
                  </a:cubicBezTo>
                  <a:cubicBezTo>
                    <a:pt x="504" y="347"/>
                    <a:pt x="503" y="347"/>
                    <a:pt x="503" y="346"/>
                  </a:cubicBezTo>
                  <a:cubicBezTo>
                    <a:pt x="503" y="343"/>
                    <a:pt x="502" y="341"/>
                    <a:pt x="498" y="341"/>
                  </a:cubicBezTo>
                  <a:cubicBezTo>
                    <a:pt x="496" y="341"/>
                    <a:pt x="496" y="339"/>
                    <a:pt x="496" y="338"/>
                  </a:cubicBezTo>
                  <a:cubicBezTo>
                    <a:pt x="495" y="334"/>
                    <a:pt x="491" y="334"/>
                    <a:pt x="490" y="336"/>
                  </a:cubicBezTo>
                  <a:cubicBezTo>
                    <a:pt x="487" y="340"/>
                    <a:pt x="481" y="340"/>
                    <a:pt x="479" y="344"/>
                  </a:cubicBezTo>
                  <a:cubicBezTo>
                    <a:pt x="474" y="345"/>
                    <a:pt x="471" y="348"/>
                    <a:pt x="467" y="349"/>
                  </a:cubicBezTo>
                  <a:cubicBezTo>
                    <a:pt x="467" y="350"/>
                    <a:pt x="466" y="350"/>
                    <a:pt x="466" y="350"/>
                  </a:cubicBezTo>
                  <a:cubicBezTo>
                    <a:pt x="466" y="350"/>
                    <a:pt x="466" y="350"/>
                    <a:pt x="466" y="350"/>
                  </a:cubicBezTo>
                  <a:cubicBezTo>
                    <a:pt x="465" y="351"/>
                    <a:pt x="465" y="351"/>
                    <a:pt x="465" y="351"/>
                  </a:cubicBezTo>
                  <a:cubicBezTo>
                    <a:pt x="466" y="350"/>
                    <a:pt x="466" y="350"/>
                    <a:pt x="466" y="350"/>
                  </a:cubicBezTo>
                  <a:cubicBezTo>
                    <a:pt x="466" y="350"/>
                    <a:pt x="466" y="350"/>
                    <a:pt x="466" y="350"/>
                  </a:cubicBezTo>
                  <a:cubicBezTo>
                    <a:pt x="466" y="349"/>
                    <a:pt x="466" y="348"/>
                    <a:pt x="466" y="347"/>
                  </a:cubicBezTo>
                  <a:cubicBezTo>
                    <a:pt x="465" y="347"/>
                    <a:pt x="465" y="347"/>
                    <a:pt x="464" y="347"/>
                  </a:cubicBezTo>
                  <a:cubicBezTo>
                    <a:pt x="457" y="347"/>
                    <a:pt x="456" y="348"/>
                    <a:pt x="458" y="354"/>
                  </a:cubicBezTo>
                  <a:cubicBezTo>
                    <a:pt x="458" y="354"/>
                    <a:pt x="458" y="355"/>
                    <a:pt x="459" y="356"/>
                  </a:cubicBezTo>
                  <a:cubicBezTo>
                    <a:pt x="459" y="356"/>
                    <a:pt x="459" y="356"/>
                    <a:pt x="459" y="356"/>
                  </a:cubicBezTo>
                  <a:cubicBezTo>
                    <a:pt x="460" y="357"/>
                    <a:pt x="460" y="357"/>
                    <a:pt x="460" y="357"/>
                  </a:cubicBezTo>
                  <a:cubicBezTo>
                    <a:pt x="459" y="357"/>
                    <a:pt x="459" y="357"/>
                    <a:pt x="459" y="357"/>
                  </a:cubicBezTo>
                  <a:cubicBezTo>
                    <a:pt x="459" y="356"/>
                    <a:pt x="459" y="356"/>
                    <a:pt x="459" y="356"/>
                  </a:cubicBezTo>
                  <a:cubicBezTo>
                    <a:pt x="452" y="356"/>
                    <a:pt x="446" y="359"/>
                    <a:pt x="441" y="362"/>
                  </a:cubicBezTo>
                  <a:cubicBezTo>
                    <a:pt x="440" y="362"/>
                    <a:pt x="440" y="364"/>
                    <a:pt x="440" y="364"/>
                  </a:cubicBezTo>
                  <a:cubicBezTo>
                    <a:pt x="440" y="366"/>
                    <a:pt x="442" y="368"/>
                    <a:pt x="441" y="369"/>
                  </a:cubicBezTo>
                  <a:cubicBezTo>
                    <a:pt x="441" y="371"/>
                    <a:pt x="438" y="370"/>
                    <a:pt x="437" y="370"/>
                  </a:cubicBezTo>
                  <a:cubicBezTo>
                    <a:pt x="434" y="371"/>
                    <a:pt x="432" y="372"/>
                    <a:pt x="429" y="372"/>
                  </a:cubicBezTo>
                  <a:cubicBezTo>
                    <a:pt x="430" y="372"/>
                    <a:pt x="430" y="372"/>
                    <a:pt x="430" y="372"/>
                  </a:cubicBezTo>
                  <a:cubicBezTo>
                    <a:pt x="429" y="372"/>
                    <a:pt x="429" y="372"/>
                    <a:pt x="429" y="372"/>
                  </a:cubicBezTo>
                  <a:cubicBezTo>
                    <a:pt x="429" y="372"/>
                    <a:pt x="429" y="372"/>
                    <a:pt x="429" y="372"/>
                  </a:cubicBezTo>
                  <a:cubicBezTo>
                    <a:pt x="429" y="372"/>
                    <a:pt x="428" y="372"/>
                    <a:pt x="428" y="372"/>
                  </a:cubicBezTo>
                  <a:cubicBezTo>
                    <a:pt x="428" y="372"/>
                    <a:pt x="429" y="372"/>
                    <a:pt x="429" y="372"/>
                  </a:cubicBezTo>
                  <a:cubicBezTo>
                    <a:pt x="429" y="371"/>
                    <a:pt x="430" y="369"/>
                    <a:pt x="429" y="368"/>
                  </a:cubicBezTo>
                  <a:cubicBezTo>
                    <a:pt x="429" y="366"/>
                    <a:pt x="427" y="365"/>
                    <a:pt x="426" y="365"/>
                  </a:cubicBezTo>
                  <a:cubicBezTo>
                    <a:pt x="425" y="365"/>
                    <a:pt x="424" y="366"/>
                    <a:pt x="424" y="367"/>
                  </a:cubicBezTo>
                  <a:cubicBezTo>
                    <a:pt x="424" y="369"/>
                    <a:pt x="425" y="370"/>
                    <a:pt x="426" y="372"/>
                  </a:cubicBezTo>
                  <a:cubicBezTo>
                    <a:pt x="426" y="372"/>
                    <a:pt x="426" y="372"/>
                    <a:pt x="426" y="372"/>
                  </a:cubicBezTo>
                  <a:cubicBezTo>
                    <a:pt x="426" y="372"/>
                    <a:pt x="426" y="372"/>
                    <a:pt x="426" y="372"/>
                  </a:cubicBezTo>
                  <a:cubicBezTo>
                    <a:pt x="421" y="372"/>
                    <a:pt x="418" y="374"/>
                    <a:pt x="416" y="378"/>
                  </a:cubicBezTo>
                  <a:cubicBezTo>
                    <a:pt x="416" y="378"/>
                    <a:pt x="416" y="378"/>
                    <a:pt x="416" y="378"/>
                  </a:cubicBezTo>
                  <a:cubicBezTo>
                    <a:pt x="416" y="377"/>
                    <a:pt x="418" y="380"/>
                    <a:pt x="416" y="378"/>
                  </a:cubicBezTo>
                  <a:cubicBezTo>
                    <a:pt x="416" y="378"/>
                    <a:pt x="416" y="378"/>
                    <a:pt x="416" y="378"/>
                  </a:cubicBezTo>
                  <a:cubicBezTo>
                    <a:pt x="415" y="378"/>
                    <a:pt x="413" y="378"/>
                    <a:pt x="411" y="378"/>
                  </a:cubicBezTo>
                  <a:cubicBezTo>
                    <a:pt x="409" y="378"/>
                    <a:pt x="406" y="379"/>
                    <a:pt x="405" y="382"/>
                  </a:cubicBezTo>
                  <a:cubicBezTo>
                    <a:pt x="404" y="385"/>
                    <a:pt x="404" y="388"/>
                    <a:pt x="407" y="391"/>
                  </a:cubicBezTo>
                  <a:cubicBezTo>
                    <a:pt x="408" y="391"/>
                    <a:pt x="409" y="392"/>
                    <a:pt x="410" y="393"/>
                  </a:cubicBezTo>
                  <a:cubicBezTo>
                    <a:pt x="411" y="394"/>
                    <a:pt x="411" y="395"/>
                    <a:pt x="409" y="396"/>
                  </a:cubicBezTo>
                  <a:cubicBezTo>
                    <a:pt x="407" y="398"/>
                    <a:pt x="406" y="399"/>
                    <a:pt x="403" y="398"/>
                  </a:cubicBezTo>
                  <a:cubicBezTo>
                    <a:pt x="400" y="397"/>
                    <a:pt x="398" y="397"/>
                    <a:pt x="395" y="398"/>
                  </a:cubicBezTo>
                  <a:cubicBezTo>
                    <a:pt x="393" y="398"/>
                    <a:pt x="392" y="396"/>
                    <a:pt x="392" y="395"/>
                  </a:cubicBezTo>
                  <a:cubicBezTo>
                    <a:pt x="393" y="392"/>
                    <a:pt x="394" y="390"/>
                    <a:pt x="395" y="388"/>
                  </a:cubicBezTo>
                  <a:cubicBezTo>
                    <a:pt x="395" y="387"/>
                    <a:pt x="395" y="387"/>
                    <a:pt x="394" y="386"/>
                  </a:cubicBezTo>
                  <a:cubicBezTo>
                    <a:pt x="394" y="386"/>
                    <a:pt x="393" y="386"/>
                    <a:pt x="393" y="386"/>
                  </a:cubicBezTo>
                  <a:cubicBezTo>
                    <a:pt x="389" y="390"/>
                    <a:pt x="385" y="394"/>
                    <a:pt x="382" y="398"/>
                  </a:cubicBezTo>
                  <a:cubicBezTo>
                    <a:pt x="380" y="399"/>
                    <a:pt x="382" y="401"/>
                    <a:pt x="383" y="402"/>
                  </a:cubicBezTo>
                  <a:cubicBezTo>
                    <a:pt x="384" y="404"/>
                    <a:pt x="384" y="406"/>
                    <a:pt x="382" y="407"/>
                  </a:cubicBezTo>
                  <a:cubicBezTo>
                    <a:pt x="381" y="408"/>
                    <a:pt x="381" y="409"/>
                    <a:pt x="380" y="410"/>
                  </a:cubicBezTo>
                  <a:cubicBezTo>
                    <a:pt x="382" y="410"/>
                    <a:pt x="384" y="410"/>
                    <a:pt x="386" y="409"/>
                  </a:cubicBezTo>
                  <a:cubicBezTo>
                    <a:pt x="390" y="409"/>
                    <a:pt x="394" y="407"/>
                    <a:pt x="397" y="407"/>
                  </a:cubicBezTo>
                  <a:cubicBezTo>
                    <a:pt x="399" y="407"/>
                    <a:pt x="402" y="407"/>
                    <a:pt x="404" y="408"/>
                  </a:cubicBezTo>
                  <a:cubicBezTo>
                    <a:pt x="404" y="408"/>
                    <a:pt x="405" y="408"/>
                    <a:pt x="405" y="408"/>
                  </a:cubicBezTo>
                  <a:cubicBezTo>
                    <a:pt x="405" y="408"/>
                    <a:pt x="404" y="409"/>
                    <a:pt x="404" y="409"/>
                  </a:cubicBezTo>
                  <a:cubicBezTo>
                    <a:pt x="402" y="410"/>
                    <a:pt x="400" y="411"/>
                    <a:pt x="398" y="412"/>
                  </a:cubicBezTo>
                  <a:cubicBezTo>
                    <a:pt x="397" y="412"/>
                    <a:pt x="396" y="413"/>
                    <a:pt x="395" y="413"/>
                  </a:cubicBezTo>
                  <a:cubicBezTo>
                    <a:pt x="392" y="413"/>
                    <a:pt x="392" y="415"/>
                    <a:pt x="392" y="417"/>
                  </a:cubicBezTo>
                  <a:cubicBezTo>
                    <a:pt x="391" y="418"/>
                    <a:pt x="389" y="419"/>
                    <a:pt x="388" y="421"/>
                  </a:cubicBezTo>
                  <a:cubicBezTo>
                    <a:pt x="387" y="422"/>
                    <a:pt x="388" y="425"/>
                    <a:pt x="388" y="427"/>
                  </a:cubicBezTo>
                  <a:cubicBezTo>
                    <a:pt x="388" y="428"/>
                    <a:pt x="387" y="429"/>
                    <a:pt x="386" y="429"/>
                  </a:cubicBezTo>
                  <a:cubicBezTo>
                    <a:pt x="385" y="431"/>
                    <a:pt x="384" y="432"/>
                    <a:pt x="384" y="433"/>
                  </a:cubicBezTo>
                  <a:cubicBezTo>
                    <a:pt x="384" y="437"/>
                    <a:pt x="382" y="438"/>
                    <a:pt x="380" y="440"/>
                  </a:cubicBezTo>
                  <a:cubicBezTo>
                    <a:pt x="377" y="441"/>
                    <a:pt x="375" y="443"/>
                    <a:pt x="374" y="446"/>
                  </a:cubicBezTo>
                  <a:cubicBezTo>
                    <a:pt x="373" y="449"/>
                    <a:pt x="371" y="452"/>
                    <a:pt x="370" y="455"/>
                  </a:cubicBezTo>
                  <a:cubicBezTo>
                    <a:pt x="370" y="458"/>
                    <a:pt x="370" y="460"/>
                    <a:pt x="367" y="461"/>
                  </a:cubicBezTo>
                  <a:cubicBezTo>
                    <a:pt x="365" y="461"/>
                    <a:pt x="364" y="463"/>
                    <a:pt x="365" y="465"/>
                  </a:cubicBezTo>
                  <a:cubicBezTo>
                    <a:pt x="366" y="468"/>
                    <a:pt x="366" y="471"/>
                    <a:pt x="365" y="474"/>
                  </a:cubicBezTo>
                  <a:cubicBezTo>
                    <a:pt x="364" y="477"/>
                    <a:pt x="363" y="480"/>
                    <a:pt x="363" y="483"/>
                  </a:cubicBezTo>
                  <a:cubicBezTo>
                    <a:pt x="362" y="485"/>
                    <a:pt x="361" y="486"/>
                    <a:pt x="358" y="487"/>
                  </a:cubicBezTo>
                  <a:cubicBezTo>
                    <a:pt x="357" y="488"/>
                    <a:pt x="355" y="488"/>
                    <a:pt x="354" y="489"/>
                  </a:cubicBezTo>
                  <a:cubicBezTo>
                    <a:pt x="353" y="489"/>
                    <a:pt x="352" y="490"/>
                    <a:pt x="352" y="491"/>
                  </a:cubicBezTo>
                  <a:cubicBezTo>
                    <a:pt x="352" y="494"/>
                    <a:pt x="352" y="496"/>
                    <a:pt x="349" y="498"/>
                  </a:cubicBezTo>
                  <a:cubicBezTo>
                    <a:pt x="343" y="501"/>
                    <a:pt x="340" y="506"/>
                    <a:pt x="337" y="512"/>
                  </a:cubicBezTo>
                  <a:cubicBezTo>
                    <a:pt x="337" y="514"/>
                    <a:pt x="336" y="515"/>
                    <a:pt x="335" y="517"/>
                  </a:cubicBezTo>
                  <a:cubicBezTo>
                    <a:pt x="334" y="518"/>
                    <a:pt x="332" y="520"/>
                    <a:pt x="330" y="519"/>
                  </a:cubicBezTo>
                  <a:cubicBezTo>
                    <a:pt x="328" y="519"/>
                    <a:pt x="326" y="519"/>
                    <a:pt x="323" y="519"/>
                  </a:cubicBezTo>
                  <a:cubicBezTo>
                    <a:pt x="323" y="519"/>
                    <a:pt x="322" y="519"/>
                    <a:pt x="322" y="519"/>
                  </a:cubicBezTo>
                  <a:cubicBezTo>
                    <a:pt x="321" y="520"/>
                    <a:pt x="321" y="521"/>
                    <a:pt x="322" y="522"/>
                  </a:cubicBezTo>
                  <a:cubicBezTo>
                    <a:pt x="322" y="523"/>
                    <a:pt x="323" y="523"/>
                    <a:pt x="323" y="523"/>
                  </a:cubicBezTo>
                  <a:cubicBezTo>
                    <a:pt x="324" y="525"/>
                    <a:pt x="324" y="527"/>
                    <a:pt x="322" y="527"/>
                  </a:cubicBezTo>
                  <a:cubicBezTo>
                    <a:pt x="317" y="528"/>
                    <a:pt x="315" y="533"/>
                    <a:pt x="309" y="532"/>
                  </a:cubicBezTo>
                  <a:cubicBezTo>
                    <a:pt x="306" y="535"/>
                    <a:pt x="302" y="537"/>
                    <a:pt x="299" y="540"/>
                  </a:cubicBezTo>
                  <a:cubicBezTo>
                    <a:pt x="299" y="540"/>
                    <a:pt x="298" y="541"/>
                    <a:pt x="299" y="541"/>
                  </a:cubicBezTo>
                  <a:cubicBezTo>
                    <a:pt x="299" y="545"/>
                    <a:pt x="297" y="546"/>
                    <a:pt x="294" y="546"/>
                  </a:cubicBezTo>
                  <a:cubicBezTo>
                    <a:pt x="292" y="547"/>
                    <a:pt x="290" y="547"/>
                    <a:pt x="288" y="548"/>
                  </a:cubicBezTo>
                  <a:cubicBezTo>
                    <a:pt x="287" y="549"/>
                    <a:pt x="285" y="550"/>
                    <a:pt x="285" y="551"/>
                  </a:cubicBezTo>
                  <a:cubicBezTo>
                    <a:pt x="284" y="553"/>
                    <a:pt x="285" y="556"/>
                    <a:pt x="284" y="558"/>
                  </a:cubicBezTo>
                  <a:cubicBezTo>
                    <a:pt x="283" y="563"/>
                    <a:pt x="286" y="569"/>
                    <a:pt x="283" y="574"/>
                  </a:cubicBezTo>
                  <a:cubicBezTo>
                    <a:pt x="283" y="575"/>
                    <a:pt x="283" y="575"/>
                    <a:pt x="283" y="576"/>
                  </a:cubicBezTo>
                  <a:cubicBezTo>
                    <a:pt x="284" y="580"/>
                    <a:pt x="288" y="583"/>
                    <a:pt x="290" y="586"/>
                  </a:cubicBezTo>
                  <a:cubicBezTo>
                    <a:pt x="291" y="589"/>
                    <a:pt x="292" y="591"/>
                    <a:pt x="293" y="594"/>
                  </a:cubicBezTo>
                  <a:cubicBezTo>
                    <a:pt x="293" y="595"/>
                    <a:pt x="292" y="597"/>
                    <a:pt x="292" y="598"/>
                  </a:cubicBezTo>
                  <a:cubicBezTo>
                    <a:pt x="291" y="600"/>
                    <a:pt x="289" y="601"/>
                    <a:pt x="288" y="603"/>
                  </a:cubicBezTo>
                  <a:cubicBezTo>
                    <a:pt x="287" y="604"/>
                    <a:pt x="287" y="606"/>
                    <a:pt x="289" y="607"/>
                  </a:cubicBezTo>
                  <a:cubicBezTo>
                    <a:pt x="290" y="608"/>
                    <a:pt x="292" y="608"/>
                    <a:pt x="293" y="609"/>
                  </a:cubicBezTo>
                  <a:cubicBezTo>
                    <a:pt x="295" y="609"/>
                    <a:pt x="296" y="611"/>
                    <a:pt x="295" y="612"/>
                  </a:cubicBezTo>
                  <a:cubicBezTo>
                    <a:pt x="293" y="614"/>
                    <a:pt x="292" y="615"/>
                    <a:pt x="290" y="617"/>
                  </a:cubicBezTo>
                  <a:cubicBezTo>
                    <a:pt x="289" y="618"/>
                    <a:pt x="290" y="622"/>
                    <a:pt x="291" y="623"/>
                  </a:cubicBezTo>
                  <a:cubicBezTo>
                    <a:pt x="297" y="628"/>
                    <a:pt x="303" y="632"/>
                    <a:pt x="311" y="634"/>
                  </a:cubicBezTo>
                  <a:cubicBezTo>
                    <a:pt x="312" y="635"/>
                    <a:pt x="313" y="635"/>
                    <a:pt x="314" y="635"/>
                  </a:cubicBezTo>
                  <a:cubicBezTo>
                    <a:pt x="321" y="632"/>
                    <a:pt x="328" y="631"/>
                    <a:pt x="332" y="625"/>
                  </a:cubicBezTo>
                  <a:cubicBezTo>
                    <a:pt x="334" y="622"/>
                    <a:pt x="336" y="620"/>
                    <a:pt x="338" y="618"/>
                  </a:cubicBezTo>
                  <a:cubicBezTo>
                    <a:pt x="343" y="615"/>
                    <a:pt x="349" y="614"/>
                    <a:pt x="351" y="609"/>
                  </a:cubicBezTo>
                  <a:cubicBezTo>
                    <a:pt x="351" y="608"/>
                    <a:pt x="352" y="608"/>
                    <a:pt x="352" y="609"/>
                  </a:cubicBezTo>
                  <a:cubicBezTo>
                    <a:pt x="354" y="610"/>
                    <a:pt x="356" y="611"/>
                    <a:pt x="357" y="613"/>
                  </a:cubicBezTo>
                  <a:cubicBezTo>
                    <a:pt x="358" y="616"/>
                    <a:pt x="358" y="619"/>
                    <a:pt x="359" y="622"/>
                  </a:cubicBezTo>
                  <a:cubicBezTo>
                    <a:pt x="360" y="625"/>
                    <a:pt x="362" y="629"/>
                    <a:pt x="362" y="632"/>
                  </a:cubicBezTo>
                  <a:cubicBezTo>
                    <a:pt x="363" y="638"/>
                    <a:pt x="366" y="643"/>
                    <a:pt x="369" y="648"/>
                  </a:cubicBezTo>
                  <a:cubicBezTo>
                    <a:pt x="372" y="652"/>
                    <a:pt x="374" y="657"/>
                    <a:pt x="378" y="661"/>
                  </a:cubicBezTo>
                  <a:cubicBezTo>
                    <a:pt x="379" y="663"/>
                    <a:pt x="378" y="664"/>
                    <a:pt x="378" y="665"/>
                  </a:cubicBezTo>
                  <a:cubicBezTo>
                    <a:pt x="377" y="667"/>
                    <a:pt x="377" y="668"/>
                    <a:pt x="376" y="670"/>
                  </a:cubicBezTo>
                  <a:cubicBezTo>
                    <a:pt x="376" y="670"/>
                    <a:pt x="377" y="670"/>
                    <a:pt x="377" y="670"/>
                  </a:cubicBezTo>
                  <a:cubicBezTo>
                    <a:pt x="377" y="670"/>
                    <a:pt x="377" y="670"/>
                    <a:pt x="377" y="671"/>
                  </a:cubicBezTo>
                  <a:cubicBezTo>
                    <a:pt x="378" y="672"/>
                    <a:pt x="379" y="673"/>
                    <a:pt x="379" y="674"/>
                  </a:cubicBezTo>
                  <a:cubicBezTo>
                    <a:pt x="383" y="684"/>
                    <a:pt x="385" y="681"/>
                    <a:pt x="394" y="680"/>
                  </a:cubicBezTo>
                  <a:cubicBezTo>
                    <a:pt x="397" y="680"/>
                    <a:pt x="398" y="678"/>
                    <a:pt x="398" y="676"/>
                  </a:cubicBezTo>
                  <a:cubicBezTo>
                    <a:pt x="399" y="672"/>
                    <a:pt x="402" y="671"/>
                    <a:pt x="405" y="670"/>
                  </a:cubicBezTo>
                  <a:cubicBezTo>
                    <a:pt x="407" y="670"/>
                    <a:pt x="408" y="670"/>
                    <a:pt x="410" y="670"/>
                  </a:cubicBezTo>
                  <a:cubicBezTo>
                    <a:pt x="415" y="670"/>
                    <a:pt x="419" y="669"/>
                    <a:pt x="421" y="664"/>
                  </a:cubicBezTo>
                  <a:cubicBezTo>
                    <a:pt x="428" y="666"/>
                    <a:pt x="428" y="660"/>
                    <a:pt x="429" y="656"/>
                  </a:cubicBezTo>
                  <a:cubicBezTo>
                    <a:pt x="429" y="655"/>
                    <a:pt x="429" y="654"/>
                    <a:pt x="429" y="653"/>
                  </a:cubicBezTo>
                  <a:cubicBezTo>
                    <a:pt x="429" y="651"/>
                    <a:pt x="428" y="650"/>
                    <a:pt x="426" y="651"/>
                  </a:cubicBezTo>
                  <a:cubicBezTo>
                    <a:pt x="425" y="651"/>
                    <a:pt x="425" y="651"/>
                    <a:pt x="424" y="650"/>
                  </a:cubicBezTo>
                  <a:cubicBezTo>
                    <a:pt x="424" y="650"/>
                    <a:pt x="424" y="650"/>
                    <a:pt x="424" y="649"/>
                  </a:cubicBezTo>
                  <a:cubicBezTo>
                    <a:pt x="424" y="644"/>
                    <a:pt x="423" y="639"/>
                    <a:pt x="425" y="634"/>
                  </a:cubicBezTo>
                  <a:cubicBezTo>
                    <a:pt x="426" y="631"/>
                    <a:pt x="426" y="629"/>
                    <a:pt x="426" y="626"/>
                  </a:cubicBezTo>
                  <a:cubicBezTo>
                    <a:pt x="426" y="621"/>
                    <a:pt x="429" y="618"/>
                    <a:pt x="433" y="616"/>
                  </a:cubicBezTo>
                  <a:cubicBezTo>
                    <a:pt x="435" y="614"/>
                    <a:pt x="438" y="613"/>
                    <a:pt x="441" y="611"/>
                  </a:cubicBezTo>
                  <a:cubicBezTo>
                    <a:pt x="444" y="608"/>
                    <a:pt x="446" y="605"/>
                    <a:pt x="445" y="601"/>
                  </a:cubicBezTo>
                  <a:cubicBezTo>
                    <a:pt x="445" y="599"/>
                    <a:pt x="446" y="597"/>
                    <a:pt x="446" y="595"/>
                  </a:cubicBezTo>
                  <a:cubicBezTo>
                    <a:pt x="446" y="594"/>
                    <a:pt x="446" y="592"/>
                    <a:pt x="445" y="591"/>
                  </a:cubicBezTo>
                  <a:cubicBezTo>
                    <a:pt x="441" y="586"/>
                    <a:pt x="437" y="581"/>
                    <a:pt x="431" y="578"/>
                  </a:cubicBezTo>
                  <a:cubicBezTo>
                    <a:pt x="427" y="577"/>
                    <a:pt x="426" y="574"/>
                    <a:pt x="426" y="570"/>
                  </a:cubicBezTo>
                  <a:cubicBezTo>
                    <a:pt x="426" y="562"/>
                    <a:pt x="426" y="554"/>
                    <a:pt x="427" y="545"/>
                  </a:cubicBezTo>
                  <a:cubicBezTo>
                    <a:pt x="427" y="544"/>
                    <a:pt x="428" y="542"/>
                    <a:pt x="428" y="541"/>
                  </a:cubicBezTo>
                  <a:cubicBezTo>
                    <a:pt x="433" y="534"/>
                    <a:pt x="438" y="527"/>
                    <a:pt x="445" y="523"/>
                  </a:cubicBezTo>
                  <a:cubicBezTo>
                    <a:pt x="449" y="520"/>
                    <a:pt x="452" y="517"/>
                    <a:pt x="455" y="514"/>
                  </a:cubicBezTo>
                  <a:cubicBezTo>
                    <a:pt x="462" y="509"/>
                    <a:pt x="461" y="509"/>
                    <a:pt x="465" y="500"/>
                  </a:cubicBezTo>
                  <a:cubicBezTo>
                    <a:pt x="466" y="498"/>
                    <a:pt x="466" y="495"/>
                    <a:pt x="466" y="493"/>
                  </a:cubicBezTo>
                  <a:cubicBezTo>
                    <a:pt x="464" y="487"/>
                    <a:pt x="466" y="480"/>
                    <a:pt x="468" y="475"/>
                  </a:cubicBezTo>
                  <a:cubicBezTo>
                    <a:pt x="471" y="470"/>
                    <a:pt x="475" y="466"/>
                    <a:pt x="481" y="468"/>
                  </a:cubicBezTo>
                  <a:cubicBezTo>
                    <a:pt x="489" y="466"/>
                    <a:pt x="497" y="468"/>
                    <a:pt x="504" y="471"/>
                  </a:cubicBezTo>
                  <a:cubicBezTo>
                    <a:pt x="506" y="472"/>
                    <a:pt x="507" y="477"/>
                    <a:pt x="505" y="478"/>
                  </a:cubicBezTo>
                  <a:cubicBezTo>
                    <a:pt x="503" y="479"/>
                    <a:pt x="501" y="480"/>
                    <a:pt x="501" y="484"/>
                  </a:cubicBezTo>
                  <a:cubicBezTo>
                    <a:pt x="501" y="486"/>
                    <a:pt x="500" y="488"/>
                    <a:pt x="498" y="489"/>
                  </a:cubicBezTo>
                  <a:cubicBezTo>
                    <a:pt x="493" y="497"/>
                    <a:pt x="489" y="505"/>
                    <a:pt x="482" y="511"/>
                  </a:cubicBezTo>
                  <a:cubicBezTo>
                    <a:pt x="481" y="513"/>
                    <a:pt x="479" y="515"/>
                    <a:pt x="478" y="518"/>
                  </a:cubicBezTo>
                  <a:cubicBezTo>
                    <a:pt x="477" y="521"/>
                    <a:pt x="474" y="522"/>
                    <a:pt x="470" y="522"/>
                  </a:cubicBezTo>
                  <a:cubicBezTo>
                    <a:pt x="468" y="522"/>
                    <a:pt x="467" y="523"/>
                    <a:pt x="467" y="525"/>
                  </a:cubicBezTo>
                  <a:cubicBezTo>
                    <a:pt x="468" y="527"/>
                    <a:pt x="467" y="530"/>
                    <a:pt x="466" y="532"/>
                  </a:cubicBezTo>
                  <a:cubicBezTo>
                    <a:pt x="466" y="534"/>
                    <a:pt x="466" y="536"/>
                    <a:pt x="466" y="538"/>
                  </a:cubicBezTo>
                  <a:cubicBezTo>
                    <a:pt x="467" y="540"/>
                    <a:pt x="468" y="542"/>
                    <a:pt x="468" y="544"/>
                  </a:cubicBezTo>
                  <a:cubicBezTo>
                    <a:pt x="470" y="552"/>
                    <a:pt x="473" y="560"/>
                    <a:pt x="472" y="569"/>
                  </a:cubicBezTo>
                  <a:cubicBezTo>
                    <a:pt x="471" y="570"/>
                    <a:pt x="472" y="572"/>
                    <a:pt x="472" y="574"/>
                  </a:cubicBezTo>
                  <a:cubicBezTo>
                    <a:pt x="472" y="576"/>
                    <a:pt x="474" y="578"/>
                    <a:pt x="477" y="579"/>
                  </a:cubicBezTo>
                  <a:cubicBezTo>
                    <a:pt x="479" y="580"/>
                    <a:pt x="480" y="582"/>
                    <a:pt x="482" y="583"/>
                  </a:cubicBezTo>
                  <a:cubicBezTo>
                    <a:pt x="482" y="582"/>
                    <a:pt x="482" y="582"/>
                    <a:pt x="482" y="582"/>
                  </a:cubicBezTo>
                  <a:cubicBezTo>
                    <a:pt x="482" y="582"/>
                    <a:pt x="482" y="582"/>
                    <a:pt x="482" y="582"/>
                  </a:cubicBezTo>
                  <a:cubicBezTo>
                    <a:pt x="483" y="582"/>
                    <a:pt x="483" y="582"/>
                    <a:pt x="483" y="582"/>
                  </a:cubicBezTo>
                  <a:cubicBezTo>
                    <a:pt x="482" y="582"/>
                    <a:pt x="482" y="582"/>
                    <a:pt x="482" y="582"/>
                  </a:cubicBezTo>
                  <a:cubicBezTo>
                    <a:pt x="484" y="583"/>
                    <a:pt x="485" y="584"/>
                    <a:pt x="486" y="584"/>
                  </a:cubicBezTo>
                  <a:cubicBezTo>
                    <a:pt x="490" y="584"/>
                    <a:pt x="492" y="585"/>
                    <a:pt x="494" y="588"/>
                  </a:cubicBezTo>
                  <a:cubicBezTo>
                    <a:pt x="496" y="592"/>
                    <a:pt x="499" y="592"/>
                    <a:pt x="503" y="591"/>
                  </a:cubicBezTo>
                  <a:cubicBezTo>
                    <a:pt x="506" y="590"/>
                    <a:pt x="509" y="589"/>
                    <a:pt x="512" y="587"/>
                  </a:cubicBezTo>
                  <a:cubicBezTo>
                    <a:pt x="522" y="583"/>
                    <a:pt x="532" y="580"/>
                    <a:pt x="543" y="580"/>
                  </a:cubicBezTo>
                  <a:cubicBezTo>
                    <a:pt x="547" y="580"/>
                    <a:pt x="551" y="579"/>
                    <a:pt x="555" y="579"/>
                  </a:cubicBezTo>
                  <a:cubicBezTo>
                    <a:pt x="556" y="579"/>
                    <a:pt x="557" y="579"/>
                    <a:pt x="558" y="579"/>
                  </a:cubicBezTo>
                  <a:cubicBezTo>
                    <a:pt x="559" y="584"/>
                    <a:pt x="565" y="583"/>
                    <a:pt x="568" y="585"/>
                  </a:cubicBezTo>
                  <a:cubicBezTo>
                    <a:pt x="569" y="586"/>
                    <a:pt x="569" y="586"/>
                    <a:pt x="570" y="586"/>
                  </a:cubicBezTo>
                  <a:cubicBezTo>
                    <a:pt x="570" y="586"/>
                    <a:pt x="570" y="587"/>
                    <a:pt x="570" y="587"/>
                  </a:cubicBezTo>
                  <a:cubicBezTo>
                    <a:pt x="568" y="588"/>
                    <a:pt x="566" y="590"/>
                    <a:pt x="565" y="590"/>
                  </a:cubicBezTo>
                  <a:cubicBezTo>
                    <a:pt x="562" y="592"/>
                    <a:pt x="558" y="593"/>
                    <a:pt x="556" y="595"/>
                  </a:cubicBezTo>
                  <a:cubicBezTo>
                    <a:pt x="553" y="601"/>
                    <a:pt x="548" y="601"/>
                    <a:pt x="542" y="599"/>
                  </a:cubicBezTo>
                  <a:cubicBezTo>
                    <a:pt x="539" y="598"/>
                    <a:pt x="535" y="597"/>
                    <a:pt x="531" y="597"/>
                  </a:cubicBezTo>
                  <a:cubicBezTo>
                    <a:pt x="530" y="596"/>
                    <a:pt x="528" y="596"/>
                    <a:pt x="526" y="596"/>
                  </a:cubicBezTo>
                  <a:cubicBezTo>
                    <a:pt x="521" y="598"/>
                    <a:pt x="516" y="599"/>
                    <a:pt x="511" y="601"/>
                  </a:cubicBezTo>
                  <a:cubicBezTo>
                    <a:pt x="505" y="603"/>
                    <a:pt x="502" y="607"/>
                    <a:pt x="501" y="613"/>
                  </a:cubicBezTo>
                  <a:cubicBezTo>
                    <a:pt x="501" y="616"/>
                    <a:pt x="499" y="617"/>
                    <a:pt x="496" y="618"/>
                  </a:cubicBezTo>
                  <a:cubicBezTo>
                    <a:pt x="494" y="619"/>
                    <a:pt x="492" y="619"/>
                    <a:pt x="490" y="620"/>
                  </a:cubicBezTo>
                  <a:cubicBezTo>
                    <a:pt x="486" y="621"/>
                    <a:pt x="485" y="624"/>
                    <a:pt x="488" y="628"/>
                  </a:cubicBezTo>
                  <a:cubicBezTo>
                    <a:pt x="488" y="629"/>
                    <a:pt x="489" y="629"/>
                    <a:pt x="489" y="629"/>
                  </a:cubicBezTo>
                  <a:cubicBezTo>
                    <a:pt x="494" y="629"/>
                    <a:pt x="497" y="626"/>
                    <a:pt x="500" y="623"/>
                  </a:cubicBezTo>
                  <a:cubicBezTo>
                    <a:pt x="502" y="622"/>
                    <a:pt x="503" y="622"/>
                    <a:pt x="506" y="623"/>
                  </a:cubicBezTo>
                  <a:cubicBezTo>
                    <a:pt x="508" y="625"/>
                    <a:pt x="509" y="626"/>
                    <a:pt x="511" y="627"/>
                  </a:cubicBezTo>
                  <a:cubicBezTo>
                    <a:pt x="513" y="628"/>
                    <a:pt x="514" y="629"/>
                    <a:pt x="514" y="630"/>
                  </a:cubicBezTo>
                  <a:cubicBezTo>
                    <a:pt x="514" y="635"/>
                    <a:pt x="514" y="639"/>
                    <a:pt x="514" y="643"/>
                  </a:cubicBezTo>
                  <a:cubicBezTo>
                    <a:pt x="514" y="645"/>
                    <a:pt x="512" y="647"/>
                    <a:pt x="510" y="647"/>
                  </a:cubicBezTo>
                  <a:cubicBezTo>
                    <a:pt x="509" y="648"/>
                    <a:pt x="507" y="647"/>
                    <a:pt x="506" y="646"/>
                  </a:cubicBezTo>
                  <a:cubicBezTo>
                    <a:pt x="503" y="644"/>
                    <a:pt x="501" y="642"/>
                    <a:pt x="499" y="639"/>
                  </a:cubicBezTo>
                  <a:cubicBezTo>
                    <a:pt x="497" y="637"/>
                    <a:pt x="495" y="636"/>
                    <a:pt x="492" y="637"/>
                  </a:cubicBezTo>
                  <a:cubicBezTo>
                    <a:pt x="487" y="639"/>
                    <a:pt x="484" y="641"/>
                    <a:pt x="482" y="645"/>
                  </a:cubicBezTo>
                  <a:cubicBezTo>
                    <a:pt x="481" y="648"/>
                    <a:pt x="480" y="651"/>
                    <a:pt x="479" y="654"/>
                  </a:cubicBezTo>
                  <a:cubicBezTo>
                    <a:pt x="478" y="658"/>
                    <a:pt x="477" y="662"/>
                    <a:pt x="478" y="666"/>
                  </a:cubicBezTo>
                  <a:cubicBezTo>
                    <a:pt x="479" y="671"/>
                    <a:pt x="480" y="677"/>
                    <a:pt x="481" y="682"/>
                  </a:cubicBezTo>
                  <a:cubicBezTo>
                    <a:pt x="481" y="682"/>
                    <a:pt x="480" y="684"/>
                    <a:pt x="479" y="684"/>
                  </a:cubicBezTo>
                  <a:cubicBezTo>
                    <a:pt x="477" y="685"/>
                    <a:pt x="474" y="686"/>
                    <a:pt x="472" y="687"/>
                  </a:cubicBezTo>
                  <a:cubicBezTo>
                    <a:pt x="469" y="688"/>
                    <a:pt x="467" y="690"/>
                    <a:pt x="467" y="693"/>
                  </a:cubicBezTo>
                  <a:cubicBezTo>
                    <a:pt x="466" y="698"/>
                    <a:pt x="456" y="699"/>
                    <a:pt x="453" y="695"/>
                  </a:cubicBezTo>
                  <a:cubicBezTo>
                    <a:pt x="453" y="694"/>
                    <a:pt x="452" y="693"/>
                    <a:pt x="452" y="692"/>
                  </a:cubicBezTo>
                  <a:cubicBezTo>
                    <a:pt x="450" y="689"/>
                    <a:pt x="448" y="689"/>
                    <a:pt x="445" y="689"/>
                  </a:cubicBezTo>
                  <a:cubicBezTo>
                    <a:pt x="439" y="689"/>
                    <a:pt x="434" y="691"/>
                    <a:pt x="429" y="693"/>
                  </a:cubicBezTo>
                  <a:cubicBezTo>
                    <a:pt x="423" y="697"/>
                    <a:pt x="416" y="701"/>
                    <a:pt x="409" y="704"/>
                  </a:cubicBezTo>
                  <a:cubicBezTo>
                    <a:pt x="407" y="705"/>
                    <a:pt x="405" y="708"/>
                    <a:pt x="403" y="709"/>
                  </a:cubicBezTo>
                  <a:cubicBezTo>
                    <a:pt x="402" y="710"/>
                    <a:pt x="399" y="710"/>
                    <a:pt x="399" y="710"/>
                  </a:cubicBezTo>
                  <a:cubicBezTo>
                    <a:pt x="396" y="707"/>
                    <a:pt x="393" y="705"/>
                    <a:pt x="391" y="702"/>
                  </a:cubicBezTo>
                  <a:cubicBezTo>
                    <a:pt x="390" y="701"/>
                    <a:pt x="391" y="699"/>
                    <a:pt x="391" y="697"/>
                  </a:cubicBezTo>
                  <a:cubicBezTo>
                    <a:pt x="391" y="696"/>
                    <a:pt x="388" y="695"/>
                    <a:pt x="387" y="696"/>
                  </a:cubicBezTo>
                  <a:cubicBezTo>
                    <a:pt x="384" y="698"/>
                    <a:pt x="382" y="700"/>
                    <a:pt x="378" y="700"/>
                  </a:cubicBezTo>
                  <a:cubicBezTo>
                    <a:pt x="373" y="700"/>
                    <a:pt x="369" y="703"/>
                    <a:pt x="365" y="706"/>
                  </a:cubicBezTo>
                  <a:cubicBezTo>
                    <a:pt x="364" y="706"/>
                    <a:pt x="363" y="706"/>
                    <a:pt x="362" y="705"/>
                  </a:cubicBezTo>
                  <a:cubicBezTo>
                    <a:pt x="360" y="703"/>
                    <a:pt x="359" y="701"/>
                    <a:pt x="356" y="701"/>
                  </a:cubicBezTo>
                  <a:cubicBezTo>
                    <a:pt x="353" y="700"/>
                    <a:pt x="350" y="700"/>
                    <a:pt x="348" y="698"/>
                  </a:cubicBezTo>
                  <a:cubicBezTo>
                    <a:pt x="346" y="697"/>
                    <a:pt x="346" y="694"/>
                    <a:pt x="345" y="691"/>
                  </a:cubicBezTo>
                  <a:cubicBezTo>
                    <a:pt x="344" y="690"/>
                    <a:pt x="345" y="689"/>
                    <a:pt x="345" y="689"/>
                  </a:cubicBezTo>
                  <a:cubicBezTo>
                    <a:pt x="345" y="688"/>
                    <a:pt x="346" y="688"/>
                    <a:pt x="347" y="688"/>
                  </a:cubicBezTo>
                  <a:cubicBezTo>
                    <a:pt x="351" y="690"/>
                    <a:pt x="356" y="691"/>
                    <a:pt x="360" y="694"/>
                  </a:cubicBezTo>
                  <a:cubicBezTo>
                    <a:pt x="365" y="698"/>
                    <a:pt x="370" y="696"/>
                    <a:pt x="372" y="691"/>
                  </a:cubicBezTo>
                  <a:cubicBezTo>
                    <a:pt x="376" y="684"/>
                    <a:pt x="378" y="678"/>
                    <a:pt x="377" y="671"/>
                  </a:cubicBezTo>
                  <a:cubicBezTo>
                    <a:pt x="377" y="670"/>
                    <a:pt x="376" y="670"/>
                    <a:pt x="376" y="670"/>
                  </a:cubicBezTo>
                  <a:cubicBezTo>
                    <a:pt x="376" y="670"/>
                    <a:pt x="376" y="670"/>
                    <a:pt x="376" y="670"/>
                  </a:cubicBezTo>
                  <a:cubicBezTo>
                    <a:pt x="371" y="669"/>
                    <a:pt x="366" y="672"/>
                    <a:pt x="362" y="676"/>
                  </a:cubicBezTo>
                  <a:cubicBezTo>
                    <a:pt x="361" y="677"/>
                    <a:pt x="360" y="679"/>
                    <a:pt x="361" y="681"/>
                  </a:cubicBezTo>
                  <a:cubicBezTo>
                    <a:pt x="362" y="683"/>
                    <a:pt x="364" y="685"/>
                    <a:pt x="365" y="687"/>
                  </a:cubicBezTo>
                  <a:cubicBezTo>
                    <a:pt x="365" y="687"/>
                    <a:pt x="365" y="689"/>
                    <a:pt x="365" y="689"/>
                  </a:cubicBezTo>
                  <a:cubicBezTo>
                    <a:pt x="364" y="690"/>
                    <a:pt x="363" y="689"/>
                    <a:pt x="362" y="689"/>
                  </a:cubicBezTo>
                  <a:cubicBezTo>
                    <a:pt x="361" y="689"/>
                    <a:pt x="361" y="688"/>
                    <a:pt x="360" y="688"/>
                  </a:cubicBezTo>
                  <a:cubicBezTo>
                    <a:pt x="356" y="685"/>
                    <a:pt x="355" y="680"/>
                    <a:pt x="350" y="678"/>
                  </a:cubicBezTo>
                  <a:cubicBezTo>
                    <a:pt x="350" y="678"/>
                    <a:pt x="350" y="676"/>
                    <a:pt x="350" y="675"/>
                  </a:cubicBezTo>
                  <a:cubicBezTo>
                    <a:pt x="351" y="671"/>
                    <a:pt x="353" y="669"/>
                    <a:pt x="357" y="667"/>
                  </a:cubicBezTo>
                  <a:cubicBezTo>
                    <a:pt x="358" y="666"/>
                    <a:pt x="358" y="665"/>
                    <a:pt x="357" y="664"/>
                  </a:cubicBezTo>
                  <a:cubicBezTo>
                    <a:pt x="356" y="664"/>
                    <a:pt x="356" y="663"/>
                    <a:pt x="356" y="663"/>
                  </a:cubicBezTo>
                  <a:cubicBezTo>
                    <a:pt x="350" y="661"/>
                    <a:pt x="349" y="657"/>
                    <a:pt x="351" y="651"/>
                  </a:cubicBezTo>
                  <a:cubicBezTo>
                    <a:pt x="352" y="649"/>
                    <a:pt x="353" y="647"/>
                    <a:pt x="353" y="644"/>
                  </a:cubicBezTo>
                  <a:cubicBezTo>
                    <a:pt x="352" y="642"/>
                    <a:pt x="351" y="641"/>
                    <a:pt x="349" y="641"/>
                  </a:cubicBezTo>
                  <a:cubicBezTo>
                    <a:pt x="348" y="641"/>
                    <a:pt x="347" y="641"/>
                    <a:pt x="346" y="642"/>
                  </a:cubicBezTo>
                  <a:cubicBezTo>
                    <a:pt x="340" y="645"/>
                    <a:pt x="336" y="651"/>
                    <a:pt x="329" y="653"/>
                  </a:cubicBezTo>
                  <a:cubicBezTo>
                    <a:pt x="328" y="653"/>
                    <a:pt x="327" y="655"/>
                    <a:pt x="327" y="656"/>
                  </a:cubicBezTo>
                  <a:cubicBezTo>
                    <a:pt x="327" y="662"/>
                    <a:pt x="322" y="667"/>
                    <a:pt x="325" y="674"/>
                  </a:cubicBezTo>
                  <a:cubicBezTo>
                    <a:pt x="326" y="674"/>
                    <a:pt x="325" y="675"/>
                    <a:pt x="324" y="676"/>
                  </a:cubicBezTo>
                  <a:cubicBezTo>
                    <a:pt x="324" y="679"/>
                    <a:pt x="324" y="680"/>
                    <a:pt x="326" y="682"/>
                  </a:cubicBezTo>
                  <a:cubicBezTo>
                    <a:pt x="327" y="683"/>
                    <a:pt x="328" y="685"/>
                    <a:pt x="328" y="686"/>
                  </a:cubicBezTo>
                  <a:cubicBezTo>
                    <a:pt x="330" y="693"/>
                    <a:pt x="333" y="699"/>
                    <a:pt x="333" y="706"/>
                  </a:cubicBezTo>
                  <a:cubicBezTo>
                    <a:pt x="333" y="709"/>
                    <a:pt x="328" y="714"/>
                    <a:pt x="325" y="714"/>
                  </a:cubicBezTo>
                  <a:cubicBezTo>
                    <a:pt x="320" y="712"/>
                    <a:pt x="316" y="713"/>
                    <a:pt x="312" y="715"/>
                  </a:cubicBezTo>
                  <a:cubicBezTo>
                    <a:pt x="309" y="717"/>
                    <a:pt x="305" y="718"/>
                    <a:pt x="301" y="719"/>
                  </a:cubicBezTo>
                  <a:cubicBezTo>
                    <a:pt x="296" y="720"/>
                    <a:pt x="292" y="722"/>
                    <a:pt x="288" y="724"/>
                  </a:cubicBezTo>
                  <a:cubicBezTo>
                    <a:pt x="284" y="726"/>
                    <a:pt x="281" y="729"/>
                    <a:pt x="280" y="734"/>
                  </a:cubicBezTo>
                  <a:cubicBezTo>
                    <a:pt x="275" y="748"/>
                    <a:pt x="275" y="748"/>
                    <a:pt x="264" y="756"/>
                  </a:cubicBezTo>
                  <a:cubicBezTo>
                    <a:pt x="261" y="758"/>
                    <a:pt x="258" y="759"/>
                    <a:pt x="255" y="761"/>
                  </a:cubicBezTo>
                  <a:cubicBezTo>
                    <a:pt x="254" y="762"/>
                    <a:pt x="253" y="763"/>
                    <a:pt x="252" y="764"/>
                  </a:cubicBezTo>
                  <a:cubicBezTo>
                    <a:pt x="251" y="766"/>
                    <a:pt x="251" y="768"/>
                    <a:pt x="250" y="770"/>
                  </a:cubicBezTo>
                  <a:cubicBezTo>
                    <a:pt x="249" y="774"/>
                    <a:pt x="247" y="776"/>
                    <a:pt x="244" y="777"/>
                  </a:cubicBezTo>
                  <a:cubicBezTo>
                    <a:pt x="242" y="777"/>
                    <a:pt x="240" y="778"/>
                    <a:pt x="239" y="778"/>
                  </a:cubicBezTo>
                  <a:cubicBezTo>
                    <a:pt x="236" y="779"/>
                    <a:pt x="234" y="780"/>
                    <a:pt x="233" y="783"/>
                  </a:cubicBezTo>
                  <a:cubicBezTo>
                    <a:pt x="231" y="786"/>
                    <a:pt x="228" y="786"/>
                    <a:pt x="224" y="786"/>
                  </a:cubicBezTo>
                  <a:cubicBezTo>
                    <a:pt x="221" y="786"/>
                    <a:pt x="219" y="784"/>
                    <a:pt x="217" y="783"/>
                  </a:cubicBezTo>
                  <a:cubicBezTo>
                    <a:pt x="216" y="782"/>
                    <a:pt x="214" y="782"/>
                    <a:pt x="212" y="782"/>
                  </a:cubicBezTo>
                  <a:cubicBezTo>
                    <a:pt x="211" y="782"/>
                    <a:pt x="209" y="784"/>
                    <a:pt x="209" y="785"/>
                  </a:cubicBezTo>
                  <a:cubicBezTo>
                    <a:pt x="210" y="788"/>
                    <a:pt x="211" y="791"/>
                    <a:pt x="211" y="794"/>
                  </a:cubicBezTo>
                  <a:cubicBezTo>
                    <a:pt x="212" y="796"/>
                    <a:pt x="210" y="798"/>
                    <a:pt x="208" y="798"/>
                  </a:cubicBezTo>
                  <a:cubicBezTo>
                    <a:pt x="204" y="798"/>
                    <a:pt x="200" y="798"/>
                    <a:pt x="196" y="796"/>
                  </a:cubicBezTo>
                  <a:cubicBezTo>
                    <a:pt x="194" y="796"/>
                    <a:pt x="192" y="795"/>
                    <a:pt x="190" y="796"/>
                  </a:cubicBezTo>
                  <a:cubicBezTo>
                    <a:pt x="186" y="797"/>
                    <a:pt x="182" y="798"/>
                    <a:pt x="177" y="799"/>
                  </a:cubicBezTo>
                  <a:cubicBezTo>
                    <a:pt x="176" y="800"/>
                    <a:pt x="175" y="802"/>
                    <a:pt x="175" y="803"/>
                  </a:cubicBezTo>
                  <a:cubicBezTo>
                    <a:pt x="176" y="808"/>
                    <a:pt x="176" y="813"/>
                    <a:pt x="184" y="814"/>
                  </a:cubicBezTo>
                  <a:cubicBezTo>
                    <a:pt x="187" y="814"/>
                    <a:pt x="190" y="816"/>
                    <a:pt x="193" y="817"/>
                  </a:cubicBezTo>
                  <a:cubicBezTo>
                    <a:pt x="199" y="818"/>
                    <a:pt x="202" y="821"/>
                    <a:pt x="204" y="826"/>
                  </a:cubicBezTo>
                  <a:cubicBezTo>
                    <a:pt x="206" y="831"/>
                    <a:pt x="208" y="834"/>
                    <a:pt x="213" y="837"/>
                  </a:cubicBezTo>
                  <a:cubicBezTo>
                    <a:pt x="216" y="838"/>
                    <a:pt x="217" y="841"/>
                    <a:pt x="217" y="844"/>
                  </a:cubicBezTo>
                  <a:cubicBezTo>
                    <a:pt x="217" y="853"/>
                    <a:pt x="216" y="861"/>
                    <a:pt x="215" y="869"/>
                  </a:cubicBezTo>
                  <a:cubicBezTo>
                    <a:pt x="215" y="872"/>
                    <a:pt x="214" y="875"/>
                    <a:pt x="213" y="878"/>
                  </a:cubicBezTo>
                  <a:cubicBezTo>
                    <a:pt x="212" y="881"/>
                    <a:pt x="208" y="884"/>
                    <a:pt x="205" y="883"/>
                  </a:cubicBezTo>
                  <a:cubicBezTo>
                    <a:pt x="199" y="880"/>
                    <a:pt x="193" y="883"/>
                    <a:pt x="187" y="881"/>
                  </a:cubicBezTo>
                  <a:cubicBezTo>
                    <a:pt x="186" y="880"/>
                    <a:pt x="184" y="880"/>
                    <a:pt x="183" y="880"/>
                  </a:cubicBezTo>
                  <a:cubicBezTo>
                    <a:pt x="177" y="882"/>
                    <a:pt x="172" y="881"/>
                    <a:pt x="166" y="880"/>
                  </a:cubicBezTo>
                  <a:cubicBezTo>
                    <a:pt x="160" y="878"/>
                    <a:pt x="155" y="877"/>
                    <a:pt x="149" y="879"/>
                  </a:cubicBezTo>
                  <a:cubicBezTo>
                    <a:pt x="147" y="879"/>
                    <a:pt x="145" y="879"/>
                    <a:pt x="144" y="878"/>
                  </a:cubicBezTo>
                  <a:cubicBezTo>
                    <a:pt x="137" y="876"/>
                    <a:pt x="131" y="876"/>
                    <a:pt x="126" y="882"/>
                  </a:cubicBezTo>
                  <a:cubicBezTo>
                    <a:pt x="125" y="883"/>
                    <a:pt x="123" y="883"/>
                    <a:pt x="121" y="884"/>
                  </a:cubicBezTo>
                  <a:cubicBezTo>
                    <a:pt x="120" y="884"/>
                    <a:pt x="119" y="884"/>
                    <a:pt x="118" y="885"/>
                  </a:cubicBezTo>
                  <a:cubicBezTo>
                    <a:pt x="117" y="886"/>
                    <a:pt x="115" y="889"/>
                    <a:pt x="116" y="890"/>
                  </a:cubicBezTo>
                  <a:cubicBezTo>
                    <a:pt x="119" y="895"/>
                    <a:pt x="121" y="901"/>
                    <a:pt x="119" y="907"/>
                  </a:cubicBezTo>
                  <a:cubicBezTo>
                    <a:pt x="119" y="907"/>
                    <a:pt x="120" y="908"/>
                    <a:pt x="120" y="908"/>
                  </a:cubicBezTo>
                  <a:cubicBezTo>
                    <a:pt x="122" y="920"/>
                    <a:pt x="120" y="931"/>
                    <a:pt x="115" y="941"/>
                  </a:cubicBezTo>
                  <a:cubicBezTo>
                    <a:pt x="113" y="944"/>
                    <a:pt x="112" y="947"/>
                    <a:pt x="111" y="950"/>
                  </a:cubicBezTo>
                  <a:cubicBezTo>
                    <a:pt x="110" y="952"/>
                    <a:pt x="110" y="954"/>
                    <a:pt x="112" y="956"/>
                  </a:cubicBezTo>
                  <a:cubicBezTo>
                    <a:pt x="117" y="962"/>
                    <a:pt x="119" y="968"/>
                    <a:pt x="118" y="975"/>
                  </a:cubicBezTo>
                  <a:cubicBezTo>
                    <a:pt x="118" y="976"/>
                    <a:pt x="118" y="977"/>
                    <a:pt x="118" y="978"/>
                  </a:cubicBezTo>
                  <a:cubicBezTo>
                    <a:pt x="119" y="979"/>
                    <a:pt x="119" y="980"/>
                    <a:pt x="120" y="980"/>
                  </a:cubicBezTo>
                  <a:cubicBezTo>
                    <a:pt x="124" y="981"/>
                    <a:pt x="128" y="984"/>
                    <a:pt x="133" y="982"/>
                  </a:cubicBezTo>
                  <a:cubicBezTo>
                    <a:pt x="135" y="982"/>
                    <a:pt x="137" y="982"/>
                    <a:pt x="139" y="982"/>
                  </a:cubicBezTo>
                  <a:cubicBezTo>
                    <a:pt x="142" y="981"/>
                    <a:pt x="145" y="983"/>
                    <a:pt x="147" y="985"/>
                  </a:cubicBezTo>
                  <a:cubicBezTo>
                    <a:pt x="149" y="988"/>
                    <a:pt x="151" y="991"/>
                    <a:pt x="153" y="994"/>
                  </a:cubicBezTo>
                  <a:cubicBezTo>
                    <a:pt x="155" y="997"/>
                    <a:pt x="160" y="998"/>
                    <a:pt x="163" y="996"/>
                  </a:cubicBezTo>
                  <a:cubicBezTo>
                    <a:pt x="166" y="995"/>
                    <a:pt x="168" y="994"/>
                    <a:pt x="170" y="992"/>
                  </a:cubicBezTo>
                  <a:cubicBezTo>
                    <a:pt x="176" y="988"/>
                    <a:pt x="182" y="987"/>
                    <a:pt x="189" y="987"/>
                  </a:cubicBezTo>
                  <a:cubicBezTo>
                    <a:pt x="194" y="988"/>
                    <a:pt x="199" y="987"/>
                    <a:pt x="204" y="987"/>
                  </a:cubicBezTo>
                  <a:cubicBezTo>
                    <a:pt x="207" y="987"/>
                    <a:pt x="209" y="985"/>
                    <a:pt x="211" y="983"/>
                  </a:cubicBezTo>
                  <a:cubicBezTo>
                    <a:pt x="213" y="980"/>
                    <a:pt x="215" y="979"/>
                    <a:pt x="218" y="978"/>
                  </a:cubicBezTo>
                  <a:cubicBezTo>
                    <a:pt x="222" y="977"/>
                    <a:pt x="224" y="975"/>
                    <a:pt x="225" y="971"/>
                  </a:cubicBezTo>
                  <a:cubicBezTo>
                    <a:pt x="226" y="967"/>
                    <a:pt x="229" y="963"/>
                    <a:pt x="233" y="959"/>
                  </a:cubicBezTo>
                  <a:cubicBezTo>
                    <a:pt x="234" y="958"/>
                    <a:pt x="235" y="956"/>
                    <a:pt x="234" y="954"/>
                  </a:cubicBezTo>
                  <a:cubicBezTo>
                    <a:pt x="227" y="946"/>
                    <a:pt x="231" y="940"/>
                    <a:pt x="236" y="935"/>
                  </a:cubicBezTo>
                  <a:cubicBezTo>
                    <a:pt x="238" y="933"/>
                    <a:pt x="239" y="931"/>
                    <a:pt x="241" y="930"/>
                  </a:cubicBezTo>
                  <a:cubicBezTo>
                    <a:pt x="245" y="925"/>
                    <a:pt x="249" y="920"/>
                    <a:pt x="256" y="919"/>
                  </a:cubicBezTo>
                  <a:cubicBezTo>
                    <a:pt x="264" y="916"/>
                    <a:pt x="269" y="912"/>
                    <a:pt x="269" y="903"/>
                  </a:cubicBezTo>
                  <a:cubicBezTo>
                    <a:pt x="270" y="900"/>
                    <a:pt x="270" y="897"/>
                    <a:pt x="270" y="894"/>
                  </a:cubicBezTo>
                  <a:cubicBezTo>
                    <a:pt x="271" y="892"/>
                    <a:pt x="271" y="891"/>
                    <a:pt x="271" y="889"/>
                  </a:cubicBezTo>
                  <a:cubicBezTo>
                    <a:pt x="273" y="886"/>
                    <a:pt x="278" y="882"/>
                    <a:pt x="282" y="883"/>
                  </a:cubicBezTo>
                  <a:cubicBezTo>
                    <a:pt x="289" y="884"/>
                    <a:pt x="297" y="884"/>
                    <a:pt x="303" y="889"/>
                  </a:cubicBezTo>
                  <a:cubicBezTo>
                    <a:pt x="306" y="891"/>
                    <a:pt x="310" y="890"/>
                    <a:pt x="312" y="887"/>
                  </a:cubicBezTo>
                  <a:cubicBezTo>
                    <a:pt x="317" y="882"/>
                    <a:pt x="322" y="879"/>
                    <a:pt x="328" y="877"/>
                  </a:cubicBezTo>
                  <a:cubicBezTo>
                    <a:pt x="330" y="876"/>
                    <a:pt x="332" y="874"/>
                    <a:pt x="333" y="873"/>
                  </a:cubicBezTo>
                  <a:cubicBezTo>
                    <a:pt x="337" y="869"/>
                    <a:pt x="342" y="868"/>
                    <a:pt x="347" y="870"/>
                  </a:cubicBezTo>
                  <a:cubicBezTo>
                    <a:pt x="352" y="872"/>
                    <a:pt x="355" y="874"/>
                    <a:pt x="358" y="879"/>
                  </a:cubicBezTo>
                  <a:cubicBezTo>
                    <a:pt x="360" y="883"/>
                    <a:pt x="362" y="886"/>
                    <a:pt x="364" y="890"/>
                  </a:cubicBezTo>
                  <a:cubicBezTo>
                    <a:pt x="370" y="896"/>
                    <a:pt x="377" y="901"/>
                    <a:pt x="383" y="908"/>
                  </a:cubicBezTo>
                  <a:cubicBezTo>
                    <a:pt x="388" y="913"/>
                    <a:pt x="393" y="917"/>
                    <a:pt x="400" y="918"/>
                  </a:cubicBezTo>
                  <a:cubicBezTo>
                    <a:pt x="407" y="920"/>
                    <a:pt x="413" y="926"/>
                    <a:pt x="419" y="929"/>
                  </a:cubicBezTo>
                  <a:cubicBezTo>
                    <a:pt x="421" y="933"/>
                    <a:pt x="425" y="935"/>
                    <a:pt x="429" y="937"/>
                  </a:cubicBezTo>
                  <a:cubicBezTo>
                    <a:pt x="430" y="938"/>
                    <a:pt x="432" y="939"/>
                    <a:pt x="432" y="941"/>
                  </a:cubicBezTo>
                  <a:cubicBezTo>
                    <a:pt x="434" y="944"/>
                    <a:pt x="435" y="948"/>
                    <a:pt x="437" y="952"/>
                  </a:cubicBezTo>
                  <a:cubicBezTo>
                    <a:pt x="437" y="953"/>
                    <a:pt x="437" y="954"/>
                    <a:pt x="437" y="955"/>
                  </a:cubicBezTo>
                  <a:cubicBezTo>
                    <a:pt x="435" y="960"/>
                    <a:pt x="434" y="964"/>
                    <a:pt x="427" y="965"/>
                  </a:cubicBezTo>
                  <a:cubicBezTo>
                    <a:pt x="417" y="967"/>
                    <a:pt x="408" y="968"/>
                    <a:pt x="398" y="967"/>
                  </a:cubicBezTo>
                  <a:cubicBezTo>
                    <a:pt x="396" y="967"/>
                    <a:pt x="395" y="968"/>
                    <a:pt x="393" y="969"/>
                  </a:cubicBezTo>
                  <a:cubicBezTo>
                    <a:pt x="392" y="969"/>
                    <a:pt x="392" y="970"/>
                    <a:pt x="391" y="971"/>
                  </a:cubicBezTo>
                  <a:cubicBezTo>
                    <a:pt x="391" y="972"/>
                    <a:pt x="391" y="974"/>
                    <a:pt x="392" y="974"/>
                  </a:cubicBezTo>
                  <a:cubicBezTo>
                    <a:pt x="395" y="976"/>
                    <a:pt x="399" y="978"/>
                    <a:pt x="402" y="979"/>
                  </a:cubicBezTo>
                  <a:cubicBezTo>
                    <a:pt x="409" y="983"/>
                    <a:pt x="416" y="986"/>
                    <a:pt x="422" y="989"/>
                  </a:cubicBezTo>
                  <a:cubicBezTo>
                    <a:pt x="424" y="990"/>
                    <a:pt x="426" y="989"/>
                    <a:pt x="427" y="987"/>
                  </a:cubicBezTo>
                  <a:cubicBezTo>
                    <a:pt x="427" y="986"/>
                    <a:pt x="428" y="985"/>
                    <a:pt x="428" y="983"/>
                  </a:cubicBezTo>
                  <a:cubicBezTo>
                    <a:pt x="428" y="981"/>
                    <a:pt x="427" y="979"/>
                    <a:pt x="427" y="977"/>
                  </a:cubicBezTo>
                  <a:cubicBezTo>
                    <a:pt x="427" y="974"/>
                    <a:pt x="430" y="971"/>
                    <a:pt x="434" y="971"/>
                  </a:cubicBezTo>
                  <a:cubicBezTo>
                    <a:pt x="437" y="971"/>
                    <a:pt x="440" y="970"/>
                    <a:pt x="442" y="967"/>
                  </a:cubicBezTo>
                  <a:cubicBezTo>
                    <a:pt x="444" y="963"/>
                    <a:pt x="447" y="958"/>
                    <a:pt x="450" y="954"/>
                  </a:cubicBezTo>
                  <a:cubicBezTo>
                    <a:pt x="451" y="951"/>
                    <a:pt x="451" y="948"/>
                    <a:pt x="449" y="945"/>
                  </a:cubicBezTo>
                  <a:cubicBezTo>
                    <a:pt x="448" y="944"/>
                    <a:pt x="447" y="942"/>
                    <a:pt x="447" y="941"/>
                  </a:cubicBezTo>
                  <a:cubicBezTo>
                    <a:pt x="446" y="939"/>
                    <a:pt x="446" y="937"/>
                    <a:pt x="447" y="935"/>
                  </a:cubicBezTo>
                  <a:cubicBezTo>
                    <a:pt x="448" y="932"/>
                    <a:pt x="452" y="930"/>
                    <a:pt x="455" y="932"/>
                  </a:cubicBezTo>
                  <a:cubicBezTo>
                    <a:pt x="458" y="934"/>
                    <a:pt x="460" y="936"/>
                    <a:pt x="463" y="938"/>
                  </a:cubicBezTo>
                  <a:cubicBezTo>
                    <a:pt x="463" y="938"/>
                    <a:pt x="465" y="938"/>
                    <a:pt x="465" y="937"/>
                  </a:cubicBezTo>
                  <a:cubicBezTo>
                    <a:pt x="468" y="934"/>
                    <a:pt x="467" y="930"/>
                    <a:pt x="465" y="929"/>
                  </a:cubicBezTo>
                  <a:cubicBezTo>
                    <a:pt x="456" y="924"/>
                    <a:pt x="449" y="917"/>
                    <a:pt x="439" y="914"/>
                  </a:cubicBezTo>
                  <a:cubicBezTo>
                    <a:pt x="436" y="914"/>
                    <a:pt x="435" y="912"/>
                    <a:pt x="435" y="909"/>
                  </a:cubicBezTo>
                  <a:cubicBezTo>
                    <a:pt x="435" y="908"/>
                    <a:pt x="434" y="907"/>
                    <a:pt x="433" y="906"/>
                  </a:cubicBezTo>
                  <a:cubicBezTo>
                    <a:pt x="431" y="906"/>
                    <a:pt x="429" y="905"/>
                    <a:pt x="427" y="905"/>
                  </a:cubicBezTo>
                  <a:cubicBezTo>
                    <a:pt x="422" y="905"/>
                    <a:pt x="418" y="903"/>
                    <a:pt x="414" y="899"/>
                  </a:cubicBezTo>
                  <a:cubicBezTo>
                    <a:pt x="412" y="896"/>
                    <a:pt x="409" y="893"/>
                    <a:pt x="408" y="890"/>
                  </a:cubicBezTo>
                  <a:cubicBezTo>
                    <a:pt x="405" y="884"/>
                    <a:pt x="400" y="880"/>
                    <a:pt x="395" y="876"/>
                  </a:cubicBezTo>
                  <a:cubicBezTo>
                    <a:pt x="393" y="874"/>
                    <a:pt x="391" y="873"/>
                    <a:pt x="389" y="871"/>
                  </a:cubicBezTo>
                  <a:cubicBezTo>
                    <a:pt x="386" y="869"/>
                    <a:pt x="385" y="866"/>
                    <a:pt x="385" y="863"/>
                  </a:cubicBezTo>
                  <a:cubicBezTo>
                    <a:pt x="385" y="860"/>
                    <a:pt x="385" y="858"/>
                    <a:pt x="385" y="855"/>
                  </a:cubicBezTo>
                  <a:cubicBezTo>
                    <a:pt x="385" y="853"/>
                    <a:pt x="386" y="852"/>
                    <a:pt x="388" y="851"/>
                  </a:cubicBezTo>
                  <a:cubicBezTo>
                    <a:pt x="390" y="850"/>
                    <a:pt x="393" y="849"/>
                    <a:pt x="395" y="848"/>
                  </a:cubicBezTo>
                  <a:cubicBezTo>
                    <a:pt x="396" y="848"/>
                    <a:pt x="398" y="849"/>
                    <a:pt x="398" y="850"/>
                  </a:cubicBezTo>
                  <a:cubicBezTo>
                    <a:pt x="399" y="852"/>
                    <a:pt x="399" y="855"/>
                    <a:pt x="400" y="857"/>
                  </a:cubicBezTo>
                  <a:cubicBezTo>
                    <a:pt x="401" y="859"/>
                    <a:pt x="402" y="861"/>
                    <a:pt x="405" y="861"/>
                  </a:cubicBezTo>
                  <a:cubicBezTo>
                    <a:pt x="408" y="860"/>
                    <a:pt x="411" y="863"/>
                    <a:pt x="414" y="863"/>
                  </a:cubicBezTo>
                  <a:cubicBezTo>
                    <a:pt x="416" y="862"/>
                    <a:pt x="418" y="864"/>
                    <a:pt x="419" y="866"/>
                  </a:cubicBezTo>
                  <a:cubicBezTo>
                    <a:pt x="421" y="873"/>
                    <a:pt x="426" y="877"/>
                    <a:pt x="432" y="881"/>
                  </a:cubicBezTo>
                  <a:cubicBezTo>
                    <a:pt x="437" y="884"/>
                    <a:pt x="442" y="888"/>
                    <a:pt x="448" y="888"/>
                  </a:cubicBezTo>
                  <a:cubicBezTo>
                    <a:pt x="451" y="890"/>
                    <a:pt x="453" y="893"/>
                    <a:pt x="457" y="893"/>
                  </a:cubicBezTo>
                  <a:cubicBezTo>
                    <a:pt x="461" y="894"/>
                    <a:pt x="464" y="896"/>
                    <a:pt x="466" y="899"/>
                  </a:cubicBezTo>
                  <a:cubicBezTo>
                    <a:pt x="470" y="902"/>
                    <a:pt x="472" y="905"/>
                    <a:pt x="475" y="908"/>
                  </a:cubicBezTo>
                  <a:cubicBezTo>
                    <a:pt x="477" y="910"/>
                    <a:pt x="478" y="911"/>
                    <a:pt x="477" y="914"/>
                  </a:cubicBezTo>
                  <a:cubicBezTo>
                    <a:pt x="477" y="917"/>
                    <a:pt x="478" y="920"/>
                    <a:pt x="477" y="923"/>
                  </a:cubicBezTo>
                  <a:cubicBezTo>
                    <a:pt x="477" y="929"/>
                    <a:pt x="478" y="933"/>
                    <a:pt x="483" y="937"/>
                  </a:cubicBezTo>
                  <a:cubicBezTo>
                    <a:pt x="483" y="937"/>
                    <a:pt x="484" y="938"/>
                    <a:pt x="484" y="938"/>
                  </a:cubicBezTo>
                  <a:cubicBezTo>
                    <a:pt x="482" y="943"/>
                    <a:pt x="486" y="944"/>
                    <a:pt x="489" y="947"/>
                  </a:cubicBezTo>
                  <a:cubicBezTo>
                    <a:pt x="492" y="949"/>
                    <a:pt x="494" y="951"/>
                    <a:pt x="496" y="953"/>
                  </a:cubicBezTo>
                  <a:cubicBezTo>
                    <a:pt x="497" y="958"/>
                    <a:pt x="502" y="960"/>
                    <a:pt x="502" y="965"/>
                  </a:cubicBezTo>
                  <a:cubicBezTo>
                    <a:pt x="504" y="966"/>
                    <a:pt x="504" y="967"/>
                    <a:pt x="502" y="968"/>
                  </a:cubicBezTo>
                  <a:cubicBezTo>
                    <a:pt x="502" y="969"/>
                    <a:pt x="502" y="970"/>
                    <a:pt x="503" y="972"/>
                  </a:cubicBezTo>
                  <a:cubicBezTo>
                    <a:pt x="507" y="974"/>
                    <a:pt x="511" y="978"/>
                    <a:pt x="512" y="983"/>
                  </a:cubicBezTo>
                  <a:cubicBezTo>
                    <a:pt x="512" y="984"/>
                    <a:pt x="514" y="986"/>
                    <a:pt x="515" y="986"/>
                  </a:cubicBezTo>
                  <a:cubicBezTo>
                    <a:pt x="519" y="988"/>
                    <a:pt x="524" y="989"/>
                    <a:pt x="528" y="989"/>
                  </a:cubicBezTo>
                  <a:cubicBezTo>
                    <a:pt x="530" y="988"/>
                    <a:pt x="532" y="987"/>
                    <a:pt x="531" y="986"/>
                  </a:cubicBezTo>
                  <a:cubicBezTo>
                    <a:pt x="528" y="981"/>
                    <a:pt x="534" y="977"/>
                    <a:pt x="534" y="973"/>
                  </a:cubicBezTo>
                  <a:cubicBezTo>
                    <a:pt x="534" y="973"/>
                    <a:pt x="535" y="972"/>
                    <a:pt x="535" y="972"/>
                  </a:cubicBezTo>
                  <a:cubicBezTo>
                    <a:pt x="539" y="974"/>
                    <a:pt x="542" y="970"/>
                    <a:pt x="546" y="969"/>
                  </a:cubicBezTo>
                  <a:cubicBezTo>
                    <a:pt x="547" y="969"/>
                    <a:pt x="547" y="968"/>
                    <a:pt x="547" y="967"/>
                  </a:cubicBezTo>
                  <a:cubicBezTo>
                    <a:pt x="546" y="963"/>
                    <a:pt x="544" y="959"/>
                    <a:pt x="540" y="957"/>
                  </a:cubicBezTo>
                  <a:cubicBezTo>
                    <a:pt x="538" y="956"/>
                    <a:pt x="536" y="955"/>
                    <a:pt x="535" y="953"/>
                  </a:cubicBezTo>
                  <a:cubicBezTo>
                    <a:pt x="530" y="948"/>
                    <a:pt x="526" y="942"/>
                    <a:pt x="523" y="936"/>
                  </a:cubicBezTo>
                  <a:cubicBezTo>
                    <a:pt x="522" y="936"/>
                    <a:pt x="522" y="934"/>
                    <a:pt x="522" y="933"/>
                  </a:cubicBezTo>
                  <a:cubicBezTo>
                    <a:pt x="522" y="933"/>
                    <a:pt x="522" y="932"/>
                    <a:pt x="523" y="932"/>
                  </a:cubicBezTo>
                  <a:cubicBezTo>
                    <a:pt x="523" y="931"/>
                    <a:pt x="524" y="931"/>
                    <a:pt x="525" y="931"/>
                  </a:cubicBezTo>
                  <a:cubicBezTo>
                    <a:pt x="526" y="932"/>
                    <a:pt x="527" y="933"/>
                    <a:pt x="528" y="934"/>
                  </a:cubicBezTo>
                  <a:cubicBezTo>
                    <a:pt x="532" y="937"/>
                    <a:pt x="537" y="936"/>
                    <a:pt x="539" y="931"/>
                  </a:cubicBezTo>
                  <a:cubicBezTo>
                    <a:pt x="540" y="929"/>
                    <a:pt x="540" y="927"/>
                    <a:pt x="541" y="925"/>
                  </a:cubicBezTo>
                  <a:cubicBezTo>
                    <a:pt x="542" y="924"/>
                    <a:pt x="543" y="924"/>
                    <a:pt x="544" y="924"/>
                  </a:cubicBezTo>
                  <a:cubicBezTo>
                    <a:pt x="546" y="925"/>
                    <a:pt x="548" y="925"/>
                    <a:pt x="550" y="924"/>
                  </a:cubicBezTo>
                  <a:cubicBezTo>
                    <a:pt x="553" y="921"/>
                    <a:pt x="556" y="922"/>
                    <a:pt x="560" y="922"/>
                  </a:cubicBezTo>
                  <a:cubicBezTo>
                    <a:pt x="564" y="923"/>
                    <a:pt x="568" y="926"/>
                    <a:pt x="568" y="931"/>
                  </a:cubicBezTo>
                  <a:cubicBezTo>
                    <a:pt x="568" y="937"/>
                    <a:pt x="568" y="943"/>
                    <a:pt x="566" y="949"/>
                  </a:cubicBezTo>
                  <a:cubicBezTo>
                    <a:pt x="566" y="950"/>
                    <a:pt x="567" y="952"/>
                    <a:pt x="569" y="952"/>
                  </a:cubicBezTo>
                  <a:cubicBezTo>
                    <a:pt x="571" y="952"/>
                    <a:pt x="572" y="952"/>
                    <a:pt x="574" y="952"/>
                  </a:cubicBezTo>
                  <a:cubicBezTo>
                    <a:pt x="574" y="952"/>
                    <a:pt x="575" y="952"/>
                    <a:pt x="576" y="952"/>
                  </a:cubicBezTo>
                  <a:cubicBezTo>
                    <a:pt x="576" y="952"/>
                    <a:pt x="577" y="953"/>
                    <a:pt x="577" y="953"/>
                  </a:cubicBezTo>
                  <a:cubicBezTo>
                    <a:pt x="577" y="954"/>
                    <a:pt x="577" y="955"/>
                    <a:pt x="576" y="956"/>
                  </a:cubicBezTo>
                  <a:cubicBezTo>
                    <a:pt x="575" y="959"/>
                    <a:pt x="571" y="959"/>
                    <a:pt x="568" y="960"/>
                  </a:cubicBezTo>
                  <a:cubicBezTo>
                    <a:pt x="568" y="960"/>
                    <a:pt x="567" y="961"/>
                    <a:pt x="567" y="961"/>
                  </a:cubicBezTo>
                  <a:cubicBezTo>
                    <a:pt x="566" y="962"/>
                    <a:pt x="567" y="963"/>
                    <a:pt x="568" y="964"/>
                  </a:cubicBezTo>
                  <a:cubicBezTo>
                    <a:pt x="570" y="965"/>
                    <a:pt x="572" y="966"/>
                    <a:pt x="574" y="967"/>
                  </a:cubicBezTo>
                  <a:cubicBezTo>
                    <a:pt x="575" y="967"/>
                    <a:pt x="577" y="968"/>
                    <a:pt x="578" y="969"/>
                  </a:cubicBezTo>
                  <a:cubicBezTo>
                    <a:pt x="580" y="971"/>
                    <a:pt x="576" y="973"/>
                    <a:pt x="578" y="974"/>
                  </a:cubicBezTo>
                  <a:cubicBezTo>
                    <a:pt x="580" y="976"/>
                    <a:pt x="583" y="977"/>
                    <a:pt x="585" y="980"/>
                  </a:cubicBezTo>
                  <a:cubicBezTo>
                    <a:pt x="586" y="983"/>
                    <a:pt x="589" y="985"/>
                    <a:pt x="591" y="987"/>
                  </a:cubicBezTo>
                  <a:cubicBezTo>
                    <a:pt x="593" y="988"/>
                    <a:pt x="595" y="989"/>
                    <a:pt x="597" y="988"/>
                  </a:cubicBezTo>
                  <a:cubicBezTo>
                    <a:pt x="602" y="987"/>
                    <a:pt x="606" y="988"/>
                    <a:pt x="609" y="992"/>
                  </a:cubicBezTo>
                  <a:cubicBezTo>
                    <a:pt x="610" y="993"/>
                    <a:pt x="612" y="994"/>
                    <a:pt x="613" y="995"/>
                  </a:cubicBezTo>
                  <a:cubicBezTo>
                    <a:pt x="614" y="995"/>
                    <a:pt x="615" y="996"/>
                    <a:pt x="616" y="996"/>
                  </a:cubicBezTo>
                  <a:cubicBezTo>
                    <a:pt x="621" y="995"/>
                    <a:pt x="627" y="995"/>
                    <a:pt x="631" y="990"/>
                  </a:cubicBezTo>
                  <a:cubicBezTo>
                    <a:pt x="634" y="987"/>
                    <a:pt x="637" y="987"/>
                    <a:pt x="641" y="988"/>
                  </a:cubicBezTo>
                  <a:cubicBezTo>
                    <a:pt x="645" y="988"/>
                    <a:pt x="648" y="990"/>
                    <a:pt x="651" y="993"/>
                  </a:cubicBezTo>
                  <a:cubicBezTo>
                    <a:pt x="656" y="997"/>
                    <a:pt x="661" y="997"/>
                    <a:pt x="666" y="996"/>
                  </a:cubicBezTo>
                  <a:cubicBezTo>
                    <a:pt x="673" y="995"/>
                    <a:pt x="678" y="992"/>
                    <a:pt x="682" y="988"/>
                  </a:cubicBezTo>
                  <a:cubicBezTo>
                    <a:pt x="683" y="986"/>
                    <a:pt x="685" y="985"/>
                    <a:pt x="688" y="986"/>
                  </a:cubicBezTo>
                  <a:cubicBezTo>
                    <a:pt x="692" y="988"/>
                    <a:pt x="696" y="987"/>
                    <a:pt x="700" y="988"/>
                  </a:cubicBezTo>
                  <a:cubicBezTo>
                    <a:pt x="700" y="988"/>
                    <a:pt x="700" y="987"/>
                    <a:pt x="701" y="987"/>
                  </a:cubicBezTo>
                  <a:cubicBezTo>
                    <a:pt x="701" y="987"/>
                    <a:pt x="701" y="987"/>
                    <a:pt x="701" y="987"/>
                  </a:cubicBezTo>
                  <a:cubicBezTo>
                    <a:pt x="701" y="988"/>
                    <a:pt x="701" y="988"/>
                    <a:pt x="701" y="988"/>
                  </a:cubicBezTo>
                  <a:cubicBezTo>
                    <a:pt x="701" y="988"/>
                    <a:pt x="701" y="988"/>
                    <a:pt x="700" y="988"/>
                  </a:cubicBezTo>
                  <a:cubicBezTo>
                    <a:pt x="698" y="993"/>
                    <a:pt x="699" y="999"/>
                    <a:pt x="700" y="1004"/>
                  </a:cubicBezTo>
                  <a:cubicBezTo>
                    <a:pt x="701" y="1010"/>
                    <a:pt x="701" y="1015"/>
                    <a:pt x="699" y="1020"/>
                  </a:cubicBezTo>
                  <a:cubicBezTo>
                    <a:pt x="698" y="1024"/>
                    <a:pt x="697" y="1028"/>
                    <a:pt x="695" y="1032"/>
                  </a:cubicBezTo>
                  <a:cubicBezTo>
                    <a:pt x="693" y="1037"/>
                    <a:pt x="690" y="1042"/>
                    <a:pt x="689" y="1048"/>
                  </a:cubicBezTo>
                  <a:cubicBezTo>
                    <a:pt x="688" y="1053"/>
                    <a:pt x="685" y="1058"/>
                    <a:pt x="682" y="1062"/>
                  </a:cubicBezTo>
                  <a:cubicBezTo>
                    <a:pt x="680" y="1063"/>
                    <a:pt x="679" y="1065"/>
                    <a:pt x="676" y="1065"/>
                  </a:cubicBezTo>
                  <a:cubicBezTo>
                    <a:pt x="668" y="1065"/>
                    <a:pt x="660" y="1066"/>
                    <a:pt x="652" y="1063"/>
                  </a:cubicBezTo>
                  <a:cubicBezTo>
                    <a:pt x="649" y="1062"/>
                    <a:pt x="646" y="1062"/>
                    <a:pt x="642" y="1061"/>
                  </a:cubicBezTo>
                  <a:cubicBezTo>
                    <a:pt x="635" y="1061"/>
                    <a:pt x="628" y="1063"/>
                    <a:pt x="622" y="1067"/>
                  </a:cubicBezTo>
                  <a:cubicBezTo>
                    <a:pt x="619" y="1068"/>
                    <a:pt x="616" y="1068"/>
                    <a:pt x="612" y="1068"/>
                  </a:cubicBezTo>
                  <a:cubicBezTo>
                    <a:pt x="601" y="1065"/>
                    <a:pt x="589" y="1062"/>
                    <a:pt x="577" y="1061"/>
                  </a:cubicBezTo>
                  <a:cubicBezTo>
                    <a:pt x="573" y="1060"/>
                    <a:pt x="568" y="1060"/>
                    <a:pt x="564" y="1058"/>
                  </a:cubicBezTo>
                  <a:cubicBezTo>
                    <a:pt x="559" y="1055"/>
                    <a:pt x="553" y="1054"/>
                    <a:pt x="547" y="1053"/>
                  </a:cubicBezTo>
                  <a:cubicBezTo>
                    <a:pt x="542" y="1052"/>
                    <a:pt x="538" y="1050"/>
                    <a:pt x="534" y="1047"/>
                  </a:cubicBezTo>
                  <a:cubicBezTo>
                    <a:pt x="532" y="1045"/>
                    <a:pt x="530" y="1044"/>
                    <a:pt x="528" y="1044"/>
                  </a:cubicBezTo>
                  <a:cubicBezTo>
                    <a:pt x="519" y="1042"/>
                    <a:pt x="510" y="1042"/>
                    <a:pt x="501" y="1046"/>
                  </a:cubicBezTo>
                  <a:cubicBezTo>
                    <a:pt x="495" y="1049"/>
                    <a:pt x="490" y="1057"/>
                    <a:pt x="492" y="1063"/>
                  </a:cubicBezTo>
                  <a:cubicBezTo>
                    <a:pt x="493" y="1065"/>
                    <a:pt x="494" y="1067"/>
                    <a:pt x="494" y="1069"/>
                  </a:cubicBezTo>
                  <a:cubicBezTo>
                    <a:pt x="495" y="1071"/>
                    <a:pt x="494" y="1073"/>
                    <a:pt x="493" y="1075"/>
                  </a:cubicBezTo>
                  <a:cubicBezTo>
                    <a:pt x="492" y="1076"/>
                    <a:pt x="490" y="1077"/>
                    <a:pt x="489" y="1078"/>
                  </a:cubicBezTo>
                  <a:cubicBezTo>
                    <a:pt x="486" y="1081"/>
                    <a:pt x="482" y="1082"/>
                    <a:pt x="479" y="1080"/>
                  </a:cubicBezTo>
                  <a:cubicBezTo>
                    <a:pt x="477" y="1079"/>
                    <a:pt x="475" y="1078"/>
                    <a:pt x="473" y="1076"/>
                  </a:cubicBezTo>
                  <a:cubicBezTo>
                    <a:pt x="470" y="1075"/>
                    <a:pt x="468" y="1073"/>
                    <a:pt x="465" y="1071"/>
                  </a:cubicBezTo>
                  <a:cubicBezTo>
                    <a:pt x="458" y="1068"/>
                    <a:pt x="451" y="1065"/>
                    <a:pt x="443" y="1065"/>
                  </a:cubicBezTo>
                  <a:cubicBezTo>
                    <a:pt x="439" y="1065"/>
                    <a:pt x="437" y="1063"/>
                    <a:pt x="435" y="1060"/>
                  </a:cubicBezTo>
                  <a:cubicBezTo>
                    <a:pt x="434" y="1058"/>
                    <a:pt x="434" y="1056"/>
                    <a:pt x="433" y="1054"/>
                  </a:cubicBezTo>
                  <a:cubicBezTo>
                    <a:pt x="432" y="1051"/>
                    <a:pt x="429" y="1049"/>
                    <a:pt x="426" y="1048"/>
                  </a:cubicBezTo>
                  <a:cubicBezTo>
                    <a:pt x="417" y="1045"/>
                    <a:pt x="407" y="1042"/>
                    <a:pt x="397" y="1043"/>
                  </a:cubicBezTo>
                  <a:cubicBezTo>
                    <a:pt x="391" y="1044"/>
                    <a:pt x="386" y="1041"/>
                    <a:pt x="381" y="1039"/>
                  </a:cubicBezTo>
                  <a:cubicBezTo>
                    <a:pt x="381" y="1039"/>
                    <a:pt x="380" y="1039"/>
                    <a:pt x="380" y="1039"/>
                  </a:cubicBezTo>
                  <a:cubicBezTo>
                    <a:pt x="376" y="1035"/>
                    <a:pt x="371" y="1033"/>
                    <a:pt x="366" y="1031"/>
                  </a:cubicBezTo>
                  <a:cubicBezTo>
                    <a:pt x="364" y="1030"/>
                    <a:pt x="363" y="1026"/>
                    <a:pt x="364" y="1024"/>
                  </a:cubicBezTo>
                  <a:cubicBezTo>
                    <a:pt x="367" y="1022"/>
                    <a:pt x="369" y="1020"/>
                    <a:pt x="371" y="1018"/>
                  </a:cubicBezTo>
                  <a:cubicBezTo>
                    <a:pt x="375" y="1014"/>
                    <a:pt x="375" y="1010"/>
                    <a:pt x="373" y="1006"/>
                  </a:cubicBezTo>
                  <a:cubicBezTo>
                    <a:pt x="372" y="1003"/>
                    <a:pt x="370" y="1002"/>
                    <a:pt x="368" y="999"/>
                  </a:cubicBezTo>
                  <a:cubicBezTo>
                    <a:pt x="368" y="999"/>
                    <a:pt x="368" y="997"/>
                    <a:pt x="368" y="996"/>
                  </a:cubicBezTo>
                  <a:cubicBezTo>
                    <a:pt x="369" y="993"/>
                    <a:pt x="371" y="991"/>
                    <a:pt x="372" y="988"/>
                  </a:cubicBezTo>
                  <a:cubicBezTo>
                    <a:pt x="373" y="986"/>
                    <a:pt x="371" y="985"/>
                    <a:pt x="369" y="985"/>
                  </a:cubicBezTo>
                  <a:cubicBezTo>
                    <a:pt x="366" y="986"/>
                    <a:pt x="364" y="986"/>
                    <a:pt x="362" y="983"/>
                  </a:cubicBezTo>
                  <a:cubicBezTo>
                    <a:pt x="359" y="980"/>
                    <a:pt x="354" y="980"/>
                    <a:pt x="350" y="981"/>
                  </a:cubicBezTo>
                  <a:cubicBezTo>
                    <a:pt x="345" y="982"/>
                    <a:pt x="341" y="984"/>
                    <a:pt x="337" y="985"/>
                  </a:cubicBezTo>
                  <a:cubicBezTo>
                    <a:pt x="335" y="985"/>
                    <a:pt x="332" y="985"/>
                    <a:pt x="329" y="985"/>
                  </a:cubicBezTo>
                  <a:cubicBezTo>
                    <a:pt x="325" y="982"/>
                    <a:pt x="320" y="987"/>
                    <a:pt x="316" y="985"/>
                  </a:cubicBezTo>
                  <a:cubicBezTo>
                    <a:pt x="312" y="982"/>
                    <a:pt x="308" y="986"/>
                    <a:pt x="304" y="986"/>
                  </a:cubicBezTo>
                  <a:cubicBezTo>
                    <a:pt x="301" y="987"/>
                    <a:pt x="297" y="987"/>
                    <a:pt x="294" y="987"/>
                  </a:cubicBezTo>
                  <a:cubicBezTo>
                    <a:pt x="286" y="985"/>
                    <a:pt x="277" y="986"/>
                    <a:pt x="270" y="988"/>
                  </a:cubicBezTo>
                  <a:cubicBezTo>
                    <a:pt x="265" y="990"/>
                    <a:pt x="261" y="989"/>
                    <a:pt x="256" y="990"/>
                  </a:cubicBezTo>
                  <a:cubicBezTo>
                    <a:pt x="253" y="990"/>
                    <a:pt x="249" y="991"/>
                    <a:pt x="245" y="992"/>
                  </a:cubicBezTo>
                  <a:cubicBezTo>
                    <a:pt x="240" y="995"/>
                    <a:pt x="234" y="998"/>
                    <a:pt x="228" y="1001"/>
                  </a:cubicBezTo>
                  <a:cubicBezTo>
                    <a:pt x="223" y="1002"/>
                    <a:pt x="219" y="1004"/>
                    <a:pt x="215" y="1008"/>
                  </a:cubicBezTo>
                  <a:cubicBezTo>
                    <a:pt x="211" y="1012"/>
                    <a:pt x="205" y="1012"/>
                    <a:pt x="200" y="1010"/>
                  </a:cubicBezTo>
                  <a:cubicBezTo>
                    <a:pt x="195" y="1008"/>
                    <a:pt x="191" y="1008"/>
                    <a:pt x="187" y="1008"/>
                  </a:cubicBezTo>
                  <a:cubicBezTo>
                    <a:pt x="183" y="1009"/>
                    <a:pt x="178" y="1009"/>
                    <a:pt x="174" y="1009"/>
                  </a:cubicBezTo>
                  <a:cubicBezTo>
                    <a:pt x="172" y="1008"/>
                    <a:pt x="170" y="1007"/>
                    <a:pt x="168" y="1006"/>
                  </a:cubicBezTo>
                  <a:cubicBezTo>
                    <a:pt x="167" y="1006"/>
                    <a:pt x="166" y="1005"/>
                    <a:pt x="166" y="1004"/>
                  </a:cubicBezTo>
                  <a:cubicBezTo>
                    <a:pt x="161" y="1000"/>
                    <a:pt x="157" y="1001"/>
                    <a:pt x="155" y="1006"/>
                  </a:cubicBezTo>
                  <a:cubicBezTo>
                    <a:pt x="154" y="1009"/>
                    <a:pt x="152" y="1012"/>
                    <a:pt x="152" y="1015"/>
                  </a:cubicBezTo>
                  <a:cubicBezTo>
                    <a:pt x="150" y="1023"/>
                    <a:pt x="145" y="1027"/>
                    <a:pt x="139" y="1030"/>
                  </a:cubicBezTo>
                  <a:cubicBezTo>
                    <a:pt x="133" y="1033"/>
                    <a:pt x="127" y="1037"/>
                    <a:pt x="122" y="1040"/>
                  </a:cubicBezTo>
                  <a:cubicBezTo>
                    <a:pt x="117" y="1043"/>
                    <a:pt x="112" y="1047"/>
                    <a:pt x="112" y="1053"/>
                  </a:cubicBezTo>
                  <a:cubicBezTo>
                    <a:pt x="112" y="1056"/>
                    <a:pt x="110" y="1058"/>
                    <a:pt x="108" y="1060"/>
                  </a:cubicBezTo>
                  <a:cubicBezTo>
                    <a:pt x="105" y="1064"/>
                    <a:pt x="104" y="1068"/>
                    <a:pt x="105" y="1072"/>
                  </a:cubicBezTo>
                  <a:cubicBezTo>
                    <a:pt x="105" y="1075"/>
                    <a:pt x="105" y="1078"/>
                    <a:pt x="105" y="1081"/>
                  </a:cubicBezTo>
                  <a:cubicBezTo>
                    <a:pt x="105" y="1084"/>
                    <a:pt x="104" y="1087"/>
                    <a:pt x="103" y="1089"/>
                  </a:cubicBezTo>
                  <a:cubicBezTo>
                    <a:pt x="101" y="1092"/>
                    <a:pt x="98" y="1095"/>
                    <a:pt x="96" y="1098"/>
                  </a:cubicBezTo>
                  <a:cubicBezTo>
                    <a:pt x="95" y="1099"/>
                    <a:pt x="93" y="1101"/>
                    <a:pt x="91" y="1102"/>
                  </a:cubicBezTo>
                  <a:cubicBezTo>
                    <a:pt x="89" y="1104"/>
                    <a:pt x="86" y="1105"/>
                    <a:pt x="83" y="1107"/>
                  </a:cubicBezTo>
                  <a:cubicBezTo>
                    <a:pt x="80" y="1110"/>
                    <a:pt x="76" y="1112"/>
                    <a:pt x="71" y="1112"/>
                  </a:cubicBezTo>
                  <a:cubicBezTo>
                    <a:pt x="67" y="1113"/>
                    <a:pt x="64" y="1115"/>
                    <a:pt x="62" y="1118"/>
                  </a:cubicBezTo>
                  <a:cubicBezTo>
                    <a:pt x="61" y="1120"/>
                    <a:pt x="59" y="1121"/>
                    <a:pt x="58" y="1123"/>
                  </a:cubicBezTo>
                  <a:cubicBezTo>
                    <a:pt x="57" y="1127"/>
                    <a:pt x="54" y="1130"/>
                    <a:pt x="50" y="1132"/>
                  </a:cubicBezTo>
                  <a:cubicBezTo>
                    <a:pt x="45" y="1135"/>
                    <a:pt x="43" y="1139"/>
                    <a:pt x="40" y="1143"/>
                  </a:cubicBezTo>
                  <a:cubicBezTo>
                    <a:pt x="36" y="1150"/>
                    <a:pt x="33" y="1158"/>
                    <a:pt x="26" y="1164"/>
                  </a:cubicBezTo>
                  <a:cubicBezTo>
                    <a:pt x="24" y="1165"/>
                    <a:pt x="23" y="1167"/>
                    <a:pt x="22" y="1169"/>
                  </a:cubicBezTo>
                  <a:cubicBezTo>
                    <a:pt x="18" y="1177"/>
                    <a:pt x="14" y="1185"/>
                    <a:pt x="9" y="1192"/>
                  </a:cubicBezTo>
                  <a:cubicBezTo>
                    <a:pt x="7" y="1195"/>
                    <a:pt x="6" y="1199"/>
                    <a:pt x="6" y="1202"/>
                  </a:cubicBezTo>
                  <a:cubicBezTo>
                    <a:pt x="5" y="1207"/>
                    <a:pt x="6" y="1211"/>
                    <a:pt x="10" y="1213"/>
                  </a:cubicBezTo>
                  <a:cubicBezTo>
                    <a:pt x="14" y="1215"/>
                    <a:pt x="15" y="1219"/>
                    <a:pt x="14" y="1223"/>
                  </a:cubicBezTo>
                  <a:cubicBezTo>
                    <a:pt x="13" y="1226"/>
                    <a:pt x="13" y="1230"/>
                    <a:pt x="14" y="1233"/>
                  </a:cubicBezTo>
                  <a:cubicBezTo>
                    <a:pt x="17" y="1242"/>
                    <a:pt x="18" y="1252"/>
                    <a:pt x="13" y="1261"/>
                  </a:cubicBezTo>
                  <a:cubicBezTo>
                    <a:pt x="12" y="1262"/>
                    <a:pt x="12" y="1263"/>
                    <a:pt x="12" y="1264"/>
                  </a:cubicBezTo>
                  <a:cubicBezTo>
                    <a:pt x="10" y="1273"/>
                    <a:pt x="8" y="1282"/>
                    <a:pt x="0" y="1289"/>
                  </a:cubicBezTo>
                  <a:cubicBezTo>
                    <a:pt x="0" y="1290"/>
                    <a:pt x="0" y="1291"/>
                    <a:pt x="0" y="1292"/>
                  </a:cubicBezTo>
                  <a:cubicBezTo>
                    <a:pt x="2" y="1295"/>
                    <a:pt x="4" y="1297"/>
                    <a:pt x="6" y="1300"/>
                  </a:cubicBezTo>
                  <a:cubicBezTo>
                    <a:pt x="7" y="1303"/>
                    <a:pt x="9" y="1305"/>
                    <a:pt x="7" y="1309"/>
                  </a:cubicBezTo>
                  <a:cubicBezTo>
                    <a:pt x="5" y="1313"/>
                    <a:pt x="6" y="1318"/>
                    <a:pt x="9" y="1322"/>
                  </a:cubicBezTo>
                  <a:cubicBezTo>
                    <a:pt x="10" y="1326"/>
                    <a:pt x="13" y="1328"/>
                    <a:pt x="17" y="1330"/>
                  </a:cubicBezTo>
                  <a:cubicBezTo>
                    <a:pt x="20" y="1331"/>
                    <a:pt x="23" y="1332"/>
                    <a:pt x="26" y="1333"/>
                  </a:cubicBezTo>
                  <a:cubicBezTo>
                    <a:pt x="26" y="1333"/>
                    <a:pt x="26" y="1333"/>
                    <a:pt x="26" y="1332"/>
                  </a:cubicBezTo>
                  <a:cubicBezTo>
                    <a:pt x="26" y="1332"/>
                    <a:pt x="26" y="1332"/>
                    <a:pt x="26" y="1332"/>
                  </a:cubicBezTo>
                  <a:cubicBezTo>
                    <a:pt x="26" y="1333"/>
                    <a:pt x="26" y="1333"/>
                    <a:pt x="26" y="1333"/>
                  </a:cubicBezTo>
                  <a:cubicBezTo>
                    <a:pt x="26" y="1333"/>
                    <a:pt x="26" y="1333"/>
                    <a:pt x="26" y="1333"/>
                  </a:cubicBezTo>
                  <a:cubicBezTo>
                    <a:pt x="26" y="1336"/>
                    <a:pt x="27" y="1339"/>
                    <a:pt x="30" y="1340"/>
                  </a:cubicBezTo>
                  <a:cubicBezTo>
                    <a:pt x="33" y="1342"/>
                    <a:pt x="35" y="1344"/>
                    <a:pt x="36" y="1348"/>
                  </a:cubicBezTo>
                  <a:cubicBezTo>
                    <a:pt x="37" y="1350"/>
                    <a:pt x="38" y="1351"/>
                    <a:pt x="40" y="1352"/>
                  </a:cubicBezTo>
                  <a:cubicBezTo>
                    <a:pt x="45" y="1354"/>
                    <a:pt x="49" y="1357"/>
                    <a:pt x="52" y="1361"/>
                  </a:cubicBezTo>
                  <a:cubicBezTo>
                    <a:pt x="53" y="1362"/>
                    <a:pt x="55" y="1364"/>
                    <a:pt x="55" y="1366"/>
                  </a:cubicBezTo>
                  <a:cubicBezTo>
                    <a:pt x="55" y="1373"/>
                    <a:pt x="59" y="1378"/>
                    <a:pt x="62" y="1383"/>
                  </a:cubicBezTo>
                  <a:cubicBezTo>
                    <a:pt x="65" y="1389"/>
                    <a:pt x="70" y="1393"/>
                    <a:pt x="76" y="1396"/>
                  </a:cubicBezTo>
                  <a:cubicBezTo>
                    <a:pt x="81" y="1398"/>
                    <a:pt x="85" y="1400"/>
                    <a:pt x="89" y="1403"/>
                  </a:cubicBezTo>
                  <a:cubicBezTo>
                    <a:pt x="98" y="1410"/>
                    <a:pt x="107" y="1417"/>
                    <a:pt x="117" y="1423"/>
                  </a:cubicBezTo>
                  <a:cubicBezTo>
                    <a:pt x="121" y="1425"/>
                    <a:pt x="126" y="1427"/>
                    <a:pt x="132" y="1429"/>
                  </a:cubicBezTo>
                  <a:cubicBezTo>
                    <a:pt x="133" y="1429"/>
                    <a:pt x="135" y="1429"/>
                    <a:pt x="136" y="1429"/>
                  </a:cubicBezTo>
                  <a:cubicBezTo>
                    <a:pt x="140" y="1427"/>
                    <a:pt x="144" y="1426"/>
                    <a:pt x="147" y="1424"/>
                  </a:cubicBezTo>
                  <a:cubicBezTo>
                    <a:pt x="153" y="1421"/>
                    <a:pt x="159" y="1420"/>
                    <a:pt x="166" y="1420"/>
                  </a:cubicBezTo>
                  <a:cubicBezTo>
                    <a:pt x="170" y="1420"/>
                    <a:pt x="175" y="1420"/>
                    <a:pt x="179" y="1419"/>
                  </a:cubicBezTo>
                  <a:cubicBezTo>
                    <a:pt x="186" y="1418"/>
                    <a:pt x="192" y="1419"/>
                    <a:pt x="198" y="1421"/>
                  </a:cubicBezTo>
                  <a:cubicBezTo>
                    <a:pt x="200" y="1422"/>
                    <a:pt x="201" y="1422"/>
                    <a:pt x="203" y="1423"/>
                  </a:cubicBezTo>
                  <a:cubicBezTo>
                    <a:pt x="206" y="1424"/>
                    <a:pt x="209" y="1424"/>
                    <a:pt x="213" y="1423"/>
                  </a:cubicBezTo>
                  <a:cubicBezTo>
                    <a:pt x="216" y="1421"/>
                    <a:pt x="220" y="1420"/>
                    <a:pt x="224" y="1419"/>
                  </a:cubicBezTo>
                  <a:cubicBezTo>
                    <a:pt x="227" y="1418"/>
                    <a:pt x="230" y="1417"/>
                    <a:pt x="233" y="1415"/>
                  </a:cubicBezTo>
                  <a:cubicBezTo>
                    <a:pt x="237" y="1412"/>
                    <a:pt x="241" y="1411"/>
                    <a:pt x="246" y="1409"/>
                  </a:cubicBezTo>
                  <a:cubicBezTo>
                    <a:pt x="251" y="1408"/>
                    <a:pt x="255" y="1406"/>
                    <a:pt x="260" y="1405"/>
                  </a:cubicBezTo>
                  <a:cubicBezTo>
                    <a:pt x="267" y="1405"/>
                    <a:pt x="274" y="1401"/>
                    <a:pt x="281" y="1403"/>
                  </a:cubicBezTo>
                  <a:cubicBezTo>
                    <a:pt x="283" y="1403"/>
                    <a:pt x="285" y="1403"/>
                    <a:pt x="286" y="1403"/>
                  </a:cubicBezTo>
                  <a:cubicBezTo>
                    <a:pt x="292" y="1406"/>
                    <a:pt x="298" y="1409"/>
                    <a:pt x="300" y="1416"/>
                  </a:cubicBezTo>
                  <a:cubicBezTo>
                    <a:pt x="301" y="1419"/>
                    <a:pt x="303" y="1422"/>
                    <a:pt x="304" y="1424"/>
                  </a:cubicBezTo>
                  <a:cubicBezTo>
                    <a:pt x="307" y="1430"/>
                    <a:pt x="311" y="1432"/>
                    <a:pt x="317" y="1432"/>
                  </a:cubicBezTo>
                  <a:cubicBezTo>
                    <a:pt x="319" y="1432"/>
                    <a:pt x="321" y="1432"/>
                    <a:pt x="322" y="1432"/>
                  </a:cubicBezTo>
                  <a:cubicBezTo>
                    <a:pt x="329" y="1431"/>
                    <a:pt x="336" y="1430"/>
                    <a:pt x="343" y="1428"/>
                  </a:cubicBezTo>
                  <a:cubicBezTo>
                    <a:pt x="348" y="1427"/>
                    <a:pt x="351" y="1427"/>
                    <a:pt x="353" y="1431"/>
                  </a:cubicBezTo>
                  <a:cubicBezTo>
                    <a:pt x="354" y="1433"/>
                    <a:pt x="356" y="1434"/>
                    <a:pt x="358" y="1435"/>
                  </a:cubicBezTo>
                  <a:cubicBezTo>
                    <a:pt x="364" y="1439"/>
                    <a:pt x="364" y="1445"/>
                    <a:pt x="365" y="1450"/>
                  </a:cubicBezTo>
                  <a:cubicBezTo>
                    <a:pt x="365" y="1454"/>
                    <a:pt x="364" y="1457"/>
                    <a:pt x="362" y="1461"/>
                  </a:cubicBezTo>
                  <a:cubicBezTo>
                    <a:pt x="361" y="1464"/>
                    <a:pt x="359" y="1466"/>
                    <a:pt x="358" y="1469"/>
                  </a:cubicBezTo>
                  <a:cubicBezTo>
                    <a:pt x="358" y="1473"/>
                    <a:pt x="359" y="1477"/>
                    <a:pt x="358" y="1480"/>
                  </a:cubicBezTo>
                  <a:cubicBezTo>
                    <a:pt x="356" y="1486"/>
                    <a:pt x="356" y="1491"/>
                    <a:pt x="351" y="1496"/>
                  </a:cubicBezTo>
                  <a:cubicBezTo>
                    <a:pt x="351" y="1496"/>
                    <a:pt x="351" y="1498"/>
                    <a:pt x="351" y="1499"/>
                  </a:cubicBezTo>
                  <a:cubicBezTo>
                    <a:pt x="351" y="1499"/>
                    <a:pt x="351" y="1500"/>
                    <a:pt x="351" y="1500"/>
                  </a:cubicBezTo>
                  <a:cubicBezTo>
                    <a:pt x="358" y="1517"/>
                    <a:pt x="361" y="1521"/>
                    <a:pt x="375" y="1533"/>
                  </a:cubicBezTo>
                  <a:cubicBezTo>
                    <a:pt x="377" y="1535"/>
                    <a:pt x="380" y="1538"/>
                    <a:pt x="382" y="1540"/>
                  </a:cubicBezTo>
                  <a:cubicBezTo>
                    <a:pt x="387" y="1543"/>
                    <a:pt x="390" y="1547"/>
                    <a:pt x="392" y="1552"/>
                  </a:cubicBezTo>
                  <a:cubicBezTo>
                    <a:pt x="393" y="1555"/>
                    <a:pt x="394" y="1557"/>
                    <a:pt x="395" y="1559"/>
                  </a:cubicBezTo>
                  <a:cubicBezTo>
                    <a:pt x="397" y="1565"/>
                    <a:pt x="399" y="1571"/>
                    <a:pt x="403" y="1576"/>
                  </a:cubicBezTo>
                  <a:cubicBezTo>
                    <a:pt x="407" y="1583"/>
                    <a:pt x="407" y="1590"/>
                    <a:pt x="409" y="1597"/>
                  </a:cubicBezTo>
                  <a:cubicBezTo>
                    <a:pt x="409" y="1599"/>
                    <a:pt x="408" y="1600"/>
                    <a:pt x="408" y="1602"/>
                  </a:cubicBezTo>
                  <a:cubicBezTo>
                    <a:pt x="407" y="1604"/>
                    <a:pt x="407" y="1606"/>
                    <a:pt x="407" y="1608"/>
                  </a:cubicBezTo>
                  <a:cubicBezTo>
                    <a:pt x="408" y="1612"/>
                    <a:pt x="409" y="1617"/>
                    <a:pt x="412" y="1621"/>
                  </a:cubicBezTo>
                  <a:cubicBezTo>
                    <a:pt x="413" y="1623"/>
                    <a:pt x="414" y="1625"/>
                    <a:pt x="415" y="1627"/>
                  </a:cubicBezTo>
                  <a:cubicBezTo>
                    <a:pt x="417" y="1635"/>
                    <a:pt x="417" y="1644"/>
                    <a:pt x="409" y="1650"/>
                  </a:cubicBezTo>
                  <a:cubicBezTo>
                    <a:pt x="405" y="1653"/>
                    <a:pt x="403" y="1656"/>
                    <a:pt x="400" y="1659"/>
                  </a:cubicBezTo>
                  <a:cubicBezTo>
                    <a:pt x="397" y="1662"/>
                    <a:pt x="395" y="1666"/>
                    <a:pt x="395" y="1670"/>
                  </a:cubicBezTo>
                  <a:cubicBezTo>
                    <a:pt x="394" y="1677"/>
                    <a:pt x="392" y="1684"/>
                    <a:pt x="388" y="1690"/>
                  </a:cubicBezTo>
                  <a:cubicBezTo>
                    <a:pt x="387" y="1693"/>
                    <a:pt x="386" y="1697"/>
                    <a:pt x="386" y="1700"/>
                  </a:cubicBezTo>
                  <a:cubicBezTo>
                    <a:pt x="386" y="1706"/>
                    <a:pt x="386" y="1713"/>
                    <a:pt x="386" y="1719"/>
                  </a:cubicBezTo>
                  <a:cubicBezTo>
                    <a:pt x="386" y="1722"/>
                    <a:pt x="387" y="1725"/>
                    <a:pt x="389" y="1728"/>
                  </a:cubicBezTo>
                  <a:cubicBezTo>
                    <a:pt x="395" y="1734"/>
                    <a:pt x="400" y="1741"/>
                    <a:pt x="403" y="1749"/>
                  </a:cubicBezTo>
                  <a:cubicBezTo>
                    <a:pt x="406" y="1757"/>
                    <a:pt x="410" y="1765"/>
                    <a:pt x="414" y="1773"/>
                  </a:cubicBezTo>
                  <a:cubicBezTo>
                    <a:pt x="417" y="1779"/>
                    <a:pt x="420" y="1784"/>
                    <a:pt x="419" y="1791"/>
                  </a:cubicBezTo>
                  <a:cubicBezTo>
                    <a:pt x="419" y="1798"/>
                    <a:pt x="421" y="1804"/>
                    <a:pt x="423" y="1811"/>
                  </a:cubicBezTo>
                  <a:cubicBezTo>
                    <a:pt x="424" y="1813"/>
                    <a:pt x="425" y="1816"/>
                    <a:pt x="425" y="1818"/>
                  </a:cubicBezTo>
                  <a:cubicBezTo>
                    <a:pt x="425" y="1826"/>
                    <a:pt x="427" y="1833"/>
                    <a:pt x="428" y="1840"/>
                  </a:cubicBezTo>
                  <a:cubicBezTo>
                    <a:pt x="430" y="1848"/>
                    <a:pt x="434" y="1855"/>
                    <a:pt x="439" y="1861"/>
                  </a:cubicBezTo>
                  <a:cubicBezTo>
                    <a:pt x="442" y="1864"/>
                    <a:pt x="444" y="1868"/>
                    <a:pt x="447" y="1871"/>
                  </a:cubicBezTo>
                  <a:cubicBezTo>
                    <a:pt x="450" y="1874"/>
                    <a:pt x="452" y="1878"/>
                    <a:pt x="453" y="1882"/>
                  </a:cubicBezTo>
                  <a:cubicBezTo>
                    <a:pt x="455" y="1890"/>
                    <a:pt x="457" y="1898"/>
                    <a:pt x="461" y="1906"/>
                  </a:cubicBezTo>
                  <a:cubicBezTo>
                    <a:pt x="462" y="1907"/>
                    <a:pt x="463" y="1909"/>
                    <a:pt x="464" y="1911"/>
                  </a:cubicBezTo>
                  <a:cubicBezTo>
                    <a:pt x="466" y="1916"/>
                    <a:pt x="466" y="1920"/>
                    <a:pt x="462" y="1925"/>
                  </a:cubicBezTo>
                  <a:cubicBezTo>
                    <a:pt x="461" y="1926"/>
                    <a:pt x="461" y="1929"/>
                    <a:pt x="462" y="1930"/>
                  </a:cubicBezTo>
                  <a:cubicBezTo>
                    <a:pt x="465" y="1934"/>
                    <a:pt x="465" y="1939"/>
                    <a:pt x="466" y="1944"/>
                  </a:cubicBezTo>
                  <a:cubicBezTo>
                    <a:pt x="466" y="1945"/>
                    <a:pt x="467" y="1946"/>
                    <a:pt x="467" y="1947"/>
                  </a:cubicBezTo>
                  <a:cubicBezTo>
                    <a:pt x="473" y="1950"/>
                    <a:pt x="479" y="1953"/>
                    <a:pt x="485" y="1955"/>
                  </a:cubicBezTo>
                  <a:cubicBezTo>
                    <a:pt x="486" y="1956"/>
                    <a:pt x="488" y="1956"/>
                    <a:pt x="490" y="1955"/>
                  </a:cubicBezTo>
                  <a:cubicBezTo>
                    <a:pt x="495" y="1952"/>
                    <a:pt x="500" y="1950"/>
                    <a:pt x="507" y="1951"/>
                  </a:cubicBezTo>
                  <a:cubicBezTo>
                    <a:pt x="509" y="1951"/>
                    <a:pt x="512" y="1950"/>
                    <a:pt x="515" y="1949"/>
                  </a:cubicBezTo>
                  <a:cubicBezTo>
                    <a:pt x="519" y="1947"/>
                    <a:pt x="524" y="1947"/>
                    <a:pt x="529" y="1947"/>
                  </a:cubicBezTo>
                  <a:cubicBezTo>
                    <a:pt x="535" y="1947"/>
                    <a:pt x="540" y="1945"/>
                    <a:pt x="545" y="1947"/>
                  </a:cubicBezTo>
                  <a:cubicBezTo>
                    <a:pt x="547" y="1948"/>
                    <a:pt x="549" y="1948"/>
                    <a:pt x="550" y="1948"/>
                  </a:cubicBezTo>
                  <a:cubicBezTo>
                    <a:pt x="555" y="1945"/>
                    <a:pt x="561" y="1948"/>
                    <a:pt x="565" y="1943"/>
                  </a:cubicBezTo>
                  <a:cubicBezTo>
                    <a:pt x="566" y="1942"/>
                    <a:pt x="568" y="1941"/>
                    <a:pt x="570" y="1941"/>
                  </a:cubicBezTo>
                  <a:cubicBezTo>
                    <a:pt x="578" y="1941"/>
                    <a:pt x="585" y="1938"/>
                    <a:pt x="591" y="1934"/>
                  </a:cubicBezTo>
                  <a:cubicBezTo>
                    <a:pt x="600" y="1928"/>
                    <a:pt x="608" y="1920"/>
                    <a:pt x="616" y="1913"/>
                  </a:cubicBezTo>
                  <a:cubicBezTo>
                    <a:pt x="621" y="1909"/>
                    <a:pt x="626" y="1904"/>
                    <a:pt x="630" y="1898"/>
                  </a:cubicBezTo>
                  <a:cubicBezTo>
                    <a:pt x="634" y="1892"/>
                    <a:pt x="639" y="1887"/>
                    <a:pt x="643" y="1881"/>
                  </a:cubicBezTo>
                  <a:cubicBezTo>
                    <a:pt x="645" y="1878"/>
                    <a:pt x="647" y="1875"/>
                    <a:pt x="650" y="1873"/>
                  </a:cubicBezTo>
                  <a:cubicBezTo>
                    <a:pt x="657" y="1869"/>
                    <a:pt x="661" y="1863"/>
                    <a:pt x="663" y="1856"/>
                  </a:cubicBezTo>
                  <a:cubicBezTo>
                    <a:pt x="665" y="1851"/>
                    <a:pt x="666" y="1846"/>
                    <a:pt x="668" y="1841"/>
                  </a:cubicBezTo>
                  <a:cubicBezTo>
                    <a:pt x="668" y="1838"/>
                    <a:pt x="668" y="1836"/>
                    <a:pt x="667" y="1833"/>
                  </a:cubicBezTo>
                  <a:cubicBezTo>
                    <a:pt x="665" y="1830"/>
                    <a:pt x="667" y="1827"/>
                    <a:pt x="669" y="1825"/>
                  </a:cubicBezTo>
                  <a:cubicBezTo>
                    <a:pt x="673" y="1822"/>
                    <a:pt x="677" y="1819"/>
                    <a:pt x="682" y="1818"/>
                  </a:cubicBezTo>
                  <a:cubicBezTo>
                    <a:pt x="687" y="1817"/>
                    <a:pt x="693" y="1816"/>
                    <a:pt x="697" y="1813"/>
                  </a:cubicBezTo>
                  <a:cubicBezTo>
                    <a:pt x="701" y="1810"/>
                    <a:pt x="704" y="1807"/>
                    <a:pt x="704" y="1803"/>
                  </a:cubicBezTo>
                  <a:cubicBezTo>
                    <a:pt x="704" y="1797"/>
                    <a:pt x="706" y="1792"/>
                    <a:pt x="707" y="1787"/>
                  </a:cubicBezTo>
                  <a:cubicBezTo>
                    <a:pt x="707" y="1784"/>
                    <a:pt x="707" y="1782"/>
                    <a:pt x="706" y="1779"/>
                  </a:cubicBezTo>
                  <a:cubicBezTo>
                    <a:pt x="704" y="1771"/>
                    <a:pt x="701" y="1763"/>
                    <a:pt x="699" y="1755"/>
                  </a:cubicBezTo>
                  <a:cubicBezTo>
                    <a:pt x="698" y="1752"/>
                    <a:pt x="699" y="1750"/>
                    <a:pt x="701" y="1748"/>
                  </a:cubicBezTo>
                  <a:cubicBezTo>
                    <a:pt x="713" y="1739"/>
                    <a:pt x="724" y="1729"/>
                    <a:pt x="736" y="1720"/>
                  </a:cubicBezTo>
                  <a:cubicBezTo>
                    <a:pt x="740" y="1717"/>
                    <a:pt x="744" y="1716"/>
                    <a:pt x="748" y="1714"/>
                  </a:cubicBezTo>
                  <a:cubicBezTo>
                    <a:pt x="752" y="1712"/>
                    <a:pt x="757" y="1710"/>
                    <a:pt x="761" y="1707"/>
                  </a:cubicBezTo>
                  <a:cubicBezTo>
                    <a:pt x="770" y="1702"/>
                    <a:pt x="777" y="1695"/>
                    <a:pt x="781" y="1685"/>
                  </a:cubicBezTo>
                  <a:cubicBezTo>
                    <a:pt x="783" y="1681"/>
                    <a:pt x="784" y="1677"/>
                    <a:pt x="783" y="1672"/>
                  </a:cubicBezTo>
                  <a:cubicBezTo>
                    <a:pt x="782" y="1667"/>
                    <a:pt x="783" y="1662"/>
                    <a:pt x="783" y="1658"/>
                  </a:cubicBezTo>
                  <a:cubicBezTo>
                    <a:pt x="783" y="1654"/>
                    <a:pt x="784" y="1650"/>
                    <a:pt x="783" y="1647"/>
                  </a:cubicBezTo>
                  <a:cubicBezTo>
                    <a:pt x="782" y="1640"/>
                    <a:pt x="782" y="1634"/>
                    <a:pt x="784" y="1628"/>
                  </a:cubicBezTo>
                  <a:cubicBezTo>
                    <a:pt x="785" y="1625"/>
                    <a:pt x="784" y="1622"/>
                    <a:pt x="780" y="1620"/>
                  </a:cubicBezTo>
                  <a:cubicBezTo>
                    <a:pt x="775" y="1617"/>
                    <a:pt x="773" y="1612"/>
                    <a:pt x="771" y="1606"/>
                  </a:cubicBezTo>
                  <a:cubicBezTo>
                    <a:pt x="768" y="1599"/>
                    <a:pt x="769" y="1592"/>
                    <a:pt x="768" y="1585"/>
                  </a:cubicBezTo>
                  <a:cubicBezTo>
                    <a:pt x="768" y="1583"/>
                    <a:pt x="768" y="1582"/>
                    <a:pt x="769" y="1580"/>
                  </a:cubicBezTo>
                  <a:cubicBezTo>
                    <a:pt x="771" y="1577"/>
                    <a:pt x="771" y="1574"/>
                    <a:pt x="768" y="1572"/>
                  </a:cubicBezTo>
                  <a:cubicBezTo>
                    <a:pt x="762" y="1567"/>
                    <a:pt x="761" y="1563"/>
                    <a:pt x="764" y="1557"/>
                  </a:cubicBezTo>
                  <a:cubicBezTo>
                    <a:pt x="766" y="1552"/>
                    <a:pt x="768" y="1547"/>
                    <a:pt x="772" y="1543"/>
                  </a:cubicBezTo>
                  <a:cubicBezTo>
                    <a:pt x="777" y="1539"/>
                    <a:pt x="778" y="1532"/>
                    <a:pt x="781" y="1526"/>
                  </a:cubicBezTo>
                  <a:cubicBezTo>
                    <a:pt x="783" y="1524"/>
                    <a:pt x="784" y="1521"/>
                    <a:pt x="788" y="1520"/>
                  </a:cubicBezTo>
                  <a:cubicBezTo>
                    <a:pt x="793" y="1517"/>
                    <a:pt x="797" y="1513"/>
                    <a:pt x="801" y="1508"/>
                  </a:cubicBezTo>
                  <a:cubicBezTo>
                    <a:pt x="810" y="1496"/>
                    <a:pt x="822" y="1485"/>
                    <a:pt x="834" y="1475"/>
                  </a:cubicBezTo>
                  <a:cubicBezTo>
                    <a:pt x="841" y="1469"/>
                    <a:pt x="847" y="1462"/>
                    <a:pt x="856" y="1459"/>
                  </a:cubicBezTo>
                  <a:cubicBezTo>
                    <a:pt x="857" y="1459"/>
                    <a:pt x="858" y="1458"/>
                    <a:pt x="859" y="1457"/>
                  </a:cubicBezTo>
                  <a:cubicBezTo>
                    <a:pt x="879" y="1442"/>
                    <a:pt x="896" y="1423"/>
                    <a:pt x="906" y="1400"/>
                  </a:cubicBezTo>
                  <a:cubicBezTo>
                    <a:pt x="910" y="1392"/>
                    <a:pt x="914" y="1383"/>
                    <a:pt x="920" y="1376"/>
                  </a:cubicBezTo>
                  <a:cubicBezTo>
                    <a:pt x="924" y="1371"/>
                    <a:pt x="926" y="1365"/>
                    <a:pt x="928" y="1359"/>
                  </a:cubicBezTo>
                  <a:cubicBezTo>
                    <a:pt x="931" y="1350"/>
                    <a:pt x="930" y="1342"/>
                    <a:pt x="931" y="1334"/>
                  </a:cubicBezTo>
                  <a:cubicBezTo>
                    <a:pt x="931" y="1332"/>
                    <a:pt x="926" y="1329"/>
                    <a:pt x="924" y="1330"/>
                  </a:cubicBezTo>
                  <a:cubicBezTo>
                    <a:pt x="924" y="1330"/>
                    <a:pt x="923" y="1330"/>
                    <a:pt x="923" y="1331"/>
                  </a:cubicBezTo>
                  <a:cubicBezTo>
                    <a:pt x="917" y="1336"/>
                    <a:pt x="909" y="1337"/>
                    <a:pt x="901" y="1338"/>
                  </a:cubicBezTo>
                  <a:cubicBezTo>
                    <a:pt x="891" y="1340"/>
                    <a:pt x="880" y="1340"/>
                    <a:pt x="869" y="1344"/>
                  </a:cubicBezTo>
                  <a:cubicBezTo>
                    <a:pt x="868" y="1344"/>
                    <a:pt x="866" y="1345"/>
                    <a:pt x="864" y="1344"/>
                  </a:cubicBezTo>
                  <a:cubicBezTo>
                    <a:pt x="858" y="1344"/>
                    <a:pt x="852" y="1346"/>
                    <a:pt x="847" y="1348"/>
                  </a:cubicBezTo>
                  <a:cubicBezTo>
                    <a:pt x="846" y="1349"/>
                    <a:pt x="844" y="1350"/>
                    <a:pt x="842" y="1350"/>
                  </a:cubicBezTo>
                  <a:cubicBezTo>
                    <a:pt x="840" y="1351"/>
                    <a:pt x="838" y="1350"/>
                    <a:pt x="836" y="1349"/>
                  </a:cubicBezTo>
                  <a:cubicBezTo>
                    <a:pt x="835" y="1348"/>
                    <a:pt x="833" y="1347"/>
                    <a:pt x="832" y="1346"/>
                  </a:cubicBezTo>
                  <a:cubicBezTo>
                    <a:pt x="828" y="1343"/>
                    <a:pt x="825" y="1339"/>
                    <a:pt x="821" y="1335"/>
                  </a:cubicBezTo>
                  <a:cubicBezTo>
                    <a:pt x="819" y="1334"/>
                    <a:pt x="820" y="1333"/>
                    <a:pt x="820" y="1331"/>
                  </a:cubicBezTo>
                  <a:cubicBezTo>
                    <a:pt x="823" y="1325"/>
                    <a:pt x="823" y="1324"/>
                    <a:pt x="819" y="1320"/>
                  </a:cubicBezTo>
                  <a:cubicBezTo>
                    <a:pt x="816" y="1318"/>
                    <a:pt x="813" y="1316"/>
                    <a:pt x="811" y="1313"/>
                  </a:cubicBezTo>
                  <a:cubicBezTo>
                    <a:pt x="806" y="1306"/>
                    <a:pt x="799" y="1301"/>
                    <a:pt x="794" y="1296"/>
                  </a:cubicBezTo>
                  <a:cubicBezTo>
                    <a:pt x="791" y="1292"/>
                    <a:pt x="786" y="1290"/>
                    <a:pt x="782" y="1288"/>
                  </a:cubicBezTo>
                  <a:cubicBezTo>
                    <a:pt x="774" y="1284"/>
                    <a:pt x="767" y="1279"/>
                    <a:pt x="765" y="1270"/>
                  </a:cubicBezTo>
                  <a:cubicBezTo>
                    <a:pt x="764" y="1265"/>
                    <a:pt x="762" y="1261"/>
                    <a:pt x="761" y="1257"/>
                  </a:cubicBezTo>
                  <a:cubicBezTo>
                    <a:pt x="759" y="1252"/>
                    <a:pt x="756" y="1248"/>
                    <a:pt x="752" y="1245"/>
                  </a:cubicBezTo>
                  <a:cubicBezTo>
                    <a:pt x="749" y="1243"/>
                    <a:pt x="745" y="1240"/>
                    <a:pt x="742" y="1237"/>
                  </a:cubicBezTo>
                  <a:cubicBezTo>
                    <a:pt x="739" y="1235"/>
                    <a:pt x="737" y="1233"/>
                    <a:pt x="737" y="1229"/>
                  </a:cubicBezTo>
                  <a:cubicBezTo>
                    <a:pt x="737" y="1220"/>
                    <a:pt x="734" y="1212"/>
                    <a:pt x="732" y="1203"/>
                  </a:cubicBezTo>
                  <a:cubicBezTo>
                    <a:pt x="731" y="1195"/>
                    <a:pt x="725" y="1189"/>
                    <a:pt x="718" y="1185"/>
                  </a:cubicBezTo>
                  <a:cubicBezTo>
                    <a:pt x="717" y="1184"/>
                    <a:pt x="715" y="1184"/>
                    <a:pt x="714" y="1183"/>
                  </a:cubicBezTo>
                  <a:cubicBezTo>
                    <a:pt x="712" y="1182"/>
                    <a:pt x="711" y="1181"/>
                    <a:pt x="711" y="1179"/>
                  </a:cubicBezTo>
                  <a:cubicBezTo>
                    <a:pt x="710" y="1178"/>
                    <a:pt x="710" y="1176"/>
                    <a:pt x="710" y="1175"/>
                  </a:cubicBezTo>
                  <a:cubicBezTo>
                    <a:pt x="711" y="1169"/>
                    <a:pt x="709" y="1164"/>
                    <a:pt x="705" y="1160"/>
                  </a:cubicBezTo>
                  <a:cubicBezTo>
                    <a:pt x="704" y="1158"/>
                    <a:pt x="702" y="1156"/>
                    <a:pt x="701" y="1154"/>
                  </a:cubicBezTo>
                  <a:cubicBezTo>
                    <a:pt x="694" y="1144"/>
                    <a:pt x="688" y="1134"/>
                    <a:pt x="685" y="1123"/>
                  </a:cubicBezTo>
                  <a:cubicBezTo>
                    <a:pt x="684" y="1121"/>
                    <a:pt x="683" y="1119"/>
                    <a:pt x="682" y="1117"/>
                  </a:cubicBezTo>
                  <a:cubicBezTo>
                    <a:pt x="681" y="1116"/>
                    <a:pt x="682" y="1114"/>
                    <a:pt x="684" y="1114"/>
                  </a:cubicBezTo>
                  <a:cubicBezTo>
                    <a:pt x="686" y="1114"/>
                    <a:pt x="689" y="1115"/>
                    <a:pt x="690" y="1113"/>
                  </a:cubicBezTo>
                  <a:cubicBezTo>
                    <a:pt x="692" y="1112"/>
                    <a:pt x="694" y="1110"/>
                    <a:pt x="696" y="1110"/>
                  </a:cubicBezTo>
                  <a:cubicBezTo>
                    <a:pt x="699" y="1111"/>
                    <a:pt x="701" y="1112"/>
                    <a:pt x="703" y="1114"/>
                  </a:cubicBezTo>
                  <a:cubicBezTo>
                    <a:pt x="704" y="1116"/>
                    <a:pt x="705" y="1118"/>
                    <a:pt x="707" y="1119"/>
                  </a:cubicBezTo>
                  <a:cubicBezTo>
                    <a:pt x="713" y="1127"/>
                    <a:pt x="717" y="1135"/>
                    <a:pt x="723" y="1143"/>
                  </a:cubicBezTo>
                  <a:cubicBezTo>
                    <a:pt x="727" y="1147"/>
                    <a:pt x="729" y="1151"/>
                    <a:pt x="730" y="1157"/>
                  </a:cubicBezTo>
                  <a:cubicBezTo>
                    <a:pt x="731" y="1160"/>
                    <a:pt x="733" y="1162"/>
                    <a:pt x="737" y="1163"/>
                  </a:cubicBezTo>
                  <a:cubicBezTo>
                    <a:pt x="743" y="1165"/>
                    <a:pt x="748" y="1170"/>
                    <a:pt x="750" y="1176"/>
                  </a:cubicBezTo>
                  <a:cubicBezTo>
                    <a:pt x="751" y="1178"/>
                    <a:pt x="752" y="1180"/>
                    <a:pt x="753" y="1182"/>
                  </a:cubicBezTo>
                  <a:cubicBezTo>
                    <a:pt x="755" y="1185"/>
                    <a:pt x="756" y="1188"/>
                    <a:pt x="756" y="1192"/>
                  </a:cubicBezTo>
                  <a:cubicBezTo>
                    <a:pt x="756" y="1194"/>
                    <a:pt x="756" y="1195"/>
                    <a:pt x="756" y="1197"/>
                  </a:cubicBezTo>
                  <a:cubicBezTo>
                    <a:pt x="756" y="1205"/>
                    <a:pt x="761" y="1212"/>
                    <a:pt x="768" y="1217"/>
                  </a:cubicBezTo>
                  <a:cubicBezTo>
                    <a:pt x="770" y="1218"/>
                    <a:pt x="773" y="1220"/>
                    <a:pt x="776" y="1222"/>
                  </a:cubicBezTo>
                  <a:cubicBezTo>
                    <a:pt x="781" y="1225"/>
                    <a:pt x="784" y="1229"/>
                    <a:pt x="786" y="1234"/>
                  </a:cubicBezTo>
                  <a:cubicBezTo>
                    <a:pt x="788" y="1240"/>
                    <a:pt x="791" y="1245"/>
                    <a:pt x="796" y="1250"/>
                  </a:cubicBezTo>
                  <a:cubicBezTo>
                    <a:pt x="800" y="1254"/>
                    <a:pt x="803" y="1258"/>
                    <a:pt x="806" y="1262"/>
                  </a:cubicBezTo>
                  <a:cubicBezTo>
                    <a:pt x="810" y="1267"/>
                    <a:pt x="813" y="1273"/>
                    <a:pt x="811" y="1280"/>
                  </a:cubicBezTo>
                  <a:cubicBezTo>
                    <a:pt x="811" y="1282"/>
                    <a:pt x="810" y="1284"/>
                    <a:pt x="811" y="1286"/>
                  </a:cubicBezTo>
                  <a:cubicBezTo>
                    <a:pt x="815" y="1293"/>
                    <a:pt x="816" y="1301"/>
                    <a:pt x="819" y="1308"/>
                  </a:cubicBezTo>
                  <a:cubicBezTo>
                    <a:pt x="820" y="1311"/>
                    <a:pt x="821" y="1314"/>
                    <a:pt x="823" y="1317"/>
                  </a:cubicBezTo>
                  <a:cubicBezTo>
                    <a:pt x="824" y="1319"/>
                    <a:pt x="827" y="1320"/>
                    <a:pt x="829" y="1320"/>
                  </a:cubicBezTo>
                  <a:cubicBezTo>
                    <a:pt x="832" y="1320"/>
                    <a:pt x="835" y="1320"/>
                    <a:pt x="838" y="1320"/>
                  </a:cubicBezTo>
                  <a:cubicBezTo>
                    <a:pt x="842" y="1319"/>
                    <a:pt x="845" y="1318"/>
                    <a:pt x="848" y="1315"/>
                  </a:cubicBezTo>
                  <a:cubicBezTo>
                    <a:pt x="851" y="1311"/>
                    <a:pt x="856" y="1310"/>
                    <a:pt x="861" y="1311"/>
                  </a:cubicBezTo>
                  <a:cubicBezTo>
                    <a:pt x="867" y="1311"/>
                    <a:pt x="873" y="1310"/>
                    <a:pt x="878" y="1307"/>
                  </a:cubicBezTo>
                  <a:cubicBezTo>
                    <a:pt x="882" y="1305"/>
                    <a:pt x="885" y="1304"/>
                    <a:pt x="889" y="1303"/>
                  </a:cubicBezTo>
                  <a:cubicBezTo>
                    <a:pt x="892" y="1303"/>
                    <a:pt x="895" y="1301"/>
                    <a:pt x="898" y="1299"/>
                  </a:cubicBezTo>
                  <a:cubicBezTo>
                    <a:pt x="900" y="1296"/>
                    <a:pt x="904" y="1295"/>
                    <a:pt x="907" y="1293"/>
                  </a:cubicBezTo>
                  <a:cubicBezTo>
                    <a:pt x="913" y="1292"/>
                    <a:pt x="919" y="1290"/>
                    <a:pt x="925" y="1288"/>
                  </a:cubicBezTo>
                  <a:cubicBezTo>
                    <a:pt x="929" y="1286"/>
                    <a:pt x="934" y="1284"/>
                    <a:pt x="938" y="1282"/>
                  </a:cubicBezTo>
                  <a:cubicBezTo>
                    <a:pt x="940" y="1281"/>
                    <a:pt x="942" y="1280"/>
                    <a:pt x="942" y="1278"/>
                  </a:cubicBezTo>
                  <a:cubicBezTo>
                    <a:pt x="943" y="1272"/>
                    <a:pt x="947" y="1270"/>
                    <a:pt x="952" y="1268"/>
                  </a:cubicBezTo>
                  <a:cubicBezTo>
                    <a:pt x="959" y="1266"/>
                    <a:pt x="966" y="1264"/>
                    <a:pt x="973" y="1263"/>
                  </a:cubicBezTo>
                  <a:cubicBezTo>
                    <a:pt x="978" y="1262"/>
                    <a:pt x="981" y="1261"/>
                    <a:pt x="982" y="1256"/>
                  </a:cubicBezTo>
                  <a:cubicBezTo>
                    <a:pt x="983" y="1253"/>
                    <a:pt x="985" y="1251"/>
                    <a:pt x="988" y="1251"/>
                  </a:cubicBezTo>
                  <a:cubicBezTo>
                    <a:pt x="994" y="1250"/>
                    <a:pt x="998" y="1247"/>
                    <a:pt x="1000" y="1241"/>
                  </a:cubicBezTo>
                  <a:cubicBezTo>
                    <a:pt x="1001" y="1239"/>
                    <a:pt x="1003" y="1237"/>
                    <a:pt x="1006" y="1237"/>
                  </a:cubicBezTo>
                  <a:cubicBezTo>
                    <a:pt x="1008" y="1236"/>
                    <a:pt x="1010" y="1236"/>
                    <a:pt x="1012" y="1235"/>
                  </a:cubicBezTo>
                  <a:cubicBezTo>
                    <a:pt x="1013" y="1234"/>
                    <a:pt x="1015" y="1232"/>
                    <a:pt x="1015" y="1231"/>
                  </a:cubicBezTo>
                  <a:cubicBezTo>
                    <a:pt x="1015" y="1228"/>
                    <a:pt x="1015" y="1225"/>
                    <a:pt x="1015" y="1222"/>
                  </a:cubicBezTo>
                  <a:cubicBezTo>
                    <a:pt x="1015" y="1219"/>
                    <a:pt x="1016" y="1217"/>
                    <a:pt x="1019" y="1215"/>
                  </a:cubicBezTo>
                  <a:cubicBezTo>
                    <a:pt x="1027" y="1210"/>
                    <a:pt x="1032" y="1203"/>
                    <a:pt x="1036" y="1195"/>
                  </a:cubicBezTo>
                  <a:cubicBezTo>
                    <a:pt x="1039" y="1190"/>
                    <a:pt x="1038" y="1187"/>
                    <a:pt x="1034" y="1183"/>
                  </a:cubicBezTo>
                  <a:cubicBezTo>
                    <a:pt x="1030" y="1180"/>
                    <a:pt x="1028" y="1176"/>
                    <a:pt x="1025" y="1173"/>
                  </a:cubicBezTo>
                  <a:cubicBezTo>
                    <a:pt x="1023" y="1170"/>
                    <a:pt x="1021" y="1168"/>
                    <a:pt x="1017" y="1168"/>
                  </a:cubicBezTo>
                  <a:cubicBezTo>
                    <a:pt x="1013" y="1168"/>
                    <a:pt x="1008" y="1167"/>
                    <a:pt x="1004" y="1166"/>
                  </a:cubicBezTo>
                  <a:cubicBezTo>
                    <a:pt x="1002" y="1165"/>
                    <a:pt x="999" y="1164"/>
                    <a:pt x="997" y="1162"/>
                  </a:cubicBezTo>
                  <a:cubicBezTo>
                    <a:pt x="993" y="1159"/>
                    <a:pt x="990" y="1154"/>
                    <a:pt x="990" y="1149"/>
                  </a:cubicBezTo>
                  <a:cubicBezTo>
                    <a:pt x="989" y="1144"/>
                    <a:pt x="988" y="1139"/>
                    <a:pt x="988" y="1135"/>
                  </a:cubicBezTo>
                  <a:cubicBezTo>
                    <a:pt x="988" y="1134"/>
                    <a:pt x="987" y="1134"/>
                    <a:pt x="987" y="1134"/>
                  </a:cubicBezTo>
                  <a:cubicBezTo>
                    <a:pt x="986" y="1134"/>
                    <a:pt x="984" y="1134"/>
                    <a:pt x="984" y="1134"/>
                  </a:cubicBezTo>
                  <a:cubicBezTo>
                    <a:pt x="977" y="1141"/>
                    <a:pt x="970" y="1147"/>
                    <a:pt x="965" y="1154"/>
                  </a:cubicBezTo>
                  <a:cubicBezTo>
                    <a:pt x="961" y="1160"/>
                    <a:pt x="956" y="1163"/>
                    <a:pt x="949" y="1163"/>
                  </a:cubicBezTo>
                  <a:cubicBezTo>
                    <a:pt x="944" y="1162"/>
                    <a:pt x="938" y="1162"/>
                    <a:pt x="933" y="1165"/>
                  </a:cubicBezTo>
                  <a:cubicBezTo>
                    <a:pt x="931" y="1165"/>
                    <a:pt x="929" y="1164"/>
                    <a:pt x="927" y="1163"/>
                  </a:cubicBezTo>
                  <a:cubicBezTo>
                    <a:pt x="925" y="1161"/>
                    <a:pt x="924" y="1159"/>
                    <a:pt x="923" y="1156"/>
                  </a:cubicBezTo>
                  <a:cubicBezTo>
                    <a:pt x="923" y="1151"/>
                    <a:pt x="922" y="1145"/>
                    <a:pt x="922" y="1140"/>
                  </a:cubicBezTo>
                  <a:cubicBezTo>
                    <a:pt x="922" y="1139"/>
                    <a:pt x="921" y="1138"/>
                    <a:pt x="920" y="1137"/>
                  </a:cubicBezTo>
                  <a:cubicBezTo>
                    <a:pt x="920" y="1137"/>
                    <a:pt x="919" y="1136"/>
                    <a:pt x="918" y="1136"/>
                  </a:cubicBezTo>
                  <a:cubicBezTo>
                    <a:pt x="917" y="1136"/>
                    <a:pt x="916" y="1136"/>
                    <a:pt x="915" y="1137"/>
                  </a:cubicBezTo>
                  <a:cubicBezTo>
                    <a:pt x="914" y="1139"/>
                    <a:pt x="913" y="1141"/>
                    <a:pt x="912" y="1142"/>
                  </a:cubicBezTo>
                  <a:cubicBezTo>
                    <a:pt x="911" y="1145"/>
                    <a:pt x="909" y="1145"/>
                    <a:pt x="907" y="1142"/>
                  </a:cubicBezTo>
                  <a:cubicBezTo>
                    <a:pt x="905" y="1140"/>
                    <a:pt x="903" y="1137"/>
                    <a:pt x="903" y="1134"/>
                  </a:cubicBezTo>
                  <a:cubicBezTo>
                    <a:pt x="902" y="1129"/>
                    <a:pt x="899" y="1124"/>
                    <a:pt x="895" y="1120"/>
                  </a:cubicBezTo>
                  <a:cubicBezTo>
                    <a:pt x="893" y="1118"/>
                    <a:pt x="890" y="1115"/>
                    <a:pt x="887" y="1113"/>
                  </a:cubicBezTo>
                  <a:cubicBezTo>
                    <a:pt x="886" y="1112"/>
                    <a:pt x="884" y="1111"/>
                    <a:pt x="883" y="1110"/>
                  </a:cubicBezTo>
                  <a:cubicBezTo>
                    <a:pt x="880" y="1104"/>
                    <a:pt x="877" y="1099"/>
                    <a:pt x="874" y="1093"/>
                  </a:cubicBezTo>
                  <a:cubicBezTo>
                    <a:pt x="873" y="1092"/>
                    <a:pt x="873" y="1090"/>
                    <a:pt x="874" y="1089"/>
                  </a:cubicBezTo>
                  <a:cubicBezTo>
                    <a:pt x="874" y="1087"/>
                    <a:pt x="874" y="1084"/>
                    <a:pt x="875" y="1083"/>
                  </a:cubicBezTo>
                  <a:cubicBezTo>
                    <a:pt x="875" y="1082"/>
                    <a:pt x="876" y="1081"/>
                    <a:pt x="877" y="1081"/>
                  </a:cubicBezTo>
                  <a:cubicBezTo>
                    <a:pt x="880" y="1080"/>
                    <a:pt x="884" y="1080"/>
                    <a:pt x="887" y="1080"/>
                  </a:cubicBezTo>
                  <a:cubicBezTo>
                    <a:pt x="890" y="1080"/>
                    <a:pt x="894" y="1080"/>
                    <a:pt x="896" y="1081"/>
                  </a:cubicBezTo>
                  <a:cubicBezTo>
                    <a:pt x="898" y="1082"/>
                    <a:pt x="900" y="1085"/>
                    <a:pt x="901" y="1087"/>
                  </a:cubicBezTo>
                  <a:cubicBezTo>
                    <a:pt x="905" y="1094"/>
                    <a:pt x="909" y="1100"/>
                    <a:pt x="913" y="1106"/>
                  </a:cubicBezTo>
                  <a:cubicBezTo>
                    <a:pt x="915" y="1109"/>
                    <a:pt x="918" y="1111"/>
                    <a:pt x="921" y="1111"/>
                  </a:cubicBezTo>
                  <a:cubicBezTo>
                    <a:pt x="923" y="1112"/>
                    <a:pt x="924" y="1112"/>
                    <a:pt x="926" y="1113"/>
                  </a:cubicBezTo>
                  <a:cubicBezTo>
                    <a:pt x="930" y="1113"/>
                    <a:pt x="933" y="1115"/>
                    <a:pt x="936" y="1118"/>
                  </a:cubicBezTo>
                  <a:cubicBezTo>
                    <a:pt x="937" y="1120"/>
                    <a:pt x="940" y="1121"/>
                    <a:pt x="942" y="1123"/>
                  </a:cubicBezTo>
                  <a:cubicBezTo>
                    <a:pt x="948" y="1127"/>
                    <a:pt x="955" y="1128"/>
                    <a:pt x="962" y="1129"/>
                  </a:cubicBezTo>
                  <a:cubicBezTo>
                    <a:pt x="965" y="1130"/>
                    <a:pt x="968" y="1129"/>
                    <a:pt x="970" y="1128"/>
                  </a:cubicBezTo>
                  <a:cubicBezTo>
                    <a:pt x="974" y="1126"/>
                    <a:pt x="978" y="1124"/>
                    <a:pt x="982" y="1123"/>
                  </a:cubicBezTo>
                  <a:cubicBezTo>
                    <a:pt x="987" y="1121"/>
                    <a:pt x="991" y="1122"/>
                    <a:pt x="993" y="1127"/>
                  </a:cubicBezTo>
                  <a:cubicBezTo>
                    <a:pt x="995" y="1130"/>
                    <a:pt x="996" y="1133"/>
                    <a:pt x="998" y="1137"/>
                  </a:cubicBezTo>
                  <a:cubicBezTo>
                    <a:pt x="999" y="1140"/>
                    <a:pt x="1002" y="1141"/>
                    <a:pt x="1005" y="1142"/>
                  </a:cubicBezTo>
                  <a:cubicBezTo>
                    <a:pt x="1021" y="1143"/>
                    <a:pt x="1036" y="1146"/>
                    <a:pt x="1051" y="1148"/>
                  </a:cubicBezTo>
                  <a:cubicBezTo>
                    <a:pt x="1056" y="1149"/>
                    <a:pt x="1062" y="1149"/>
                    <a:pt x="1067" y="1149"/>
                  </a:cubicBezTo>
                  <a:cubicBezTo>
                    <a:pt x="1076" y="1148"/>
                    <a:pt x="1086" y="1145"/>
                    <a:pt x="1095" y="1147"/>
                  </a:cubicBezTo>
                  <a:cubicBezTo>
                    <a:pt x="1097" y="1148"/>
                    <a:pt x="1099" y="1147"/>
                    <a:pt x="1101" y="1146"/>
                  </a:cubicBezTo>
                  <a:cubicBezTo>
                    <a:pt x="1108" y="1144"/>
                    <a:pt x="1114" y="1144"/>
                    <a:pt x="1121" y="1145"/>
                  </a:cubicBezTo>
                  <a:cubicBezTo>
                    <a:pt x="1123" y="1145"/>
                    <a:pt x="1125" y="1146"/>
                    <a:pt x="1126" y="1148"/>
                  </a:cubicBezTo>
                  <a:cubicBezTo>
                    <a:pt x="1127" y="1150"/>
                    <a:pt x="1129" y="1151"/>
                    <a:pt x="1131" y="1152"/>
                  </a:cubicBezTo>
                  <a:cubicBezTo>
                    <a:pt x="1133" y="1154"/>
                    <a:pt x="1135" y="1156"/>
                    <a:pt x="1136" y="1158"/>
                  </a:cubicBezTo>
                  <a:cubicBezTo>
                    <a:pt x="1137" y="1164"/>
                    <a:pt x="1140" y="1166"/>
                    <a:pt x="1146" y="1167"/>
                  </a:cubicBezTo>
                  <a:cubicBezTo>
                    <a:pt x="1149" y="1168"/>
                    <a:pt x="1152" y="1170"/>
                    <a:pt x="1155" y="1174"/>
                  </a:cubicBezTo>
                  <a:cubicBezTo>
                    <a:pt x="1159" y="1179"/>
                    <a:pt x="1165" y="1181"/>
                    <a:pt x="1172" y="1182"/>
                  </a:cubicBezTo>
                  <a:cubicBezTo>
                    <a:pt x="1173" y="1182"/>
                    <a:pt x="1175" y="1182"/>
                    <a:pt x="1176" y="1182"/>
                  </a:cubicBezTo>
                  <a:cubicBezTo>
                    <a:pt x="1176" y="1182"/>
                    <a:pt x="1176" y="1182"/>
                    <a:pt x="1177" y="1182"/>
                  </a:cubicBezTo>
                  <a:cubicBezTo>
                    <a:pt x="1177" y="1181"/>
                    <a:pt x="1177" y="1181"/>
                    <a:pt x="1177" y="1181"/>
                  </a:cubicBezTo>
                  <a:cubicBezTo>
                    <a:pt x="1177" y="1182"/>
                    <a:pt x="1177" y="1182"/>
                    <a:pt x="1177" y="1182"/>
                  </a:cubicBezTo>
                  <a:cubicBezTo>
                    <a:pt x="1177" y="1182"/>
                    <a:pt x="1176" y="1182"/>
                    <a:pt x="1176" y="1182"/>
                  </a:cubicBezTo>
                  <a:cubicBezTo>
                    <a:pt x="1174" y="1186"/>
                    <a:pt x="1171" y="1188"/>
                    <a:pt x="1166" y="1186"/>
                  </a:cubicBezTo>
                  <a:cubicBezTo>
                    <a:pt x="1165" y="1186"/>
                    <a:pt x="1163" y="1186"/>
                    <a:pt x="1163" y="1187"/>
                  </a:cubicBezTo>
                  <a:cubicBezTo>
                    <a:pt x="1163" y="1187"/>
                    <a:pt x="1163" y="1189"/>
                    <a:pt x="1163" y="1190"/>
                  </a:cubicBezTo>
                  <a:cubicBezTo>
                    <a:pt x="1168" y="1194"/>
                    <a:pt x="1173" y="1199"/>
                    <a:pt x="1178" y="1204"/>
                  </a:cubicBezTo>
                  <a:cubicBezTo>
                    <a:pt x="1187" y="1212"/>
                    <a:pt x="1192" y="1212"/>
                    <a:pt x="1202" y="1205"/>
                  </a:cubicBezTo>
                  <a:cubicBezTo>
                    <a:pt x="1207" y="1203"/>
                    <a:pt x="1209" y="1200"/>
                    <a:pt x="1210" y="1195"/>
                  </a:cubicBezTo>
                  <a:cubicBezTo>
                    <a:pt x="1210" y="1195"/>
                    <a:pt x="1210" y="1195"/>
                    <a:pt x="1210" y="1195"/>
                  </a:cubicBezTo>
                  <a:cubicBezTo>
                    <a:pt x="1210" y="1194"/>
                    <a:pt x="1210" y="1194"/>
                    <a:pt x="1210" y="1194"/>
                  </a:cubicBezTo>
                  <a:cubicBezTo>
                    <a:pt x="1210" y="1194"/>
                    <a:pt x="1210" y="1194"/>
                    <a:pt x="1210" y="1194"/>
                  </a:cubicBezTo>
                  <a:cubicBezTo>
                    <a:pt x="1210" y="1194"/>
                    <a:pt x="1210" y="1195"/>
                    <a:pt x="1210" y="1195"/>
                  </a:cubicBezTo>
                  <a:cubicBezTo>
                    <a:pt x="1210" y="1195"/>
                    <a:pt x="1211" y="1195"/>
                    <a:pt x="1211" y="1195"/>
                  </a:cubicBezTo>
                  <a:cubicBezTo>
                    <a:pt x="1214" y="1202"/>
                    <a:pt x="1216" y="1209"/>
                    <a:pt x="1216" y="1217"/>
                  </a:cubicBezTo>
                  <a:cubicBezTo>
                    <a:pt x="1216" y="1220"/>
                    <a:pt x="1216" y="1223"/>
                    <a:pt x="1217" y="1226"/>
                  </a:cubicBezTo>
                  <a:cubicBezTo>
                    <a:pt x="1220" y="1233"/>
                    <a:pt x="1221" y="1241"/>
                    <a:pt x="1223" y="1249"/>
                  </a:cubicBezTo>
                  <a:cubicBezTo>
                    <a:pt x="1225" y="1256"/>
                    <a:pt x="1230" y="1263"/>
                    <a:pt x="1230" y="1271"/>
                  </a:cubicBezTo>
                  <a:cubicBezTo>
                    <a:pt x="1230" y="1272"/>
                    <a:pt x="1231" y="1274"/>
                    <a:pt x="1232" y="1275"/>
                  </a:cubicBezTo>
                  <a:cubicBezTo>
                    <a:pt x="1234" y="1280"/>
                    <a:pt x="1237" y="1285"/>
                    <a:pt x="1240" y="1289"/>
                  </a:cubicBezTo>
                  <a:cubicBezTo>
                    <a:pt x="1244" y="1294"/>
                    <a:pt x="1246" y="1300"/>
                    <a:pt x="1248" y="1306"/>
                  </a:cubicBezTo>
                  <a:cubicBezTo>
                    <a:pt x="1249" y="1309"/>
                    <a:pt x="1251" y="1312"/>
                    <a:pt x="1251" y="1315"/>
                  </a:cubicBezTo>
                  <a:cubicBezTo>
                    <a:pt x="1253" y="1321"/>
                    <a:pt x="1256" y="1326"/>
                    <a:pt x="1261" y="1331"/>
                  </a:cubicBezTo>
                  <a:cubicBezTo>
                    <a:pt x="1263" y="1333"/>
                    <a:pt x="1266" y="1337"/>
                    <a:pt x="1267" y="1340"/>
                  </a:cubicBezTo>
                  <a:cubicBezTo>
                    <a:pt x="1270" y="1347"/>
                    <a:pt x="1275" y="1354"/>
                    <a:pt x="1276" y="1362"/>
                  </a:cubicBezTo>
                  <a:cubicBezTo>
                    <a:pt x="1276" y="1367"/>
                    <a:pt x="1279" y="1371"/>
                    <a:pt x="1282" y="1375"/>
                  </a:cubicBezTo>
                  <a:cubicBezTo>
                    <a:pt x="1283" y="1376"/>
                    <a:pt x="1285" y="1378"/>
                    <a:pt x="1286" y="1379"/>
                  </a:cubicBezTo>
                  <a:cubicBezTo>
                    <a:pt x="1290" y="1382"/>
                    <a:pt x="1297" y="1381"/>
                    <a:pt x="1299" y="1377"/>
                  </a:cubicBezTo>
                  <a:cubicBezTo>
                    <a:pt x="1300" y="1376"/>
                    <a:pt x="1301" y="1375"/>
                    <a:pt x="1302" y="1373"/>
                  </a:cubicBezTo>
                  <a:cubicBezTo>
                    <a:pt x="1303" y="1371"/>
                    <a:pt x="1305" y="1369"/>
                    <a:pt x="1308" y="1368"/>
                  </a:cubicBezTo>
                  <a:cubicBezTo>
                    <a:pt x="1311" y="1367"/>
                    <a:pt x="1312" y="1364"/>
                    <a:pt x="1314" y="1361"/>
                  </a:cubicBezTo>
                  <a:cubicBezTo>
                    <a:pt x="1315" y="1357"/>
                    <a:pt x="1318" y="1354"/>
                    <a:pt x="1322" y="1352"/>
                  </a:cubicBezTo>
                  <a:cubicBezTo>
                    <a:pt x="1325" y="1350"/>
                    <a:pt x="1325" y="1348"/>
                    <a:pt x="1325" y="1345"/>
                  </a:cubicBezTo>
                  <a:cubicBezTo>
                    <a:pt x="1325" y="1342"/>
                    <a:pt x="1324" y="1340"/>
                    <a:pt x="1324" y="1337"/>
                  </a:cubicBezTo>
                  <a:cubicBezTo>
                    <a:pt x="1323" y="1334"/>
                    <a:pt x="1323" y="1331"/>
                    <a:pt x="1325" y="1328"/>
                  </a:cubicBezTo>
                  <a:cubicBezTo>
                    <a:pt x="1326" y="1326"/>
                    <a:pt x="1326" y="1324"/>
                    <a:pt x="1327" y="1322"/>
                  </a:cubicBezTo>
                  <a:cubicBezTo>
                    <a:pt x="1329" y="1318"/>
                    <a:pt x="1329" y="1313"/>
                    <a:pt x="1327" y="1309"/>
                  </a:cubicBezTo>
                  <a:cubicBezTo>
                    <a:pt x="1326" y="1306"/>
                    <a:pt x="1326" y="1304"/>
                    <a:pt x="1326" y="1301"/>
                  </a:cubicBezTo>
                  <a:cubicBezTo>
                    <a:pt x="1326" y="1295"/>
                    <a:pt x="1326" y="1290"/>
                    <a:pt x="1326" y="1284"/>
                  </a:cubicBezTo>
                  <a:cubicBezTo>
                    <a:pt x="1326" y="1280"/>
                    <a:pt x="1328" y="1278"/>
                    <a:pt x="1332" y="1277"/>
                  </a:cubicBezTo>
                  <a:cubicBezTo>
                    <a:pt x="1333" y="1277"/>
                    <a:pt x="1336" y="1277"/>
                    <a:pt x="1336" y="1276"/>
                  </a:cubicBezTo>
                  <a:cubicBezTo>
                    <a:pt x="1339" y="1271"/>
                    <a:pt x="1344" y="1270"/>
                    <a:pt x="1348" y="1268"/>
                  </a:cubicBezTo>
                  <a:cubicBezTo>
                    <a:pt x="1350" y="1268"/>
                    <a:pt x="1352" y="1266"/>
                    <a:pt x="1352" y="1264"/>
                  </a:cubicBezTo>
                  <a:cubicBezTo>
                    <a:pt x="1353" y="1261"/>
                    <a:pt x="1354" y="1258"/>
                    <a:pt x="1356" y="1257"/>
                  </a:cubicBezTo>
                  <a:cubicBezTo>
                    <a:pt x="1363" y="1253"/>
                    <a:pt x="1367" y="1247"/>
                    <a:pt x="1374" y="1243"/>
                  </a:cubicBezTo>
                  <a:cubicBezTo>
                    <a:pt x="1376" y="1241"/>
                    <a:pt x="1378" y="1238"/>
                    <a:pt x="1380" y="1236"/>
                  </a:cubicBezTo>
                  <a:cubicBezTo>
                    <a:pt x="1382" y="1233"/>
                    <a:pt x="1385" y="1230"/>
                    <a:pt x="1387" y="1227"/>
                  </a:cubicBezTo>
                  <a:cubicBezTo>
                    <a:pt x="1389" y="1225"/>
                    <a:pt x="1391" y="1224"/>
                    <a:pt x="1394" y="1223"/>
                  </a:cubicBezTo>
                  <a:cubicBezTo>
                    <a:pt x="1403" y="1219"/>
                    <a:pt x="1409" y="1213"/>
                    <a:pt x="1409" y="1202"/>
                  </a:cubicBezTo>
                  <a:cubicBezTo>
                    <a:pt x="1409" y="1200"/>
                    <a:pt x="1411" y="1198"/>
                    <a:pt x="1414" y="1197"/>
                  </a:cubicBezTo>
                  <a:cubicBezTo>
                    <a:pt x="1418" y="1194"/>
                    <a:pt x="1422" y="1194"/>
                    <a:pt x="1427" y="1194"/>
                  </a:cubicBezTo>
                  <a:cubicBezTo>
                    <a:pt x="1437" y="1195"/>
                    <a:pt x="1446" y="1192"/>
                    <a:pt x="1455" y="1187"/>
                  </a:cubicBezTo>
                  <a:cubicBezTo>
                    <a:pt x="1458" y="1184"/>
                    <a:pt x="1463" y="1185"/>
                    <a:pt x="1467" y="1182"/>
                  </a:cubicBezTo>
                  <a:cubicBezTo>
                    <a:pt x="1467" y="1181"/>
                    <a:pt x="1469" y="1182"/>
                    <a:pt x="1469" y="1183"/>
                  </a:cubicBezTo>
                  <a:cubicBezTo>
                    <a:pt x="1470" y="1186"/>
                    <a:pt x="1471" y="1189"/>
                    <a:pt x="1472" y="1192"/>
                  </a:cubicBezTo>
                  <a:cubicBezTo>
                    <a:pt x="1476" y="1202"/>
                    <a:pt x="1481" y="1211"/>
                    <a:pt x="1492" y="1216"/>
                  </a:cubicBezTo>
                  <a:cubicBezTo>
                    <a:pt x="1494" y="1216"/>
                    <a:pt x="1495" y="1217"/>
                    <a:pt x="1497" y="1218"/>
                  </a:cubicBezTo>
                  <a:cubicBezTo>
                    <a:pt x="1499" y="1219"/>
                    <a:pt x="1499" y="1221"/>
                    <a:pt x="1499" y="1224"/>
                  </a:cubicBezTo>
                  <a:cubicBezTo>
                    <a:pt x="1498" y="1229"/>
                    <a:pt x="1498" y="1231"/>
                    <a:pt x="1503" y="1233"/>
                  </a:cubicBezTo>
                  <a:cubicBezTo>
                    <a:pt x="1506" y="1234"/>
                    <a:pt x="1509" y="1236"/>
                    <a:pt x="1510" y="1239"/>
                  </a:cubicBezTo>
                  <a:cubicBezTo>
                    <a:pt x="1511" y="1239"/>
                    <a:pt x="1511" y="1239"/>
                    <a:pt x="1511" y="1240"/>
                  </a:cubicBezTo>
                  <a:cubicBezTo>
                    <a:pt x="1515" y="1247"/>
                    <a:pt x="1516" y="1254"/>
                    <a:pt x="1514" y="1261"/>
                  </a:cubicBezTo>
                  <a:cubicBezTo>
                    <a:pt x="1513" y="1263"/>
                    <a:pt x="1514" y="1266"/>
                    <a:pt x="1514" y="1269"/>
                  </a:cubicBezTo>
                  <a:cubicBezTo>
                    <a:pt x="1514" y="1271"/>
                    <a:pt x="1517" y="1274"/>
                    <a:pt x="1519" y="1274"/>
                  </a:cubicBezTo>
                  <a:cubicBezTo>
                    <a:pt x="1525" y="1274"/>
                    <a:pt x="1531" y="1273"/>
                    <a:pt x="1536" y="1270"/>
                  </a:cubicBezTo>
                  <a:cubicBezTo>
                    <a:pt x="1540" y="1267"/>
                    <a:pt x="1545" y="1265"/>
                    <a:pt x="1549" y="1262"/>
                  </a:cubicBezTo>
                  <a:close/>
                  <a:moveTo>
                    <a:pt x="2226" y="188"/>
                  </a:moveTo>
                  <a:cubicBezTo>
                    <a:pt x="2228" y="187"/>
                    <a:pt x="2230" y="187"/>
                    <a:pt x="2232" y="186"/>
                  </a:cubicBezTo>
                  <a:cubicBezTo>
                    <a:pt x="2232" y="186"/>
                    <a:pt x="2233" y="187"/>
                    <a:pt x="2233" y="187"/>
                  </a:cubicBezTo>
                  <a:cubicBezTo>
                    <a:pt x="2233" y="187"/>
                    <a:pt x="2233" y="188"/>
                    <a:pt x="2233" y="189"/>
                  </a:cubicBezTo>
                  <a:cubicBezTo>
                    <a:pt x="2232" y="190"/>
                    <a:pt x="2230" y="191"/>
                    <a:pt x="2228" y="192"/>
                  </a:cubicBezTo>
                  <a:cubicBezTo>
                    <a:pt x="2227" y="192"/>
                    <a:pt x="2225" y="191"/>
                    <a:pt x="2224" y="190"/>
                  </a:cubicBezTo>
                  <a:cubicBezTo>
                    <a:pt x="2224" y="189"/>
                    <a:pt x="2224" y="188"/>
                    <a:pt x="2226" y="188"/>
                  </a:cubicBezTo>
                  <a:close/>
                  <a:moveTo>
                    <a:pt x="1712" y="60"/>
                  </a:moveTo>
                  <a:cubicBezTo>
                    <a:pt x="1713" y="60"/>
                    <a:pt x="1714" y="60"/>
                    <a:pt x="1715" y="60"/>
                  </a:cubicBezTo>
                  <a:cubicBezTo>
                    <a:pt x="1715" y="61"/>
                    <a:pt x="1714" y="61"/>
                    <a:pt x="1714" y="62"/>
                  </a:cubicBezTo>
                  <a:cubicBezTo>
                    <a:pt x="1713" y="63"/>
                    <a:pt x="1712" y="64"/>
                    <a:pt x="1711" y="65"/>
                  </a:cubicBezTo>
                  <a:cubicBezTo>
                    <a:pt x="1710" y="65"/>
                    <a:pt x="1710" y="65"/>
                    <a:pt x="1709" y="65"/>
                  </a:cubicBezTo>
                  <a:cubicBezTo>
                    <a:pt x="1708" y="65"/>
                    <a:pt x="1707" y="65"/>
                    <a:pt x="1707" y="64"/>
                  </a:cubicBezTo>
                  <a:cubicBezTo>
                    <a:pt x="1707" y="61"/>
                    <a:pt x="1708" y="60"/>
                    <a:pt x="1712" y="60"/>
                  </a:cubicBezTo>
                  <a:close/>
                  <a:moveTo>
                    <a:pt x="1657" y="115"/>
                  </a:moveTo>
                  <a:cubicBezTo>
                    <a:pt x="1659" y="115"/>
                    <a:pt x="1661" y="116"/>
                    <a:pt x="1663" y="116"/>
                  </a:cubicBezTo>
                  <a:cubicBezTo>
                    <a:pt x="1664" y="116"/>
                    <a:pt x="1664" y="117"/>
                    <a:pt x="1664" y="117"/>
                  </a:cubicBezTo>
                  <a:cubicBezTo>
                    <a:pt x="1663" y="118"/>
                    <a:pt x="1663" y="119"/>
                    <a:pt x="1662" y="120"/>
                  </a:cubicBezTo>
                  <a:cubicBezTo>
                    <a:pt x="1660" y="121"/>
                    <a:pt x="1657" y="120"/>
                    <a:pt x="1656" y="117"/>
                  </a:cubicBezTo>
                  <a:cubicBezTo>
                    <a:pt x="1655" y="116"/>
                    <a:pt x="1656" y="115"/>
                    <a:pt x="1657" y="115"/>
                  </a:cubicBezTo>
                  <a:close/>
                  <a:moveTo>
                    <a:pt x="1312" y="49"/>
                  </a:moveTo>
                  <a:cubicBezTo>
                    <a:pt x="1313" y="49"/>
                    <a:pt x="1313" y="49"/>
                    <a:pt x="1313" y="50"/>
                  </a:cubicBezTo>
                  <a:cubicBezTo>
                    <a:pt x="1313" y="49"/>
                    <a:pt x="1312" y="49"/>
                    <a:pt x="1312" y="49"/>
                  </a:cubicBezTo>
                  <a:cubicBezTo>
                    <a:pt x="1311" y="48"/>
                    <a:pt x="1311" y="48"/>
                    <a:pt x="1311" y="48"/>
                  </a:cubicBezTo>
                  <a:lnTo>
                    <a:pt x="1312" y="49"/>
                  </a:lnTo>
                  <a:close/>
                  <a:moveTo>
                    <a:pt x="346" y="522"/>
                  </a:moveTo>
                  <a:cubicBezTo>
                    <a:pt x="346" y="521"/>
                    <a:pt x="346" y="521"/>
                    <a:pt x="346" y="521"/>
                  </a:cubicBezTo>
                  <a:cubicBezTo>
                    <a:pt x="347" y="521"/>
                    <a:pt x="347" y="521"/>
                    <a:pt x="347" y="521"/>
                  </a:cubicBezTo>
                  <a:lnTo>
                    <a:pt x="346" y="522"/>
                  </a:lnTo>
                  <a:close/>
                  <a:moveTo>
                    <a:pt x="452" y="367"/>
                  </a:moveTo>
                  <a:cubicBezTo>
                    <a:pt x="452" y="368"/>
                    <a:pt x="451" y="368"/>
                    <a:pt x="450" y="368"/>
                  </a:cubicBezTo>
                  <a:cubicBezTo>
                    <a:pt x="449" y="368"/>
                    <a:pt x="448" y="368"/>
                    <a:pt x="448" y="368"/>
                  </a:cubicBezTo>
                  <a:cubicBezTo>
                    <a:pt x="448" y="367"/>
                    <a:pt x="447" y="366"/>
                    <a:pt x="447" y="365"/>
                  </a:cubicBezTo>
                  <a:cubicBezTo>
                    <a:pt x="447" y="365"/>
                    <a:pt x="449" y="364"/>
                    <a:pt x="449" y="364"/>
                  </a:cubicBezTo>
                  <a:cubicBezTo>
                    <a:pt x="451" y="364"/>
                    <a:pt x="453" y="366"/>
                    <a:pt x="452" y="367"/>
                  </a:cubicBezTo>
                  <a:close/>
                  <a:moveTo>
                    <a:pt x="469" y="357"/>
                  </a:moveTo>
                  <a:cubicBezTo>
                    <a:pt x="469" y="357"/>
                    <a:pt x="469" y="357"/>
                    <a:pt x="469" y="357"/>
                  </a:cubicBezTo>
                  <a:cubicBezTo>
                    <a:pt x="469" y="358"/>
                    <a:pt x="469" y="359"/>
                    <a:pt x="467" y="359"/>
                  </a:cubicBezTo>
                  <a:cubicBezTo>
                    <a:pt x="467" y="359"/>
                    <a:pt x="467" y="358"/>
                    <a:pt x="467" y="358"/>
                  </a:cubicBezTo>
                  <a:cubicBezTo>
                    <a:pt x="467" y="358"/>
                    <a:pt x="468" y="358"/>
                    <a:pt x="469" y="357"/>
                  </a:cubicBezTo>
                  <a:cubicBezTo>
                    <a:pt x="469" y="357"/>
                    <a:pt x="469" y="357"/>
                    <a:pt x="469" y="357"/>
                  </a:cubicBezTo>
                  <a:cubicBezTo>
                    <a:pt x="469" y="356"/>
                    <a:pt x="469" y="356"/>
                    <a:pt x="469" y="356"/>
                  </a:cubicBezTo>
                  <a:lnTo>
                    <a:pt x="469" y="357"/>
                  </a:lnTo>
                  <a:close/>
                  <a:moveTo>
                    <a:pt x="492" y="350"/>
                  </a:moveTo>
                  <a:cubicBezTo>
                    <a:pt x="492" y="350"/>
                    <a:pt x="492" y="350"/>
                    <a:pt x="492" y="350"/>
                  </a:cubicBezTo>
                  <a:cubicBezTo>
                    <a:pt x="492" y="351"/>
                    <a:pt x="492" y="351"/>
                    <a:pt x="492" y="351"/>
                  </a:cubicBezTo>
                  <a:cubicBezTo>
                    <a:pt x="492" y="353"/>
                    <a:pt x="492" y="355"/>
                    <a:pt x="491" y="357"/>
                  </a:cubicBezTo>
                  <a:cubicBezTo>
                    <a:pt x="491" y="358"/>
                    <a:pt x="491" y="358"/>
                    <a:pt x="491" y="359"/>
                  </a:cubicBezTo>
                  <a:cubicBezTo>
                    <a:pt x="491" y="358"/>
                    <a:pt x="490" y="358"/>
                    <a:pt x="490" y="357"/>
                  </a:cubicBezTo>
                  <a:cubicBezTo>
                    <a:pt x="490" y="355"/>
                    <a:pt x="491" y="353"/>
                    <a:pt x="492" y="351"/>
                  </a:cubicBezTo>
                  <a:cubicBezTo>
                    <a:pt x="492" y="351"/>
                    <a:pt x="492" y="350"/>
                    <a:pt x="492" y="350"/>
                  </a:cubicBezTo>
                  <a:cubicBezTo>
                    <a:pt x="492" y="350"/>
                    <a:pt x="492" y="350"/>
                    <a:pt x="492" y="350"/>
                  </a:cubicBezTo>
                  <a:cubicBezTo>
                    <a:pt x="493" y="350"/>
                    <a:pt x="493" y="349"/>
                    <a:pt x="493" y="349"/>
                  </a:cubicBezTo>
                  <a:cubicBezTo>
                    <a:pt x="493" y="349"/>
                    <a:pt x="493" y="350"/>
                    <a:pt x="492" y="350"/>
                  </a:cubicBezTo>
                  <a:close/>
                  <a:moveTo>
                    <a:pt x="522" y="389"/>
                  </a:moveTo>
                  <a:cubicBezTo>
                    <a:pt x="523" y="387"/>
                    <a:pt x="524" y="386"/>
                    <a:pt x="525" y="385"/>
                  </a:cubicBezTo>
                  <a:cubicBezTo>
                    <a:pt x="525" y="385"/>
                    <a:pt x="525" y="385"/>
                    <a:pt x="525" y="385"/>
                  </a:cubicBezTo>
                  <a:cubicBezTo>
                    <a:pt x="526" y="384"/>
                    <a:pt x="526" y="384"/>
                    <a:pt x="526" y="384"/>
                  </a:cubicBezTo>
                  <a:cubicBezTo>
                    <a:pt x="525" y="385"/>
                    <a:pt x="525" y="385"/>
                    <a:pt x="525" y="385"/>
                  </a:cubicBezTo>
                  <a:cubicBezTo>
                    <a:pt x="525" y="385"/>
                    <a:pt x="525" y="385"/>
                    <a:pt x="525" y="385"/>
                  </a:cubicBezTo>
                  <a:cubicBezTo>
                    <a:pt x="526" y="386"/>
                    <a:pt x="526" y="388"/>
                    <a:pt x="527" y="389"/>
                  </a:cubicBezTo>
                  <a:cubicBezTo>
                    <a:pt x="527" y="390"/>
                    <a:pt x="525" y="391"/>
                    <a:pt x="525" y="391"/>
                  </a:cubicBezTo>
                  <a:cubicBezTo>
                    <a:pt x="524" y="391"/>
                    <a:pt x="523" y="391"/>
                    <a:pt x="523" y="391"/>
                  </a:cubicBezTo>
                  <a:cubicBezTo>
                    <a:pt x="523" y="390"/>
                    <a:pt x="522" y="389"/>
                    <a:pt x="522" y="389"/>
                  </a:cubicBezTo>
                  <a:close/>
                  <a:moveTo>
                    <a:pt x="553" y="618"/>
                  </a:moveTo>
                  <a:cubicBezTo>
                    <a:pt x="553" y="618"/>
                    <a:pt x="552" y="618"/>
                    <a:pt x="552" y="618"/>
                  </a:cubicBezTo>
                  <a:cubicBezTo>
                    <a:pt x="550" y="619"/>
                    <a:pt x="550" y="618"/>
                    <a:pt x="549" y="617"/>
                  </a:cubicBezTo>
                  <a:cubicBezTo>
                    <a:pt x="548" y="616"/>
                    <a:pt x="548" y="614"/>
                    <a:pt x="550" y="613"/>
                  </a:cubicBezTo>
                  <a:cubicBezTo>
                    <a:pt x="550" y="613"/>
                    <a:pt x="551" y="613"/>
                    <a:pt x="551" y="613"/>
                  </a:cubicBezTo>
                  <a:cubicBezTo>
                    <a:pt x="553" y="614"/>
                    <a:pt x="554" y="616"/>
                    <a:pt x="553" y="618"/>
                  </a:cubicBezTo>
                  <a:close/>
                  <a:moveTo>
                    <a:pt x="558" y="630"/>
                  </a:moveTo>
                  <a:cubicBezTo>
                    <a:pt x="558" y="629"/>
                    <a:pt x="558" y="629"/>
                    <a:pt x="558" y="629"/>
                  </a:cubicBezTo>
                  <a:cubicBezTo>
                    <a:pt x="559" y="629"/>
                    <a:pt x="559" y="629"/>
                    <a:pt x="559" y="629"/>
                  </a:cubicBezTo>
                  <a:cubicBezTo>
                    <a:pt x="559" y="630"/>
                    <a:pt x="559" y="630"/>
                    <a:pt x="559" y="630"/>
                  </a:cubicBezTo>
                  <a:lnTo>
                    <a:pt x="558" y="630"/>
                  </a:lnTo>
                  <a:close/>
                  <a:moveTo>
                    <a:pt x="628" y="541"/>
                  </a:moveTo>
                  <a:cubicBezTo>
                    <a:pt x="630" y="540"/>
                    <a:pt x="632" y="540"/>
                    <a:pt x="634" y="538"/>
                  </a:cubicBezTo>
                  <a:cubicBezTo>
                    <a:pt x="635" y="538"/>
                    <a:pt x="636" y="537"/>
                    <a:pt x="636" y="536"/>
                  </a:cubicBezTo>
                  <a:cubicBezTo>
                    <a:pt x="636" y="537"/>
                    <a:pt x="637" y="537"/>
                    <a:pt x="637" y="538"/>
                  </a:cubicBezTo>
                  <a:cubicBezTo>
                    <a:pt x="638" y="544"/>
                    <a:pt x="641" y="548"/>
                    <a:pt x="645" y="553"/>
                  </a:cubicBezTo>
                  <a:cubicBezTo>
                    <a:pt x="646" y="555"/>
                    <a:pt x="646" y="557"/>
                    <a:pt x="647" y="559"/>
                  </a:cubicBezTo>
                  <a:cubicBezTo>
                    <a:pt x="646" y="560"/>
                    <a:pt x="645" y="562"/>
                    <a:pt x="644" y="563"/>
                  </a:cubicBezTo>
                  <a:cubicBezTo>
                    <a:pt x="644" y="564"/>
                    <a:pt x="643" y="564"/>
                    <a:pt x="642" y="565"/>
                  </a:cubicBezTo>
                  <a:cubicBezTo>
                    <a:pt x="641" y="565"/>
                    <a:pt x="640" y="564"/>
                    <a:pt x="640" y="563"/>
                  </a:cubicBezTo>
                  <a:cubicBezTo>
                    <a:pt x="640" y="558"/>
                    <a:pt x="637" y="555"/>
                    <a:pt x="633" y="553"/>
                  </a:cubicBezTo>
                  <a:cubicBezTo>
                    <a:pt x="629" y="552"/>
                    <a:pt x="627" y="549"/>
                    <a:pt x="626" y="545"/>
                  </a:cubicBezTo>
                  <a:cubicBezTo>
                    <a:pt x="625" y="543"/>
                    <a:pt x="626" y="541"/>
                    <a:pt x="628" y="541"/>
                  </a:cubicBezTo>
                  <a:close/>
                  <a:moveTo>
                    <a:pt x="585" y="419"/>
                  </a:moveTo>
                  <a:cubicBezTo>
                    <a:pt x="585" y="418"/>
                    <a:pt x="586" y="417"/>
                    <a:pt x="586" y="417"/>
                  </a:cubicBezTo>
                  <a:cubicBezTo>
                    <a:pt x="586" y="418"/>
                    <a:pt x="585" y="418"/>
                    <a:pt x="585" y="419"/>
                  </a:cubicBezTo>
                  <a:cubicBezTo>
                    <a:pt x="585" y="420"/>
                    <a:pt x="585" y="420"/>
                    <a:pt x="584" y="419"/>
                  </a:cubicBezTo>
                  <a:cubicBezTo>
                    <a:pt x="584" y="419"/>
                    <a:pt x="584" y="419"/>
                    <a:pt x="585" y="419"/>
                  </a:cubicBezTo>
                  <a:close/>
                  <a:moveTo>
                    <a:pt x="579" y="565"/>
                  </a:moveTo>
                  <a:cubicBezTo>
                    <a:pt x="579" y="564"/>
                    <a:pt x="578" y="563"/>
                    <a:pt x="579" y="562"/>
                  </a:cubicBezTo>
                  <a:cubicBezTo>
                    <a:pt x="579" y="558"/>
                    <a:pt x="581" y="555"/>
                    <a:pt x="585" y="553"/>
                  </a:cubicBezTo>
                  <a:cubicBezTo>
                    <a:pt x="585" y="553"/>
                    <a:pt x="586" y="553"/>
                    <a:pt x="586" y="553"/>
                  </a:cubicBezTo>
                  <a:cubicBezTo>
                    <a:pt x="587" y="553"/>
                    <a:pt x="589" y="553"/>
                    <a:pt x="589" y="554"/>
                  </a:cubicBezTo>
                  <a:cubicBezTo>
                    <a:pt x="593" y="556"/>
                    <a:pt x="596" y="559"/>
                    <a:pt x="600" y="562"/>
                  </a:cubicBezTo>
                  <a:cubicBezTo>
                    <a:pt x="600" y="562"/>
                    <a:pt x="601" y="563"/>
                    <a:pt x="602" y="564"/>
                  </a:cubicBezTo>
                  <a:cubicBezTo>
                    <a:pt x="609" y="570"/>
                    <a:pt x="608" y="577"/>
                    <a:pt x="599" y="582"/>
                  </a:cubicBezTo>
                  <a:cubicBezTo>
                    <a:pt x="599" y="582"/>
                    <a:pt x="598" y="583"/>
                    <a:pt x="598" y="583"/>
                  </a:cubicBezTo>
                  <a:cubicBezTo>
                    <a:pt x="595" y="584"/>
                    <a:pt x="594" y="584"/>
                    <a:pt x="592" y="583"/>
                  </a:cubicBezTo>
                  <a:cubicBezTo>
                    <a:pt x="587" y="577"/>
                    <a:pt x="583" y="571"/>
                    <a:pt x="579" y="565"/>
                  </a:cubicBezTo>
                  <a:close/>
                  <a:moveTo>
                    <a:pt x="601" y="927"/>
                  </a:moveTo>
                  <a:cubicBezTo>
                    <a:pt x="600" y="928"/>
                    <a:pt x="598" y="929"/>
                    <a:pt x="597" y="929"/>
                  </a:cubicBezTo>
                  <a:cubicBezTo>
                    <a:pt x="596" y="930"/>
                    <a:pt x="595" y="929"/>
                    <a:pt x="594" y="929"/>
                  </a:cubicBezTo>
                  <a:cubicBezTo>
                    <a:pt x="593" y="929"/>
                    <a:pt x="592" y="929"/>
                    <a:pt x="591" y="929"/>
                  </a:cubicBezTo>
                  <a:cubicBezTo>
                    <a:pt x="589" y="929"/>
                    <a:pt x="587" y="929"/>
                    <a:pt x="586" y="929"/>
                  </a:cubicBezTo>
                  <a:cubicBezTo>
                    <a:pt x="584" y="929"/>
                    <a:pt x="582" y="928"/>
                    <a:pt x="582" y="927"/>
                  </a:cubicBezTo>
                  <a:cubicBezTo>
                    <a:pt x="583" y="925"/>
                    <a:pt x="584" y="924"/>
                    <a:pt x="585" y="923"/>
                  </a:cubicBezTo>
                  <a:cubicBezTo>
                    <a:pt x="589" y="920"/>
                    <a:pt x="594" y="921"/>
                    <a:pt x="599" y="921"/>
                  </a:cubicBezTo>
                  <a:cubicBezTo>
                    <a:pt x="602" y="922"/>
                    <a:pt x="603" y="924"/>
                    <a:pt x="601" y="927"/>
                  </a:cubicBezTo>
                  <a:close/>
                  <a:moveTo>
                    <a:pt x="759" y="911"/>
                  </a:moveTo>
                  <a:cubicBezTo>
                    <a:pt x="757" y="912"/>
                    <a:pt x="755" y="913"/>
                    <a:pt x="754" y="914"/>
                  </a:cubicBezTo>
                  <a:cubicBezTo>
                    <a:pt x="750" y="916"/>
                    <a:pt x="747" y="917"/>
                    <a:pt x="743" y="916"/>
                  </a:cubicBezTo>
                  <a:cubicBezTo>
                    <a:pt x="738" y="914"/>
                    <a:pt x="733" y="915"/>
                    <a:pt x="728" y="917"/>
                  </a:cubicBezTo>
                  <a:cubicBezTo>
                    <a:pt x="725" y="918"/>
                    <a:pt x="722" y="917"/>
                    <a:pt x="718" y="916"/>
                  </a:cubicBezTo>
                  <a:cubicBezTo>
                    <a:pt x="712" y="914"/>
                    <a:pt x="706" y="913"/>
                    <a:pt x="700" y="911"/>
                  </a:cubicBezTo>
                  <a:cubicBezTo>
                    <a:pt x="698" y="910"/>
                    <a:pt x="697" y="909"/>
                    <a:pt x="696" y="908"/>
                  </a:cubicBezTo>
                  <a:cubicBezTo>
                    <a:pt x="695" y="907"/>
                    <a:pt x="694" y="906"/>
                    <a:pt x="693" y="906"/>
                  </a:cubicBezTo>
                  <a:cubicBezTo>
                    <a:pt x="687" y="905"/>
                    <a:pt x="682" y="903"/>
                    <a:pt x="676" y="902"/>
                  </a:cubicBezTo>
                  <a:cubicBezTo>
                    <a:pt x="665" y="900"/>
                    <a:pt x="654" y="902"/>
                    <a:pt x="644" y="906"/>
                  </a:cubicBezTo>
                  <a:cubicBezTo>
                    <a:pt x="639" y="907"/>
                    <a:pt x="636" y="910"/>
                    <a:pt x="633" y="913"/>
                  </a:cubicBezTo>
                  <a:cubicBezTo>
                    <a:pt x="631" y="916"/>
                    <a:pt x="629" y="917"/>
                    <a:pt x="626" y="916"/>
                  </a:cubicBezTo>
                  <a:cubicBezTo>
                    <a:pt x="620" y="914"/>
                    <a:pt x="614" y="915"/>
                    <a:pt x="608" y="915"/>
                  </a:cubicBezTo>
                  <a:cubicBezTo>
                    <a:pt x="599" y="915"/>
                    <a:pt x="593" y="912"/>
                    <a:pt x="589" y="904"/>
                  </a:cubicBezTo>
                  <a:cubicBezTo>
                    <a:pt x="588" y="902"/>
                    <a:pt x="587" y="899"/>
                    <a:pt x="586" y="897"/>
                  </a:cubicBezTo>
                  <a:cubicBezTo>
                    <a:pt x="585" y="896"/>
                    <a:pt x="585" y="894"/>
                    <a:pt x="586" y="892"/>
                  </a:cubicBezTo>
                  <a:cubicBezTo>
                    <a:pt x="587" y="889"/>
                    <a:pt x="587" y="885"/>
                    <a:pt x="590" y="883"/>
                  </a:cubicBezTo>
                  <a:cubicBezTo>
                    <a:pt x="593" y="880"/>
                    <a:pt x="595" y="877"/>
                    <a:pt x="595" y="873"/>
                  </a:cubicBezTo>
                  <a:cubicBezTo>
                    <a:pt x="595" y="870"/>
                    <a:pt x="595" y="867"/>
                    <a:pt x="596" y="864"/>
                  </a:cubicBezTo>
                  <a:cubicBezTo>
                    <a:pt x="596" y="861"/>
                    <a:pt x="597" y="860"/>
                    <a:pt x="600" y="859"/>
                  </a:cubicBezTo>
                  <a:cubicBezTo>
                    <a:pt x="604" y="858"/>
                    <a:pt x="605" y="855"/>
                    <a:pt x="606" y="851"/>
                  </a:cubicBezTo>
                  <a:cubicBezTo>
                    <a:pt x="606" y="849"/>
                    <a:pt x="607" y="847"/>
                    <a:pt x="608" y="845"/>
                  </a:cubicBezTo>
                  <a:cubicBezTo>
                    <a:pt x="612" y="840"/>
                    <a:pt x="615" y="836"/>
                    <a:pt x="619" y="831"/>
                  </a:cubicBezTo>
                  <a:cubicBezTo>
                    <a:pt x="620" y="829"/>
                    <a:pt x="624" y="829"/>
                    <a:pt x="626" y="830"/>
                  </a:cubicBezTo>
                  <a:cubicBezTo>
                    <a:pt x="627" y="830"/>
                    <a:pt x="627" y="830"/>
                    <a:pt x="628" y="830"/>
                  </a:cubicBezTo>
                  <a:cubicBezTo>
                    <a:pt x="633" y="835"/>
                    <a:pt x="640" y="837"/>
                    <a:pt x="647" y="837"/>
                  </a:cubicBezTo>
                  <a:cubicBezTo>
                    <a:pt x="649" y="837"/>
                    <a:pt x="650" y="840"/>
                    <a:pt x="649" y="841"/>
                  </a:cubicBezTo>
                  <a:cubicBezTo>
                    <a:pt x="647" y="842"/>
                    <a:pt x="646" y="844"/>
                    <a:pt x="644" y="845"/>
                  </a:cubicBezTo>
                  <a:cubicBezTo>
                    <a:pt x="643" y="847"/>
                    <a:pt x="644" y="848"/>
                    <a:pt x="645" y="849"/>
                  </a:cubicBezTo>
                  <a:cubicBezTo>
                    <a:pt x="646" y="850"/>
                    <a:pt x="647" y="850"/>
                    <a:pt x="648" y="850"/>
                  </a:cubicBezTo>
                  <a:cubicBezTo>
                    <a:pt x="651" y="852"/>
                    <a:pt x="653" y="854"/>
                    <a:pt x="654" y="858"/>
                  </a:cubicBezTo>
                  <a:cubicBezTo>
                    <a:pt x="655" y="862"/>
                    <a:pt x="658" y="863"/>
                    <a:pt x="662" y="862"/>
                  </a:cubicBezTo>
                  <a:cubicBezTo>
                    <a:pt x="664" y="861"/>
                    <a:pt x="665" y="861"/>
                    <a:pt x="667" y="860"/>
                  </a:cubicBezTo>
                  <a:cubicBezTo>
                    <a:pt x="670" y="859"/>
                    <a:pt x="673" y="857"/>
                    <a:pt x="676" y="856"/>
                  </a:cubicBezTo>
                  <a:cubicBezTo>
                    <a:pt x="679" y="853"/>
                    <a:pt x="684" y="853"/>
                    <a:pt x="688" y="852"/>
                  </a:cubicBezTo>
                  <a:cubicBezTo>
                    <a:pt x="689" y="852"/>
                    <a:pt x="690" y="852"/>
                    <a:pt x="691" y="851"/>
                  </a:cubicBezTo>
                  <a:cubicBezTo>
                    <a:pt x="692" y="851"/>
                    <a:pt x="693" y="849"/>
                    <a:pt x="693" y="847"/>
                  </a:cubicBezTo>
                  <a:cubicBezTo>
                    <a:pt x="692" y="845"/>
                    <a:pt x="691" y="844"/>
                    <a:pt x="689" y="844"/>
                  </a:cubicBezTo>
                  <a:cubicBezTo>
                    <a:pt x="689" y="844"/>
                    <a:pt x="688" y="844"/>
                    <a:pt x="687" y="845"/>
                  </a:cubicBezTo>
                  <a:cubicBezTo>
                    <a:pt x="675" y="846"/>
                    <a:pt x="675" y="846"/>
                    <a:pt x="668" y="837"/>
                  </a:cubicBezTo>
                  <a:cubicBezTo>
                    <a:pt x="667" y="837"/>
                    <a:pt x="667" y="837"/>
                    <a:pt x="667" y="837"/>
                  </a:cubicBezTo>
                  <a:cubicBezTo>
                    <a:pt x="667" y="836"/>
                    <a:pt x="667" y="836"/>
                    <a:pt x="667" y="836"/>
                  </a:cubicBezTo>
                  <a:cubicBezTo>
                    <a:pt x="668" y="836"/>
                    <a:pt x="668" y="836"/>
                    <a:pt x="668" y="837"/>
                  </a:cubicBezTo>
                  <a:cubicBezTo>
                    <a:pt x="668" y="837"/>
                    <a:pt x="668" y="837"/>
                    <a:pt x="668" y="837"/>
                  </a:cubicBezTo>
                  <a:cubicBezTo>
                    <a:pt x="672" y="832"/>
                    <a:pt x="677" y="828"/>
                    <a:pt x="684" y="827"/>
                  </a:cubicBezTo>
                  <a:cubicBezTo>
                    <a:pt x="688" y="827"/>
                    <a:pt x="691" y="825"/>
                    <a:pt x="694" y="823"/>
                  </a:cubicBezTo>
                  <a:cubicBezTo>
                    <a:pt x="700" y="818"/>
                    <a:pt x="707" y="817"/>
                    <a:pt x="714" y="818"/>
                  </a:cubicBezTo>
                  <a:cubicBezTo>
                    <a:pt x="715" y="818"/>
                    <a:pt x="716" y="818"/>
                    <a:pt x="716" y="818"/>
                  </a:cubicBezTo>
                  <a:cubicBezTo>
                    <a:pt x="717" y="818"/>
                    <a:pt x="717" y="818"/>
                    <a:pt x="717" y="818"/>
                  </a:cubicBezTo>
                  <a:cubicBezTo>
                    <a:pt x="718" y="817"/>
                    <a:pt x="718" y="817"/>
                    <a:pt x="718" y="817"/>
                  </a:cubicBezTo>
                  <a:cubicBezTo>
                    <a:pt x="717" y="818"/>
                    <a:pt x="717" y="818"/>
                    <a:pt x="717" y="818"/>
                  </a:cubicBezTo>
                  <a:cubicBezTo>
                    <a:pt x="717" y="818"/>
                    <a:pt x="717" y="818"/>
                    <a:pt x="716" y="818"/>
                  </a:cubicBezTo>
                  <a:cubicBezTo>
                    <a:pt x="714" y="820"/>
                    <a:pt x="711" y="823"/>
                    <a:pt x="709" y="825"/>
                  </a:cubicBezTo>
                  <a:cubicBezTo>
                    <a:pt x="707" y="827"/>
                    <a:pt x="707" y="829"/>
                    <a:pt x="708" y="831"/>
                  </a:cubicBezTo>
                  <a:cubicBezTo>
                    <a:pt x="709" y="832"/>
                    <a:pt x="709" y="834"/>
                    <a:pt x="708" y="835"/>
                  </a:cubicBezTo>
                  <a:cubicBezTo>
                    <a:pt x="705" y="840"/>
                    <a:pt x="703" y="845"/>
                    <a:pt x="698" y="848"/>
                  </a:cubicBezTo>
                  <a:cubicBezTo>
                    <a:pt x="698" y="848"/>
                    <a:pt x="698" y="850"/>
                    <a:pt x="698" y="850"/>
                  </a:cubicBezTo>
                  <a:cubicBezTo>
                    <a:pt x="701" y="855"/>
                    <a:pt x="705" y="858"/>
                    <a:pt x="710" y="860"/>
                  </a:cubicBezTo>
                  <a:cubicBezTo>
                    <a:pt x="717" y="861"/>
                    <a:pt x="724" y="865"/>
                    <a:pt x="729" y="870"/>
                  </a:cubicBezTo>
                  <a:cubicBezTo>
                    <a:pt x="735" y="876"/>
                    <a:pt x="743" y="880"/>
                    <a:pt x="750" y="884"/>
                  </a:cubicBezTo>
                  <a:cubicBezTo>
                    <a:pt x="759" y="888"/>
                    <a:pt x="762" y="894"/>
                    <a:pt x="763" y="903"/>
                  </a:cubicBezTo>
                  <a:cubicBezTo>
                    <a:pt x="763" y="906"/>
                    <a:pt x="762" y="909"/>
                    <a:pt x="759" y="911"/>
                  </a:cubicBezTo>
                  <a:close/>
                  <a:moveTo>
                    <a:pt x="936" y="978"/>
                  </a:moveTo>
                  <a:cubicBezTo>
                    <a:pt x="929" y="979"/>
                    <a:pt x="922" y="980"/>
                    <a:pt x="915" y="981"/>
                  </a:cubicBezTo>
                  <a:cubicBezTo>
                    <a:pt x="913" y="981"/>
                    <a:pt x="911" y="981"/>
                    <a:pt x="910" y="981"/>
                  </a:cubicBezTo>
                  <a:cubicBezTo>
                    <a:pt x="902" y="980"/>
                    <a:pt x="894" y="980"/>
                    <a:pt x="889" y="974"/>
                  </a:cubicBezTo>
                  <a:cubicBezTo>
                    <a:pt x="887" y="972"/>
                    <a:pt x="884" y="971"/>
                    <a:pt x="881" y="970"/>
                  </a:cubicBezTo>
                  <a:cubicBezTo>
                    <a:pt x="879" y="970"/>
                    <a:pt x="877" y="970"/>
                    <a:pt x="875" y="969"/>
                  </a:cubicBezTo>
                  <a:cubicBezTo>
                    <a:pt x="873" y="969"/>
                    <a:pt x="872" y="968"/>
                    <a:pt x="871" y="966"/>
                  </a:cubicBezTo>
                  <a:cubicBezTo>
                    <a:pt x="868" y="960"/>
                    <a:pt x="865" y="953"/>
                    <a:pt x="868" y="945"/>
                  </a:cubicBezTo>
                  <a:cubicBezTo>
                    <a:pt x="870" y="942"/>
                    <a:pt x="871" y="938"/>
                    <a:pt x="872" y="935"/>
                  </a:cubicBezTo>
                  <a:cubicBezTo>
                    <a:pt x="872" y="930"/>
                    <a:pt x="875" y="926"/>
                    <a:pt x="879" y="924"/>
                  </a:cubicBezTo>
                  <a:cubicBezTo>
                    <a:pt x="880" y="923"/>
                    <a:pt x="880" y="922"/>
                    <a:pt x="879" y="921"/>
                  </a:cubicBezTo>
                  <a:cubicBezTo>
                    <a:pt x="879" y="920"/>
                    <a:pt x="878" y="920"/>
                    <a:pt x="877" y="919"/>
                  </a:cubicBezTo>
                  <a:cubicBezTo>
                    <a:pt x="871" y="917"/>
                    <a:pt x="867" y="914"/>
                    <a:pt x="865" y="909"/>
                  </a:cubicBezTo>
                  <a:cubicBezTo>
                    <a:pt x="862" y="903"/>
                    <a:pt x="858" y="899"/>
                    <a:pt x="853" y="896"/>
                  </a:cubicBezTo>
                  <a:cubicBezTo>
                    <a:pt x="846" y="891"/>
                    <a:pt x="842" y="885"/>
                    <a:pt x="840" y="877"/>
                  </a:cubicBezTo>
                  <a:cubicBezTo>
                    <a:pt x="839" y="870"/>
                    <a:pt x="835" y="864"/>
                    <a:pt x="829" y="860"/>
                  </a:cubicBezTo>
                  <a:cubicBezTo>
                    <a:pt x="826" y="858"/>
                    <a:pt x="826" y="855"/>
                    <a:pt x="827" y="851"/>
                  </a:cubicBezTo>
                  <a:cubicBezTo>
                    <a:pt x="828" y="848"/>
                    <a:pt x="829" y="845"/>
                    <a:pt x="830" y="843"/>
                  </a:cubicBezTo>
                  <a:cubicBezTo>
                    <a:pt x="831" y="840"/>
                    <a:pt x="833" y="838"/>
                    <a:pt x="836" y="837"/>
                  </a:cubicBezTo>
                  <a:cubicBezTo>
                    <a:pt x="841" y="835"/>
                    <a:pt x="846" y="832"/>
                    <a:pt x="850" y="827"/>
                  </a:cubicBezTo>
                  <a:cubicBezTo>
                    <a:pt x="851" y="826"/>
                    <a:pt x="852" y="825"/>
                    <a:pt x="854" y="824"/>
                  </a:cubicBezTo>
                  <a:cubicBezTo>
                    <a:pt x="860" y="820"/>
                    <a:pt x="866" y="817"/>
                    <a:pt x="872" y="814"/>
                  </a:cubicBezTo>
                  <a:cubicBezTo>
                    <a:pt x="873" y="813"/>
                    <a:pt x="875" y="813"/>
                    <a:pt x="877" y="813"/>
                  </a:cubicBezTo>
                  <a:cubicBezTo>
                    <a:pt x="882" y="815"/>
                    <a:pt x="887" y="816"/>
                    <a:pt x="893" y="815"/>
                  </a:cubicBezTo>
                  <a:cubicBezTo>
                    <a:pt x="896" y="814"/>
                    <a:pt x="898" y="816"/>
                    <a:pt x="899" y="819"/>
                  </a:cubicBezTo>
                  <a:cubicBezTo>
                    <a:pt x="900" y="821"/>
                    <a:pt x="901" y="824"/>
                    <a:pt x="901" y="826"/>
                  </a:cubicBezTo>
                  <a:cubicBezTo>
                    <a:pt x="900" y="829"/>
                    <a:pt x="900" y="833"/>
                    <a:pt x="899" y="836"/>
                  </a:cubicBezTo>
                  <a:cubicBezTo>
                    <a:pt x="899" y="838"/>
                    <a:pt x="898" y="838"/>
                    <a:pt x="896" y="839"/>
                  </a:cubicBezTo>
                  <a:cubicBezTo>
                    <a:pt x="894" y="839"/>
                    <a:pt x="891" y="839"/>
                    <a:pt x="888" y="839"/>
                  </a:cubicBezTo>
                  <a:cubicBezTo>
                    <a:pt x="881" y="840"/>
                    <a:pt x="879" y="842"/>
                    <a:pt x="880" y="849"/>
                  </a:cubicBezTo>
                  <a:cubicBezTo>
                    <a:pt x="880" y="853"/>
                    <a:pt x="880" y="853"/>
                    <a:pt x="877" y="854"/>
                  </a:cubicBezTo>
                  <a:cubicBezTo>
                    <a:pt x="877" y="854"/>
                    <a:pt x="876" y="854"/>
                    <a:pt x="876" y="854"/>
                  </a:cubicBezTo>
                  <a:cubicBezTo>
                    <a:pt x="871" y="856"/>
                    <a:pt x="870" y="857"/>
                    <a:pt x="873" y="859"/>
                  </a:cubicBezTo>
                  <a:cubicBezTo>
                    <a:pt x="877" y="862"/>
                    <a:pt x="880" y="866"/>
                    <a:pt x="882" y="870"/>
                  </a:cubicBezTo>
                  <a:cubicBezTo>
                    <a:pt x="886" y="877"/>
                    <a:pt x="892" y="882"/>
                    <a:pt x="901" y="884"/>
                  </a:cubicBezTo>
                  <a:cubicBezTo>
                    <a:pt x="903" y="885"/>
                    <a:pt x="904" y="886"/>
                    <a:pt x="904" y="889"/>
                  </a:cubicBezTo>
                  <a:cubicBezTo>
                    <a:pt x="904" y="890"/>
                    <a:pt x="904" y="891"/>
                    <a:pt x="904" y="892"/>
                  </a:cubicBezTo>
                  <a:cubicBezTo>
                    <a:pt x="903" y="897"/>
                    <a:pt x="904" y="901"/>
                    <a:pt x="908" y="905"/>
                  </a:cubicBezTo>
                  <a:cubicBezTo>
                    <a:pt x="911" y="909"/>
                    <a:pt x="912" y="914"/>
                    <a:pt x="912" y="920"/>
                  </a:cubicBezTo>
                  <a:cubicBezTo>
                    <a:pt x="911" y="922"/>
                    <a:pt x="912" y="924"/>
                    <a:pt x="912" y="926"/>
                  </a:cubicBezTo>
                  <a:cubicBezTo>
                    <a:pt x="913" y="929"/>
                    <a:pt x="915" y="932"/>
                    <a:pt x="919" y="932"/>
                  </a:cubicBezTo>
                  <a:cubicBezTo>
                    <a:pt x="921" y="932"/>
                    <a:pt x="922" y="932"/>
                    <a:pt x="923" y="933"/>
                  </a:cubicBezTo>
                  <a:cubicBezTo>
                    <a:pt x="924" y="935"/>
                    <a:pt x="924" y="936"/>
                    <a:pt x="923" y="937"/>
                  </a:cubicBezTo>
                  <a:cubicBezTo>
                    <a:pt x="923" y="938"/>
                    <a:pt x="923" y="939"/>
                    <a:pt x="923" y="939"/>
                  </a:cubicBezTo>
                  <a:cubicBezTo>
                    <a:pt x="924" y="940"/>
                    <a:pt x="925" y="942"/>
                    <a:pt x="926" y="942"/>
                  </a:cubicBezTo>
                  <a:cubicBezTo>
                    <a:pt x="930" y="945"/>
                    <a:pt x="932" y="949"/>
                    <a:pt x="932" y="953"/>
                  </a:cubicBezTo>
                  <a:cubicBezTo>
                    <a:pt x="931" y="961"/>
                    <a:pt x="935" y="968"/>
                    <a:pt x="937" y="976"/>
                  </a:cubicBezTo>
                  <a:cubicBezTo>
                    <a:pt x="938" y="977"/>
                    <a:pt x="937" y="978"/>
                    <a:pt x="936" y="978"/>
                  </a:cubicBezTo>
                  <a:close/>
                  <a:moveTo>
                    <a:pt x="972" y="315"/>
                  </a:moveTo>
                  <a:cubicBezTo>
                    <a:pt x="971" y="314"/>
                    <a:pt x="971" y="314"/>
                    <a:pt x="971" y="314"/>
                  </a:cubicBezTo>
                  <a:cubicBezTo>
                    <a:pt x="972" y="314"/>
                    <a:pt x="972" y="314"/>
                    <a:pt x="972" y="314"/>
                  </a:cubicBezTo>
                  <a:lnTo>
                    <a:pt x="972" y="315"/>
                  </a:lnTo>
                  <a:close/>
                  <a:moveTo>
                    <a:pt x="1070" y="355"/>
                  </a:moveTo>
                  <a:cubicBezTo>
                    <a:pt x="1069" y="355"/>
                    <a:pt x="1069" y="355"/>
                    <a:pt x="1069" y="355"/>
                  </a:cubicBezTo>
                  <a:cubicBezTo>
                    <a:pt x="1065" y="349"/>
                    <a:pt x="1060" y="345"/>
                    <a:pt x="1056" y="340"/>
                  </a:cubicBezTo>
                  <a:cubicBezTo>
                    <a:pt x="1056" y="339"/>
                    <a:pt x="1056" y="338"/>
                    <a:pt x="1056" y="338"/>
                  </a:cubicBezTo>
                  <a:cubicBezTo>
                    <a:pt x="1057" y="338"/>
                    <a:pt x="1058" y="337"/>
                    <a:pt x="1058" y="337"/>
                  </a:cubicBezTo>
                  <a:cubicBezTo>
                    <a:pt x="1061" y="337"/>
                    <a:pt x="1063" y="338"/>
                    <a:pt x="1064" y="339"/>
                  </a:cubicBezTo>
                  <a:cubicBezTo>
                    <a:pt x="1067" y="341"/>
                    <a:pt x="1069" y="344"/>
                    <a:pt x="1071" y="346"/>
                  </a:cubicBezTo>
                  <a:cubicBezTo>
                    <a:pt x="1072" y="348"/>
                    <a:pt x="1072" y="352"/>
                    <a:pt x="1070" y="355"/>
                  </a:cubicBezTo>
                  <a:close/>
                  <a:moveTo>
                    <a:pt x="1074" y="368"/>
                  </a:moveTo>
                  <a:cubicBezTo>
                    <a:pt x="1074" y="367"/>
                    <a:pt x="1073" y="367"/>
                    <a:pt x="1073" y="367"/>
                  </a:cubicBezTo>
                  <a:cubicBezTo>
                    <a:pt x="1073" y="366"/>
                    <a:pt x="1074" y="366"/>
                    <a:pt x="1075" y="367"/>
                  </a:cubicBezTo>
                  <a:cubicBezTo>
                    <a:pt x="1075" y="367"/>
                    <a:pt x="1075" y="367"/>
                    <a:pt x="1074" y="368"/>
                  </a:cubicBezTo>
                  <a:close/>
                  <a:moveTo>
                    <a:pt x="1107" y="291"/>
                  </a:moveTo>
                  <a:cubicBezTo>
                    <a:pt x="1106" y="292"/>
                    <a:pt x="1104" y="293"/>
                    <a:pt x="1104" y="292"/>
                  </a:cubicBezTo>
                  <a:cubicBezTo>
                    <a:pt x="1104" y="291"/>
                    <a:pt x="1103" y="291"/>
                    <a:pt x="1104" y="290"/>
                  </a:cubicBezTo>
                  <a:cubicBezTo>
                    <a:pt x="1104" y="289"/>
                    <a:pt x="1106" y="288"/>
                    <a:pt x="1107" y="288"/>
                  </a:cubicBezTo>
                  <a:cubicBezTo>
                    <a:pt x="1107" y="288"/>
                    <a:pt x="1107" y="289"/>
                    <a:pt x="1108" y="289"/>
                  </a:cubicBezTo>
                  <a:cubicBezTo>
                    <a:pt x="1107" y="290"/>
                    <a:pt x="1107" y="290"/>
                    <a:pt x="1107" y="291"/>
                  </a:cubicBezTo>
                  <a:close/>
                  <a:moveTo>
                    <a:pt x="1177" y="74"/>
                  </a:moveTo>
                  <a:cubicBezTo>
                    <a:pt x="1178" y="75"/>
                    <a:pt x="1179" y="76"/>
                    <a:pt x="1180" y="77"/>
                  </a:cubicBezTo>
                  <a:cubicBezTo>
                    <a:pt x="1181" y="78"/>
                    <a:pt x="1181" y="78"/>
                    <a:pt x="1181" y="78"/>
                  </a:cubicBezTo>
                  <a:cubicBezTo>
                    <a:pt x="1180" y="77"/>
                    <a:pt x="1180" y="77"/>
                    <a:pt x="1180" y="77"/>
                  </a:cubicBezTo>
                  <a:cubicBezTo>
                    <a:pt x="1179" y="76"/>
                    <a:pt x="1177" y="75"/>
                    <a:pt x="1176" y="74"/>
                  </a:cubicBezTo>
                  <a:cubicBezTo>
                    <a:pt x="1176" y="74"/>
                    <a:pt x="1176" y="74"/>
                    <a:pt x="1176" y="73"/>
                  </a:cubicBezTo>
                  <a:cubicBezTo>
                    <a:pt x="1176" y="73"/>
                    <a:pt x="1176" y="74"/>
                    <a:pt x="1177" y="74"/>
                  </a:cubicBezTo>
                  <a:close/>
                  <a:moveTo>
                    <a:pt x="1200" y="23"/>
                  </a:moveTo>
                  <a:cubicBezTo>
                    <a:pt x="1200" y="22"/>
                    <a:pt x="1200" y="22"/>
                    <a:pt x="1200" y="22"/>
                  </a:cubicBezTo>
                  <a:cubicBezTo>
                    <a:pt x="1201" y="22"/>
                    <a:pt x="1201" y="22"/>
                    <a:pt x="1201" y="22"/>
                  </a:cubicBezTo>
                  <a:lnTo>
                    <a:pt x="1200" y="23"/>
                  </a:lnTo>
                  <a:close/>
                  <a:moveTo>
                    <a:pt x="1236" y="112"/>
                  </a:moveTo>
                  <a:cubicBezTo>
                    <a:pt x="1236" y="112"/>
                    <a:pt x="1236" y="112"/>
                    <a:pt x="1236" y="112"/>
                  </a:cubicBezTo>
                  <a:cubicBezTo>
                    <a:pt x="1235" y="115"/>
                    <a:pt x="1235" y="119"/>
                    <a:pt x="1234" y="122"/>
                  </a:cubicBezTo>
                  <a:cubicBezTo>
                    <a:pt x="1234" y="124"/>
                    <a:pt x="1232" y="124"/>
                    <a:pt x="1231" y="124"/>
                  </a:cubicBezTo>
                  <a:cubicBezTo>
                    <a:pt x="1227" y="125"/>
                    <a:pt x="1226" y="127"/>
                    <a:pt x="1226" y="130"/>
                  </a:cubicBezTo>
                  <a:cubicBezTo>
                    <a:pt x="1226" y="130"/>
                    <a:pt x="1226" y="130"/>
                    <a:pt x="1226" y="130"/>
                  </a:cubicBezTo>
                  <a:cubicBezTo>
                    <a:pt x="1227" y="131"/>
                    <a:pt x="1229" y="132"/>
                    <a:pt x="1230" y="133"/>
                  </a:cubicBezTo>
                  <a:cubicBezTo>
                    <a:pt x="1231" y="134"/>
                    <a:pt x="1232" y="135"/>
                    <a:pt x="1233" y="136"/>
                  </a:cubicBezTo>
                  <a:cubicBezTo>
                    <a:pt x="1233" y="137"/>
                    <a:pt x="1233" y="137"/>
                    <a:pt x="1233" y="137"/>
                  </a:cubicBezTo>
                  <a:cubicBezTo>
                    <a:pt x="1233" y="137"/>
                    <a:pt x="1233" y="137"/>
                    <a:pt x="1233" y="137"/>
                  </a:cubicBezTo>
                  <a:cubicBezTo>
                    <a:pt x="1232" y="136"/>
                    <a:pt x="1230" y="135"/>
                    <a:pt x="1229" y="134"/>
                  </a:cubicBezTo>
                  <a:cubicBezTo>
                    <a:pt x="1228" y="133"/>
                    <a:pt x="1227" y="132"/>
                    <a:pt x="1226" y="131"/>
                  </a:cubicBezTo>
                  <a:cubicBezTo>
                    <a:pt x="1226" y="131"/>
                    <a:pt x="1226" y="130"/>
                    <a:pt x="1226" y="130"/>
                  </a:cubicBezTo>
                  <a:cubicBezTo>
                    <a:pt x="1223" y="128"/>
                    <a:pt x="1219" y="128"/>
                    <a:pt x="1217" y="125"/>
                  </a:cubicBezTo>
                  <a:cubicBezTo>
                    <a:pt x="1216" y="122"/>
                    <a:pt x="1215" y="119"/>
                    <a:pt x="1215" y="116"/>
                  </a:cubicBezTo>
                  <a:cubicBezTo>
                    <a:pt x="1214" y="115"/>
                    <a:pt x="1214" y="113"/>
                    <a:pt x="1214" y="112"/>
                  </a:cubicBezTo>
                  <a:cubicBezTo>
                    <a:pt x="1214" y="112"/>
                    <a:pt x="1214" y="112"/>
                    <a:pt x="1214" y="112"/>
                  </a:cubicBezTo>
                  <a:cubicBezTo>
                    <a:pt x="1213" y="111"/>
                    <a:pt x="1213" y="111"/>
                    <a:pt x="1213" y="111"/>
                  </a:cubicBezTo>
                  <a:cubicBezTo>
                    <a:pt x="1214" y="112"/>
                    <a:pt x="1214" y="112"/>
                    <a:pt x="1214" y="112"/>
                  </a:cubicBezTo>
                  <a:cubicBezTo>
                    <a:pt x="1214" y="112"/>
                    <a:pt x="1214" y="112"/>
                    <a:pt x="1214" y="112"/>
                  </a:cubicBezTo>
                  <a:cubicBezTo>
                    <a:pt x="1216" y="113"/>
                    <a:pt x="1217" y="114"/>
                    <a:pt x="1219" y="115"/>
                  </a:cubicBezTo>
                  <a:cubicBezTo>
                    <a:pt x="1222" y="116"/>
                    <a:pt x="1226" y="117"/>
                    <a:pt x="1229" y="115"/>
                  </a:cubicBezTo>
                  <a:cubicBezTo>
                    <a:pt x="1231" y="113"/>
                    <a:pt x="1233" y="112"/>
                    <a:pt x="1236" y="112"/>
                  </a:cubicBezTo>
                  <a:cubicBezTo>
                    <a:pt x="1236" y="112"/>
                    <a:pt x="1236" y="112"/>
                    <a:pt x="1236" y="112"/>
                  </a:cubicBezTo>
                  <a:cubicBezTo>
                    <a:pt x="1236" y="112"/>
                    <a:pt x="1237" y="111"/>
                    <a:pt x="1237" y="111"/>
                  </a:cubicBezTo>
                  <a:cubicBezTo>
                    <a:pt x="1237" y="112"/>
                    <a:pt x="1237" y="112"/>
                    <a:pt x="1236" y="112"/>
                  </a:cubicBezTo>
                  <a:close/>
                  <a:moveTo>
                    <a:pt x="1256" y="100"/>
                  </a:moveTo>
                  <a:cubicBezTo>
                    <a:pt x="1252" y="102"/>
                    <a:pt x="1248" y="105"/>
                    <a:pt x="1244" y="108"/>
                  </a:cubicBezTo>
                  <a:cubicBezTo>
                    <a:pt x="1243" y="108"/>
                    <a:pt x="1242" y="108"/>
                    <a:pt x="1240" y="108"/>
                  </a:cubicBezTo>
                  <a:cubicBezTo>
                    <a:pt x="1240" y="108"/>
                    <a:pt x="1240" y="108"/>
                    <a:pt x="1240" y="109"/>
                  </a:cubicBezTo>
                  <a:cubicBezTo>
                    <a:pt x="1240" y="109"/>
                    <a:pt x="1239" y="109"/>
                    <a:pt x="1239" y="109"/>
                  </a:cubicBezTo>
                  <a:cubicBezTo>
                    <a:pt x="1239" y="109"/>
                    <a:pt x="1239" y="109"/>
                    <a:pt x="1239" y="108"/>
                  </a:cubicBezTo>
                  <a:cubicBezTo>
                    <a:pt x="1240" y="108"/>
                    <a:pt x="1240" y="108"/>
                    <a:pt x="1240" y="108"/>
                  </a:cubicBezTo>
                  <a:cubicBezTo>
                    <a:pt x="1241" y="107"/>
                    <a:pt x="1242" y="105"/>
                    <a:pt x="1243" y="104"/>
                  </a:cubicBezTo>
                  <a:cubicBezTo>
                    <a:pt x="1245" y="101"/>
                    <a:pt x="1248" y="99"/>
                    <a:pt x="1250" y="96"/>
                  </a:cubicBezTo>
                  <a:cubicBezTo>
                    <a:pt x="1250" y="96"/>
                    <a:pt x="1250" y="96"/>
                    <a:pt x="1250" y="96"/>
                  </a:cubicBezTo>
                  <a:cubicBezTo>
                    <a:pt x="1250" y="96"/>
                    <a:pt x="1250" y="96"/>
                    <a:pt x="1250" y="96"/>
                  </a:cubicBezTo>
                  <a:cubicBezTo>
                    <a:pt x="1246" y="96"/>
                    <a:pt x="1243" y="95"/>
                    <a:pt x="1242" y="91"/>
                  </a:cubicBezTo>
                  <a:cubicBezTo>
                    <a:pt x="1241" y="90"/>
                    <a:pt x="1242" y="89"/>
                    <a:pt x="1243" y="89"/>
                  </a:cubicBezTo>
                  <a:cubicBezTo>
                    <a:pt x="1243" y="89"/>
                    <a:pt x="1244" y="89"/>
                    <a:pt x="1244" y="89"/>
                  </a:cubicBezTo>
                  <a:cubicBezTo>
                    <a:pt x="1245" y="90"/>
                    <a:pt x="1246" y="90"/>
                    <a:pt x="1247" y="91"/>
                  </a:cubicBezTo>
                  <a:cubicBezTo>
                    <a:pt x="1248" y="92"/>
                    <a:pt x="1249" y="94"/>
                    <a:pt x="1250" y="96"/>
                  </a:cubicBezTo>
                  <a:cubicBezTo>
                    <a:pt x="1250" y="96"/>
                    <a:pt x="1250" y="96"/>
                    <a:pt x="1250" y="96"/>
                  </a:cubicBezTo>
                  <a:cubicBezTo>
                    <a:pt x="1250" y="96"/>
                    <a:pt x="1250" y="96"/>
                    <a:pt x="1250" y="96"/>
                  </a:cubicBezTo>
                  <a:cubicBezTo>
                    <a:pt x="1251" y="96"/>
                    <a:pt x="1253" y="97"/>
                    <a:pt x="1255" y="97"/>
                  </a:cubicBezTo>
                  <a:cubicBezTo>
                    <a:pt x="1255" y="97"/>
                    <a:pt x="1256" y="98"/>
                    <a:pt x="1257" y="99"/>
                  </a:cubicBezTo>
                  <a:cubicBezTo>
                    <a:pt x="1257" y="99"/>
                    <a:pt x="1256" y="100"/>
                    <a:pt x="1256" y="100"/>
                  </a:cubicBezTo>
                  <a:close/>
                  <a:moveTo>
                    <a:pt x="1279" y="98"/>
                  </a:moveTo>
                  <a:cubicBezTo>
                    <a:pt x="1278" y="98"/>
                    <a:pt x="1278" y="98"/>
                    <a:pt x="1278" y="98"/>
                  </a:cubicBezTo>
                  <a:cubicBezTo>
                    <a:pt x="1279" y="97"/>
                    <a:pt x="1279" y="97"/>
                    <a:pt x="1279" y="97"/>
                  </a:cubicBezTo>
                  <a:lnTo>
                    <a:pt x="1279" y="98"/>
                  </a:lnTo>
                  <a:close/>
                  <a:moveTo>
                    <a:pt x="1303" y="159"/>
                  </a:moveTo>
                  <a:cubicBezTo>
                    <a:pt x="1303" y="159"/>
                    <a:pt x="1303" y="159"/>
                    <a:pt x="1302" y="159"/>
                  </a:cubicBezTo>
                  <a:cubicBezTo>
                    <a:pt x="1302" y="158"/>
                    <a:pt x="1302" y="158"/>
                    <a:pt x="1302" y="158"/>
                  </a:cubicBezTo>
                  <a:cubicBezTo>
                    <a:pt x="1303" y="158"/>
                    <a:pt x="1303" y="158"/>
                    <a:pt x="1303" y="158"/>
                  </a:cubicBezTo>
                  <a:cubicBezTo>
                    <a:pt x="1303" y="159"/>
                    <a:pt x="1303" y="159"/>
                    <a:pt x="1303" y="159"/>
                  </a:cubicBezTo>
                  <a:cubicBezTo>
                    <a:pt x="1303" y="159"/>
                    <a:pt x="1303" y="159"/>
                    <a:pt x="1304" y="159"/>
                  </a:cubicBezTo>
                  <a:cubicBezTo>
                    <a:pt x="1303" y="160"/>
                    <a:pt x="1303" y="160"/>
                    <a:pt x="1303" y="15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3"/>
            <p:cNvSpPr>
              <a:spLocks noEditPoints="1"/>
            </p:cNvSpPr>
            <p:nvPr/>
          </p:nvSpPr>
          <p:spPr bwMode="auto">
            <a:xfrm>
              <a:off x="6394739" y="1377804"/>
              <a:ext cx="3355299" cy="4882576"/>
            </a:xfrm>
            <a:custGeom>
              <a:avLst/>
              <a:gdLst>
                <a:gd name="T0" fmla="*/ 1350 w 1567"/>
                <a:gd name="T1" fmla="*/ 1442 h 2279"/>
                <a:gd name="T2" fmla="*/ 1177 w 1567"/>
                <a:gd name="T3" fmla="*/ 1295 h 2279"/>
                <a:gd name="T4" fmla="*/ 1009 w 1567"/>
                <a:gd name="T5" fmla="*/ 1305 h 2279"/>
                <a:gd name="T6" fmla="*/ 891 w 1567"/>
                <a:gd name="T7" fmla="*/ 1227 h 2279"/>
                <a:gd name="T8" fmla="*/ 725 w 1567"/>
                <a:gd name="T9" fmla="*/ 1155 h 2279"/>
                <a:gd name="T10" fmla="*/ 941 w 1567"/>
                <a:gd name="T11" fmla="*/ 1085 h 2279"/>
                <a:gd name="T12" fmla="*/ 1043 w 1567"/>
                <a:gd name="T13" fmla="*/ 909 h 2279"/>
                <a:gd name="T14" fmla="*/ 1183 w 1567"/>
                <a:gd name="T15" fmla="*/ 792 h 2279"/>
                <a:gd name="T16" fmla="*/ 1224 w 1567"/>
                <a:gd name="T17" fmla="*/ 771 h 2279"/>
                <a:gd name="T18" fmla="*/ 1183 w 1567"/>
                <a:gd name="T19" fmla="*/ 717 h 2279"/>
                <a:gd name="T20" fmla="*/ 1328 w 1567"/>
                <a:gd name="T21" fmla="*/ 629 h 2279"/>
                <a:gd name="T22" fmla="*/ 1212 w 1567"/>
                <a:gd name="T23" fmla="*/ 529 h 2279"/>
                <a:gd name="T24" fmla="*/ 1105 w 1567"/>
                <a:gd name="T25" fmla="*/ 541 h 2279"/>
                <a:gd name="T26" fmla="*/ 968 w 1567"/>
                <a:gd name="T27" fmla="*/ 562 h 2279"/>
                <a:gd name="T28" fmla="*/ 987 w 1567"/>
                <a:gd name="T29" fmla="*/ 398 h 2279"/>
                <a:gd name="T30" fmla="*/ 1134 w 1567"/>
                <a:gd name="T31" fmla="*/ 288 h 2279"/>
                <a:gd name="T32" fmla="*/ 1077 w 1567"/>
                <a:gd name="T33" fmla="*/ 292 h 2279"/>
                <a:gd name="T34" fmla="*/ 1064 w 1567"/>
                <a:gd name="T35" fmla="*/ 154 h 2279"/>
                <a:gd name="T36" fmla="*/ 1029 w 1567"/>
                <a:gd name="T37" fmla="*/ 175 h 2279"/>
                <a:gd name="T38" fmla="*/ 976 w 1567"/>
                <a:gd name="T39" fmla="*/ 295 h 2279"/>
                <a:gd name="T40" fmla="*/ 970 w 1567"/>
                <a:gd name="T41" fmla="*/ 257 h 2279"/>
                <a:gd name="T42" fmla="*/ 876 w 1567"/>
                <a:gd name="T43" fmla="*/ 239 h 2279"/>
                <a:gd name="T44" fmla="*/ 698 w 1567"/>
                <a:gd name="T45" fmla="*/ 168 h 2279"/>
                <a:gd name="T46" fmla="*/ 648 w 1567"/>
                <a:gd name="T47" fmla="*/ 126 h 2279"/>
                <a:gd name="T48" fmla="*/ 456 w 1567"/>
                <a:gd name="T49" fmla="*/ 63 h 2279"/>
                <a:gd name="T50" fmla="*/ 405 w 1567"/>
                <a:gd name="T51" fmla="*/ 13 h 2279"/>
                <a:gd name="T52" fmla="*/ 231 w 1567"/>
                <a:gd name="T53" fmla="*/ 141 h 2279"/>
                <a:gd name="T54" fmla="*/ 145 w 1567"/>
                <a:gd name="T55" fmla="*/ 158 h 2279"/>
                <a:gd name="T56" fmla="*/ 89 w 1567"/>
                <a:gd name="T57" fmla="*/ 262 h 2279"/>
                <a:gd name="T58" fmla="*/ 127 w 1567"/>
                <a:gd name="T59" fmla="*/ 369 h 2279"/>
                <a:gd name="T60" fmla="*/ 53 w 1567"/>
                <a:gd name="T61" fmla="*/ 445 h 2279"/>
                <a:gd name="T62" fmla="*/ 266 w 1567"/>
                <a:gd name="T63" fmla="*/ 328 h 2279"/>
                <a:gd name="T64" fmla="*/ 301 w 1567"/>
                <a:gd name="T65" fmla="*/ 342 h 2279"/>
                <a:gd name="T66" fmla="*/ 397 w 1567"/>
                <a:gd name="T67" fmla="*/ 425 h 2279"/>
                <a:gd name="T68" fmla="*/ 419 w 1567"/>
                <a:gd name="T69" fmla="*/ 466 h 2279"/>
                <a:gd name="T70" fmla="*/ 404 w 1567"/>
                <a:gd name="T71" fmla="*/ 493 h 2279"/>
                <a:gd name="T72" fmla="*/ 424 w 1567"/>
                <a:gd name="T73" fmla="*/ 518 h 2279"/>
                <a:gd name="T74" fmla="*/ 440 w 1567"/>
                <a:gd name="T75" fmla="*/ 594 h 2279"/>
                <a:gd name="T76" fmla="*/ 460 w 1567"/>
                <a:gd name="T77" fmla="*/ 677 h 2279"/>
                <a:gd name="T78" fmla="*/ 413 w 1567"/>
                <a:gd name="T79" fmla="*/ 833 h 2279"/>
                <a:gd name="T80" fmla="*/ 528 w 1567"/>
                <a:gd name="T81" fmla="*/ 1091 h 2279"/>
                <a:gd name="T82" fmla="*/ 588 w 1567"/>
                <a:gd name="T83" fmla="*/ 1104 h 2279"/>
                <a:gd name="T84" fmla="*/ 908 w 1567"/>
                <a:gd name="T85" fmla="*/ 1330 h 2279"/>
                <a:gd name="T86" fmla="*/ 949 w 1567"/>
                <a:gd name="T87" fmla="*/ 1477 h 2279"/>
                <a:gd name="T88" fmla="*/ 1090 w 1567"/>
                <a:gd name="T89" fmla="*/ 1814 h 2279"/>
                <a:gd name="T90" fmla="*/ 1099 w 1567"/>
                <a:gd name="T91" fmla="*/ 2036 h 2279"/>
                <a:gd name="T92" fmla="*/ 1089 w 1567"/>
                <a:gd name="T93" fmla="*/ 2163 h 2279"/>
                <a:gd name="T94" fmla="*/ 1109 w 1567"/>
                <a:gd name="T95" fmla="*/ 2209 h 2279"/>
                <a:gd name="T96" fmla="*/ 1155 w 1567"/>
                <a:gd name="T97" fmla="*/ 2255 h 2279"/>
                <a:gd name="T98" fmla="*/ 1213 w 1567"/>
                <a:gd name="T99" fmla="*/ 2248 h 2279"/>
                <a:gd name="T100" fmla="*/ 1205 w 1567"/>
                <a:gd name="T101" fmla="*/ 2140 h 2279"/>
                <a:gd name="T102" fmla="*/ 1199 w 1567"/>
                <a:gd name="T103" fmla="*/ 2030 h 2279"/>
                <a:gd name="T104" fmla="*/ 1273 w 1567"/>
                <a:gd name="T105" fmla="*/ 1913 h 2279"/>
                <a:gd name="T106" fmla="*/ 1442 w 1567"/>
                <a:gd name="T107" fmla="*/ 1744 h 2279"/>
                <a:gd name="T108" fmla="*/ 1053 w 1567"/>
                <a:gd name="T109" fmla="*/ 798 h 2279"/>
                <a:gd name="T110" fmla="*/ 994 w 1567"/>
                <a:gd name="T111" fmla="*/ 780 h 2279"/>
                <a:gd name="T112" fmla="*/ 913 w 1567"/>
                <a:gd name="T113" fmla="*/ 777 h 2279"/>
                <a:gd name="T114" fmla="*/ 914 w 1567"/>
                <a:gd name="T115" fmla="*/ 734 h 2279"/>
                <a:gd name="T116" fmla="*/ 649 w 1567"/>
                <a:gd name="T117" fmla="*/ 398 h 2279"/>
                <a:gd name="T118" fmla="*/ 687 w 1567"/>
                <a:gd name="T119" fmla="*/ 261 h 2279"/>
                <a:gd name="T120" fmla="*/ 667 w 1567"/>
                <a:gd name="T121" fmla="*/ 283 h 2279"/>
                <a:gd name="T122" fmla="*/ 758 w 1567"/>
                <a:gd name="T123" fmla="*/ 380 h 2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7" h="2279">
                  <a:moveTo>
                    <a:pt x="1558" y="1509"/>
                  </a:moveTo>
                  <a:cubicBezTo>
                    <a:pt x="1558" y="1508"/>
                    <a:pt x="1556" y="1506"/>
                    <a:pt x="1555" y="1506"/>
                  </a:cubicBezTo>
                  <a:cubicBezTo>
                    <a:pt x="1552" y="1505"/>
                    <a:pt x="1549" y="1504"/>
                    <a:pt x="1547" y="1504"/>
                  </a:cubicBezTo>
                  <a:cubicBezTo>
                    <a:pt x="1542" y="1504"/>
                    <a:pt x="1538" y="1503"/>
                    <a:pt x="1535" y="1500"/>
                  </a:cubicBezTo>
                  <a:cubicBezTo>
                    <a:pt x="1531" y="1497"/>
                    <a:pt x="1525" y="1495"/>
                    <a:pt x="1521" y="1491"/>
                  </a:cubicBezTo>
                  <a:cubicBezTo>
                    <a:pt x="1516" y="1483"/>
                    <a:pt x="1508" y="1480"/>
                    <a:pt x="1501" y="1476"/>
                  </a:cubicBezTo>
                  <a:cubicBezTo>
                    <a:pt x="1497" y="1474"/>
                    <a:pt x="1493" y="1473"/>
                    <a:pt x="1489" y="1473"/>
                  </a:cubicBezTo>
                  <a:cubicBezTo>
                    <a:pt x="1476" y="1474"/>
                    <a:pt x="1463" y="1472"/>
                    <a:pt x="1450" y="1468"/>
                  </a:cubicBezTo>
                  <a:cubicBezTo>
                    <a:pt x="1449" y="1468"/>
                    <a:pt x="1447" y="1468"/>
                    <a:pt x="1446" y="1469"/>
                  </a:cubicBezTo>
                  <a:cubicBezTo>
                    <a:pt x="1444" y="1470"/>
                    <a:pt x="1442" y="1471"/>
                    <a:pt x="1440" y="1472"/>
                  </a:cubicBezTo>
                  <a:cubicBezTo>
                    <a:pt x="1438" y="1472"/>
                    <a:pt x="1437" y="1472"/>
                    <a:pt x="1436" y="1470"/>
                  </a:cubicBezTo>
                  <a:cubicBezTo>
                    <a:pt x="1435" y="1467"/>
                    <a:pt x="1434" y="1465"/>
                    <a:pt x="1433" y="1462"/>
                  </a:cubicBezTo>
                  <a:cubicBezTo>
                    <a:pt x="1432" y="1461"/>
                    <a:pt x="1430" y="1459"/>
                    <a:pt x="1428" y="1459"/>
                  </a:cubicBezTo>
                  <a:cubicBezTo>
                    <a:pt x="1421" y="1458"/>
                    <a:pt x="1415" y="1454"/>
                    <a:pt x="1408" y="1451"/>
                  </a:cubicBezTo>
                  <a:cubicBezTo>
                    <a:pt x="1403" y="1449"/>
                    <a:pt x="1398" y="1448"/>
                    <a:pt x="1393" y="1447"/>
                  </a:cubicBezTo>
                  <a:cubicBezTo>
                    <a:pt x="1388" y="1447"/>
                    <a:pt x="1384" y="1448"/>
                    <a:pt x="1381" y="1452"/>
                  </a:cubicBezTo>
                  <a:cubicBezTo>
                    <a:pt x="1381" y="1453"/>
                    <a:pt x="1381" y="1453"/>
                    <a:pt x="1380" y="1453"/>
                  </a:cubicBezTo>
                  <a:cubicBezTo>
                    <a:pt x="1379" y="1453"/>
                    <a:pt x="1379" y="1452"/>
                    <a:pt x="1379" y="1451"/>
                  </a:cubicBezTo>
                  <a:cubicBezTo>
                    <a:pt x="1379" y="1450"/>
                    <a:pt x="1380" y="1449"/>
                    <a:pt x="1380" y="1448"/>
                  </a:cubicBezTo>
                  <a:cubicBezTo>
                    <a:pt x="1381" y="1444"/>
                    <a:pt x="1378" y="1441"/>
                    <a:pt x="1376" y="1440"/>
                  </a:cubicBezTo>
                  <a:cubicBezTo>
                    <a:pt x="1372" y="1439"/>
                    <a:pt x="1367" y="1438"/>
                    <a:pt x="1363" y="1437"/>
                  </a:cubicBezTo>
                  <a:cubicBezTo>
                    <a:pt x="1363" y="1438"/>
                    <a:pt x="1363" y="1438"/>
                    <a:pt x="1363" y="1439"/>
                  </a:cubicBezTo>
                  <a:cubicBezTo>
                    <a:pt x="1363" y="1439"/>
                    <a:pt x="1363" y="1439"/>
                    <a:pt x="1363" y="1439"/>
                  </a:cubicBezTo>
                  <a:cubicBezTo>
                    <a:pt x="1363" y="1440"/>
                    <a:pt x="1363" y="1440"/>
                    <a:pt x="1363" y="1440"/>
                  </a:cubicBezTo>
                  <a:cubicBezTo>
                    <a:pt x="1363" y="1440"/>
                    <a:pt x="1363" y="1440"/>
                    <a:pt x="1363" y="1440"/>
                  </a:cubicBezTo>
                  <a:cubicBezTo>
                    <a:pt x="1363" y="1440"/>
                    <a:pt x="1363" y="1439"/>
                    <a:pt x="1363" y="1439"/>
                  </a:cubicBezTo>
                  <a:cubicBezTo>
                    <a:pt x="1358" y="1439"/>
                    <a:pt x="1354" y="1439"/>
                    <a:pt x="1350" y="1442"/>
                  </a:cubicBezTo>
                  <a:cubicBezTo>
                    <a:pt x="1349" y="1440"/>
                    <a:pt x="1346" y="1440"/>
                    <a:pt x="1344" y="1439"/>
                  </a:cubicBezTo>
                  <a:cubicBezTo>
                    <a:pt x="1347" y="1436"/>
                    <a:pt x="1352" y="1434"/>
                    <a:pt x="1356" y="1433"/>
                  </a:cubicBezTo>
                  <a:cubicBezTo>
                    <a:pt x="1357" y="1429"/>
                    <a:pt x="1359" y="1425"/>
                    <a:pt x="1360" y="1421"/>
                  </a:cubicBezTo>
                  <a:cubicBezTo>
                    <a:pt x="1360" y="1419"/>
                    <a:pt x="1360" y="1416"/>
                    <a:pt x="1358" y="1414"/>
                  </a:cubicBezTo>
                  <a:cubicBezTo>
                    <a:pt x="1356" y="1412"/>
                    <a:pt x="1355" y="1409"/>
                    <a:pt x="1353" y="1406"/>
                  </a:cubicBezTo>
                  <a:cubicBezTo>
                    <a:pt x="1348" y="1402"/>
                    <a:pt x="1345" y="1396"/>
                    <a:pt x="1344" y="1390"/>
                  </a:cubicBezTo>
                  <a:cubicBezTo>
                    <a:pt x="1343" y="1387"/>
                    <a:pt x="1342" y="1384"/>
                    <a:pt x="1339" y="1382"/>
                  </a:cubicBezTo>
                  <a:cubicBezTo>
                    <a:pt x="1330" y="1373"/>
                    <a:pt x="1321" y="1364"/>
                    <a:pt x="1308" y="1362"/>
                  </a:cubicBezTo>
                  <a:cubicBezTo>
                    <a:pt x="1307" y="1362"/>
                    <a:pt x="1305" y="1361"/>
                    <a:pt x="1304" y="1360"/>
                  </a:cubicBezTo>
                  <a:cubicBezTo>
                    <a:pt x="1298" y="1357"/>
                    <a:pt x="1292" y="1357"/>
                    <a:pt x="1286" y="1357"/>
                  </a:cubicBezTo>
                  <a:cubicBezTo>
                    <a:pt x="1280" y="1357"/>
                    <a:pt x="1274" y="1357"/>
                    <a:pt x="1268" y="1357"/>
                  </a:cubicBezTo>
                  <a:cubicBezTo>
                    <a:pt x="1266" y="1357"/>
                    <a:pt x="1265" y="1356"/>
                    <a:pt x="1263" y="1356"/>
                  </a:cubicBezTo>
                  <a:cubicBezTo>
                    <a:pt x="1258" y="1352"/>
                    <a:pt x="1253" y="1347"/>
                    <a:pt x="1246" y="1346"/>
                  </a:cubicBezTo>
                  <a:cubicBezTo>
                    <a:pt x="1245" y="1346"/>
                    <a:pt x="1245" y="1345"/>
                    <a:pt x="1244" y="1344"/>
                  </a:cubicBezTo>
                  <a:cubicBezTo>
                    <a:pt x="1244" y="1341"/>
                    <a:pt x="1242" y="1339"/>
                    <a:pt x="1240" y="1337"/>
                  </a:cubicBezTo>
                  <a:cubicBezTo>
                    <a:pt x="1237" y="1334"/>
                    <a:pt x="1234" y="1330"/>
                    <a:pt x="1230" y="1327"/>
                  </a:cubicBezTo>
                  <a:cubicBezTo>
                    <a:pt x="1227" y="1326"/>
                    <a:pt x="1224" y="1324"/>
                    <a:pt x="1221" y="1323"/>
                  </a:cubicBezTo>
                  <a:cubicBezTo>
                    <a:pt x="1219" y="1322"/>
                    <a:pt x="1216" y="1322"/>
                    <a:pt x="1213" y="1322"/>
                  </a:cubicBezTo>
                  <a:cubicBezTo>
                    <a:pt x="1211" y="1322"/>
                    <a:pt x="1210" y="1321"/>
                    <a:pt x="1210" y="1319"/>
                  </a:cubicBezTo>
                  <a:cubicBezTo>
                    <a:pt x="1210" y="1314"/>
                    <a:pt x="1207" y="1312"/>
                    <a:pt x="1203" y="1310"/>
                  </a:cubicBezTo>
                  <a:cubicBezTo>
                    <a:pt x="1199" y="1308"/>
                    <a:pt x="1195" y="1306"/>
                    <a:pt x="1191" y="1304"/>
                  </a:cubicBezTo>
                  <a:cubicBezTo>
                    <a:pt x="1190" y="1304"/>
                    <a:pt x="1188" y="1303"/>
                    <a:pt x="1188" y="1301"/>
                  </a:cubicBezTo>
                  <a:cubicBezTo>
                    <a:pt x="1187" y="1300"/>
                    <a:pt x="1189" y="1299"/>
                    <a:pt x="1191" y="1299"/>
                  </a:cubicBezTo>
                  <a:cubicBezTo>
                    <a:pt x="1191" y="1299"/>
                    <a:pt x="1192" y="1299"/>
                    <a:pt x="1192" y="1298"/>
                  </a:cubicBezTo>
                  <a:cubicBezTo>
                    <a:pt x="1194" y="1298"/>
                    <a:pt x="1194" y="1297"/>
                    <a:pt x="1193" y="1296"/>
                  </a:cubicBezTo>
                  <a:cubicBezTo>
                    <a:pt x="1193" y="1296"/>
                    <a:pt x="1193" y="1295"/>
                    <a:pt x="1192" y="1295"/>
                  </a:cubicBezTo>
                  <a:cubicBezTo>
                    <a:pt x="1187" y="1294"/>
                    <a:pt x="1182" y="1294"/>
                    <a:pt x="1177" y="1295"/>
                  </a:cubicBezTo>
                  <a:cubicBezTo>
                    <a:pt x="1174" y="1295"/>
                    <a:pt x="1172" y="1294"/>
                    <a:pt x="1170" y="1292"/>
                  </a:cubicBezTo>
                  <a:cubicBezTo>
                    <a:pt x="1169" y="1291"/>
                    <a:pt x="1168" y="1291"/>
                    <a:pt x="1167" y="1292"/>
                  </a:cubicBezTo>
                  <a:cubicBezTo>
                    <a:pt x="1167" y="1294"/>
                    <a:pt x="1167" y="1296"/>
                    <a:pt x="1166" y="1297"/>
                  </a:cubicBezTo>
                  <a:cubicBezTo>
                    <a:pt x="1161" y="1301"/>
                    <a:pt x="1152" y="1304"/>
                    <a:pt x="1146" y="1300"/>
                  </a:cubicBezTo>
                  <a:cubicBezTo>
                    <a:pt x="1142" y="1297"/>
                    <a:pt x="1138" y="1297"/>
                    <a:pt x="1133" y="1297"/>
                  </a:cubicBezTo>
                  <a:cubicBezTo>
                    <a:pt x="1129" y="1298"/>
                    <a:pt x="1124" y="1298"/>
                    <a:pt x="1119" y="1298"/>
                  </a:cubicBezTo>
                  <a:cubicBezTo>
                    <a:pt x="1116" y="1298"/>
                    <a:pt x="1115" y="1297"/>
                    <a:pt x="1114" y="1295"/>
                  </a:cubicBezTo>
                  <a:cubicBezTo>
                    <a:pt x="1114" y="1294"/>
                    <a:pt x="1113" y="1294"/>
                    <a:pt x="1113" y="1293"/>
                  </a:cubicBezTo>
                  <a:cubicBezTo>
                    <a:pt x="1113" y="1290"/>
                    <a:pt x="1110" y="1288"/>
                    <a:pt x="1107" y="1287"/>
                  </a:cubicBezTo>
                  <a:cubicBezTo>
                    <a:pt x="1105" y="1287"/>
                    <a:pt x="1103" y="1286"/>
                    <a:pt x="1100" y="1286"/>
                  </a:cubicBezTo>
                  <a:cubicBezTo>
                    <a:pt x="1096" y="1285"/>
                    <a:pt x="1093" y="1283"/>
                    <a:pt x="1092" y="1279"/>
                  </a:cubicBezTo>
                  <a:cubicBezTo>
                    <a:pt x="1092" y="1278"/>
                    <a:pt x="1091" y="1277"/>
                    <a:pt x="1089" y="1277"/>
                  </a:cubicBezTo>
                  <a:cubicBezTo>
                    <a:pt x="1087" y="1276"/>
                    <a:pt x="1084" y="1278"/>
                    <a:pt x="1083" y="1280"/>
                  </a:cubicBezTo>
                  <a:cubicBezTo>
                    <a:pt x="1083" y="1281"/>
                    <a:pt x="1082" y="1282"/>
                    <a:pt x="1082" y="1283"/>
                  </a:cubicBezTo>
                  <a:cubicBezTo>
                    <a:pt x="1082" y="1286"/>
                    <a:pt x="1080" y="1288"/>
                    <a:pt x="1077" y="1289"/>
                  </a:cubicBezTo>
                  <a:cubicBezTo>
                    <a:pt x="1074" y="1290"/>
                    <a:pt x="1071" y="1291"/>
                    <a:pt x="1069" y="1292"/>
                  </a:cubicBezTo>
                  <a:cubicBezTo>
                    <a:pt x="1067" y="1293"/>
                    <a:pt x="1066" y="1292"/>
                    <a:pt x="1065" y="1290"/>
                  </a:cubicBezTo>
                  <a:cubicBezTo>
                    <a:pt x="1064" y="1289"/>
                    <a:pt x="1063" y="1287"/>
                    <a:pt x="1065" y="1286"/>
                  </a:cubicBezTo>
                  <a:cubicBezTo>
                    <a:pt x="1067" y="1284"/>
                    <a:pt x="1069" y="1282"/>
                    <a:pt x="1072" y="1280"/>
                  </a:cubicBezTo>
                  <a:cubicBezTo>
                    <a:pt x="1073" y="1278"/>
                    <a:pt x="1072" y="1275"/>
                    <a:pt x="1070" y="1274"/>
                  </a:cubicBezTo>
                  <a:cubicBezTo>
                    <a:pt x="1069" y="1274"/>
                    <a:pt x="1067" y="1273"/>
                    <a:pt x="1065" y="1273"/>
                  </a:cubicBezTo>
                  <a:cubicBezTo>
                    <a:pt x="1062" y="1274"/>
                    <a:pt x="1058" y="1275"/>
                    <a:pt x="1055" y="1278"/>
                  </a:cubicBezTo>
                  <a:cubicBezTo>
                    <a:pt x="1052" y="1281"/>
                    <a:pt x="1048" y="1284"/>
                    <a:pt x="1043" y="1285"/>
                  </a:cubicBezTo>
                  <a:cubicBezTo>
                    <a:pt x="1037" y="1287"/>
                    <a:pt x="1032" y="1286"/>
                    <a:pt x="1027" y="1290"/>
                  </a:cubicBezTo>
                  <a:cubicBezTo>
                    <a:pt x="1027" y="1291"/>
                    <a:pt x="1025" y="1290"/>
                    <a:pt x="1024" y="1290"/>
                  </a:cubicBezTo>
                  <a:cubicBezTo>
                    <a:pt x="1021" y="1290"/>
                    <a:pt x="1018" y="1291"/>
                    <a:pt x="1016" y="1294"/>
                  </a:cubicBezTo>
                  <a:cubicBezTo>
                    <a:pt x="1013" y="1297"/>
                    <a:pt x="1010" y="1300"/>
                    <a:pt x="1009" y="1305"/>
                  </a:cubicBezTo>
                  <a:cubicBezTo>
                    <a:pt x="1009" y="1308"/>
                    <a:pt x="1007" y="1311"/>
                    <a:pt x="1003" y="1313"/>
                  </a:cubicBezTo>
                  <a:cubicBezTo>
                    <a:pt x="1000" y="1315"/>
                    <a:pt x="997" y="1318"/>
                    <a:pt x="995" y="1321"/>
                  </a:cubicBezTo>
                  <a:cubicBezTo>
                    <a:pt x="994" y="1322"/>
                    <a:pt x="993" y="1324"/>
                    <a:pt x="993" y="1326"/>
                  </a:cubicBezTo>
                  <a:cubicBezTo>
                    <a:pt x="993" y="1326"/>
                    <a:pt x="993" y="1326"/>
                    <a:pt x="993" y="1326"/>
                  </a:cubicBezTo>
                  <a:cubicBezTo>
                    <a:pt x="993" y="1327"/>
                    <a:pt x="993" y="1327"/>
                    <a:pt x="993" y="1327"/>
                  </a:cubicBezTo>
                  <a:cubicBezTo>
                    <a:pt x="993" y="1326"/>
                    <a:pt x="993" y="1326"/>
                    <a:pt x="993" y="1326"/>
                  </a:cubicBezTo>
                  <a:cubicBezTo>
                    <a:pt x="993" y="1326"/>
                    <a:pt x="993" y="1326"/>
                    <a:pt x="993" y="1326"/>
                  </a:cubicBezTo>
                  <a:cubicBezTo>
                    <a:pt x="992" y="1326"/>
                    <a:pt x="991" y="1326"/>
                    <a:pt x="990" y="1325"/>
                  </a:cubicBezTo>
                  <a:cubicBezTo>
                    <a:pt x="987" y="1323"/>
                    <a:pt x="984" y="1320"/>
                    <a:pt x="982" y="1318"/>
                  </a:cubicBezTo>
                  <a:cubicBezTo>
                    <a:pt x="978" y="1314"/>
                    <a:pt x="973" y="1312"/>
                    <a:pt x="969" y="1311"/>
                  </a:cubicBezTo>
                  <a:cubicBezTo>
                    <a:pt x="962" y="1310"/>
                    <a:pt x="956" y="1310"/>
                    <a:pt x="949" y="1313"/>
                  </a:cubicBezTo>
                  <a:cubicBezTo>
                    <a:pt x="948" y="1314"/>
                    <a:pt x="945" y="1315"/>
                    <a:pt x="944" y="1316"/>
                  </a:cubicBezTo>
                  <a:cubicBezTo>
                    <a:pt x="939" y="1319"/>
                    <a:pt x="935" y="1320"/>
                    <a:pt x="930" y="1317"/>
                  </a:cubicBezTo>
                  <a:cubicBezTo>
                    <a:pt x="921" y="1316"/>
                    <a:pt x="915" y="1311"/>
                    <a:pt x="910" y="1304"/>
                  </a:cubicBezTo>
                  <a:cubicBezTo>
                    <a:pt x="907" y="1301"/>
                    <a:pt x="905" y="1297"/>
                    <a:pt x="902" y="1293"/>
                  </a:cubicBezTo>
                  <a:cubicBezTo>
                    <a:pt x="902" y="1291"/>
                    <a:pt x="901" y="1290"/>
                    <a:pt x="901" y="1288"/>
                  </a:cubicBezTo>
                  <a:cubicBezTo>
                    <a:pt x="901" y="1283"/>
                    <a:pt x="901" y="1278"/>
                    <a:pt x="905" y="1273"/>
                  </a:cubicBezTo>
                  <a:cubicBezTo>
                    <a:pt x="906" y="1272"/>
                    <a:pt x="906" y="1269"/>
                    <a:pt x="906" y="1267"/>
                  </a:cubicBezTo>
                  <a:cubicBezTo>
                    <a:pt x="907" y="1262"/>
                    <a:pt x="908" y="1257"/>
                    <a:pt x="910" y="1252"/>
                  </a:cubicBezTo>
                  <a:cubicBezTo>
                    <a:pt x="911" y="1248"/>
                    <a:pt x="911" y="1242"/>
                    <a:pt x="911" y="1237"/>
                  </a:cubicBezTo>
                  <a:cubicBezTo>
                    <a:pt x="911" y="1236"/>
                    <a:pt x="910" y="1235"/>
                    <a:pt x="909" y="1235"/>
                  </a:cubicBezTo>
                  <a:cubicBezTo>
                    <a:pt x="907" y="1234"/>
                    <a:pt x="905" y="1233"/>
                    <a:pt x="903" y="1232"/>
                  </a:cubicBezTo>
                  <a:cubicBezTo>
                    <a:pt x="903" y="1232"/>
                    <a:pt x="903" y="1232"/>
                    <a:pt x="903" y="1232"/>
                  </a:cubicBezTo>
                  <a:cubicBezTo>
                    <a:pt x="903" y="1232"/>
                    <a:pt x="904" y="1233"/>
                    <a:pt x="904" y="1233"/>
                  </a:cubicBezTo>
                  <a:cubicBezTo>
                    <a:pt x="903" y="1233"/>
                    <a:pt x="903" y="1233"/>
                    <a:pt x="903" y="1233"/>
                  </a:cubicBezTo>
                  <a:cubicBezTo>
                    <a:pt x="903" y="1232"/>
                    <a:pt x="903" y="1232"/>
                    <a:pt x="903" y="1232"/>
                  </a:cubicBezTo>
                  <a:cubicBezTo>
                    <a:pt x="900" y="1229"/>
                    <a:pt x="896" y="1227"/>
                    <a:pt x="891" y="1227"/>
                  </a:cubicBezTo>
                  <a:cubicBezTo>
                    <a:pt x="886" y="1227"/>
                    <a:pt x="881" y="1226"/>
                    <a:pt x="876" y="1225"/>
                  </a:cubicBezTo>
                  <a:cubicBezTo>
                    <a:pt x="870" y="1224"/>
                    <a:pt x="865" y="1227"/>
                    <a:pt x="860" y="1226"/>
                  </a:cubicBezTo>
                  <a:cubicBezTo>
                    <a:pt x="855" y="1226"/>
                    <a:pt x="851" y="1227"/>
                    <a:pt x="847" y="1227"/>
                  </a:cubicBezTo>
                  <a:cubicBezTo>
                    <a:pt x="844" y="1227"/>
                    <a:pt x="841" y="1226"/>
                    <a:pt x="839" y="1226"/>
                  </a:cubicBezTo>
                  <a:cubicBezTo>
                    <a:pt x="837" y="1226"/>
                    <a:pt x="837" y="1224"/>
                    <a:pt x="837" y="1224"/>
                  </a:cubicBezTo>
                  <a:cubicBezTo>
                    <a:pt x="843" y="1219"/>
                    <a:pt x="845" y="1213"/>
                    <a:pt x="844" y="1207"/>
                  </a:cubicBezTo>
                  <a:cubicBezTo>
                    <a:pt x="844" y="1204"/>
                    <a:pt x="845" y="1201"/>
                    <a:pt x="845" y="1197"/>
                  </a:cubicBezTo>
                  <a:cubicBezTo>
                    <a:pt x="845" y="1196"/>
                    <a:pt x="846" y="1194"/>
                    <a:pt x="848" y="1194"/>
                  </a:cubicBezTo>
                  <a:cubicBezTo>
                    <a:pt x="852" y="1194"/>
                    <a:pt x="854" y="1192"/>
                    <a:pt x="855" y="1189"/>
                  </a:cubicBezTo>
                  <a:cubicBezTo>
                    <a:pt x="855" y="1185"/>
                    <a:pt x="856" y="1181"/>
                    <a:pt x="856" y="1178"/>
                  </a:cubicBezTo>
                  <a:cubicBezTo>
                    <a:pt x="856" y="1173"/>
                    <a:pt x="858" y="1169"/>
                    <a:pt x="861" y="1165"/>
                  </a:cubicBezTo>
                  <a:cubicBezTo>
                    <a:pt x="863" y="1163"/>
                    <a:pt x="865" y="1160"/>
                    <a:pt x="867" y="1158"/>
                  </a:cubicBezTo>
                  <a:cubicBezTo>
                    <a:pt x="868" y="1156"/>
                    <a:pt x="868" y="1155"/>
                    <a:pt x="869" y="1153"/>
                  </a:cubicBezTo>
                  <a:cubicBezTo>
                    <a:pt x="870" y="1151"/>
                    <a:pt x="867" y="1147"/>
                    <a:pt x="864" y="1146"/>
                  </a:cubicBezTo>
                  <a:cubicBezTo>
                    <a:pt x="857" y="1146"/>
                    <a:pt x="851" y="1145"/>
                    <a:pt x="844" y="1148"/>
                  </a:cubicBezTo>
                  <a:cubicBezTo>
                    <a:pt x="839" y="1150"/>
                    <a:pt x="834" y="1150"/>
                    <a:pt x="828" y="1151"/>
                  </a:cubicBezTo>
                  <a:cubicBezTo>
                    <a:pt x="823" y="1151"/>
                    <a:pt x="820" y="1153"/>
                    <a:pt x="818" y="1157"/>
                  </a:cubicBezTo>
                  <a:cubicBezTo>
                    <a:pt x="817" y="1160"/>
                    <a:pt x="816" y="1162"/>
                    <a:pt x="815" y="1165"/>
                  </a:cubicBezTo>
                  <a:cubicBezTo>
                    <a:pt x="813" y="1172"/>
                    <a:pt x="810" y="1180"/>
                    <a:pt x="804" y="1185"/>
                  </a:cubicBezTo>
                  <a:cubicBezTo>
                    <a:pt x="802" y="1191"/>
                    <a:pt x="798" y="1191"/>
                    <a:pt x="792" y="1189"/>
                  </a:cubicBezTo>
                  <a:cubicBezTo>
                    <a:pt x="790" y="1188"/>
                    <a:pt x="787" y="1188"/>
                    <a:pt x="784" y="1189"/>
                  </a:cubicBezTo>
                  <a:cubicBezTo>
                    <a:pt x="779" y="1190"/>
                    <a:pt x="774" y="1193"/>
                    <a:pt x="768" y="1194"/>
                  </a:cubicBezTo>
                  <a:cubicBezTo>
                    <a:pt x="764" y="1195"/>
                    <a:pt x="760" y="1195"/>
                    <a:pt x="756" y="1191"/>
                  </a:cubicBezTo>
                  <a:cubicBezTo>
                    <a:pt x="754" y="1188"/>
                    <a:pt x="750" y="1187"/>
                    <a:pt x="746" y="1185"/>
                  </a:cubicBezTo>
                  <a:cubicBezTo>
                    <a:pt x="742" y="1184"/>
                    <a:pt x="739" y="1181"/>
                    <a:pt x="737" y="1177"/>
                  </a:cubicBezTo>
                  <a:cubicBezTo>
                    <a:pt x="735" y="1172"/>
                    <a:pt x="732" y="1167"/>
                    <a:pt x="728" y="1162"/>
                  </a:cubicBezTo>
                  <a:cubicBezTo>
                    <a:pt x="726" y="1160"/>
                    <a:pt x="725" y="1158"/>
                    <a:pt x="725" y="1155"/>
                  </a:cubicBezTo>
                  <a:cubicBezTo>
                    <a:pt x="724" y="1151"/>
                    <a:pt x="723" y="1146"/>
                    <a:pt x="722" y="1141"/>
                  </a:cubicBezTo>
                  <a:cubicBezTo>
                    <a:pt x="722" y="1138"/>
                    <a:pt x="721" y="1135"/>
                    <a:pt x="722" y="1132"/>
                  </a:cubicBezTo>
                  <a:cubicBezTo>
                    <a:pt x="722" y="1121"/>
                    <a:pt x="723" y="1110"/>
                    <a:pt x="726" y="1100"/>
                  </a:cubicBezTo>
                  <a:cubicBezTo>
                    <a:pt x="726" y="1098"/>
                    <a:pt x="727" y="1095"/>
                    <a:pt x="728" y="1094"/>
                  </a:cubicBezTo>
                  <a:cubicBezTo>
                    <a:pt x="732" y="1090"/>
                    <a:pt x="733" y="1085"/>
                    <a:pt x="732" y="1079"/>
                  </a:cubicBezTo>
                  <a:cubicBezTo>
                    <a:pt x="732" y="1072"/>
                    <a:pt x="733" y="1065"/>
                    <a:pt x="736" y="1058"/>
                  </a:cubicBezTo>
                  <a:cubicBezTo>
                    <a:pt x="738" y="1052"/>
                    <a:pt x="742" y="1046"/>
                    <a:pt x="749" y="1045"/>
                  </a:cubicBezTo>
                  <a:cubicBezTo>
                    <a:pt x="757" y="1044"/>
                    <a:pt x="764" y="1041"/>
                    <a:pt x="770" y="1036"/>
                  </a:cubicBezTo>
                  <a:cubicBezTo>
                    <a:pt x="774" y="1032"/>
                    <a:pt x="779" y="1032"/>
                    <a:pt x="784" y="1030"/>
                  </a:cubicBezTo>
                  <a:cubicBezTo>
                    <a:pt x="788" y="1028"/>
                    <a:pt x="793" y="1029"/>
                    <a:pt x="797" y="1031"/>
                  </a:cubicBezTo>
                  <a:cubicBezTo>
                    <a:pt x="800" y="1032"/>
                    <a:pt x="804" y="1032"/>
                    <a:pt x="807" y="1031"/>
                  </a:cubicBezTo>
                  <a:cubicBezTo>
                    <a:pt x="811" y="1029"/>
                    <a:pt x="814" y="1030"/>
                    <a:pt x="816" y="1033"/>
                  </a:cubicBezTo>
                  <a:cubicBezTo>
                    <a:pt x="820" y="1039"/>
                    <a:pt x="825" y="1039"/>
                    <a:pt x="832" y="1038"/>
                  </a:cubicBezTo>
                  <a:cubicBezTo>
                    <a:pt x="835" y="1038"/>
                    <a:pt x="837" y="1036"/>
                    <a:pt x="840" y="1035"/>
                  </a:cubicBezTo>
                  <a:cubicBezTo>
                    <a:pt x="841" y="1032"/>
                    <a:pt x="842" y="1029"/>
                    <a:pt x="843" y="1026"/>
                  </a:cubicBezTo>
                  <a:cubicBezTo>
                    <a:pt x="843" y="1023"/>
                    <a:pt x="845" y="1022"/>
                    <a:pt x="848" y="1021"/>
                  </a:cubicBezTo>
                  <a:cubicBezTo>
                    <a:pt x="850" y="1020"/>
                    <a:pt x="852" y="1020"/>
                    <a:pt x="854" y="1020"/>
                  </a:cubicBezTo>
                  <a:cubicBezTo>
                    <a:pt x="862" y="1018"/>
                    <a:pt x="870" y="1020"/>
                    <a:pt x="877" y="1020"/>
                  </a:cubicBezTo>
                  <a:cubicBezTo>
                    <a:pt x="886" y="1019"/>
                    <a:pt x="894" y="1021"/>
                    <a:pt x="900" y="1028"/>
                  </a:cubicBezTo>
                  <a:cubicBezTo>
                    <a:pt x="902" y="1030"/>
                    <a:pt x="905" y="1030"/>
                    <a:pt x="907" y="1029"/>
                  </a:cubicBezTo>
                  <a:cubicBezTo>
                    <a:pt x="909" y="1028"/>
                    <a:pt x="911" y="1027"/>
                    <a:pt x="913" y="1026"/>
                  </a:cubicBezTo>
                  <a:cubicBezTo>
                    <a:pt x="916" y="1025"/>
                    <a:pt x="918" y="1026"/>
                    <a:pt x="919" y="1028"/>
                  </a:cubicBezTo>
                  <a:cubicBezTo>
                    <a:pt x="923" y="1032"/>
                    <a:pt x="926" y="1036"/>
                    <a:pt x="930" y="1040"/>
                  </a:cubicBezTo>
                  <a:cubicBezTo>
                    <a:pt x="931" y="1042"/>
                    <a:pt x="932" y="1045"/>
                    <a:pt x="931" y="1047"/>
                  </a:cubicBezTo>
                  <a:cubicBezTo>
                    <a:pt x="930" y="1049"/>
                    <a:pt x="930" y="1050"/>
                    <a:pt x="929" y="1052"/>
                  </a:cubicBezTo>
                  <a:cubicBezTo>
                    <a:pt x="928" y="1055"/>
                    <a:pt x="928" y="1058"/>
                    <a:pt x="930" y="1060"/>
                  </a:cubicBezTo>
                  <a:cubicBezTo>
                    <a:pt x="932" y="1069"/>
                    <a:pt x="937" y="1076"/>
                    <a:pt x="941" y="1085"/>
                  </a:cubicBezTo>
                  <a:cubicBezTo>
                    <a:pt x="942" y="1088"/>
                    <a:pt x="946" y="1092"/>
                    <a:pt x="949" y="1095"/>
                  </a:cubicBezTo>
                  <a:cubicBezTo>
                    <a:pt x="951" y="1098"/>
                    <a:pt x="957" y="1097"/>
                    <a:pt x="959" y="1094"/>
                  </a:cubicBezTo>
                  <a:cubicBezTo>
                    <a:pt x="963" y="1087"/>
                    <a:pt x="965" y="1081"/>
                    <a:pt x="966" y="1073"/>
                  </a:cubicBezTo>
                  <a:cubicBezTo>
                    <a:pt x="966" y="1072"/>
                    <a:pt x="966" y="1071"/>
                    <a:pt x="966" y="1070"/>
                  </a:cubicBezTo>
                  <a:cubicBezTo>
                    <a:pt x="964" y="1066"/>
                    <a:pt x="963" y="1062"/>
                    <a:pt x="962" y="1058"/>
                  </a:cubicBezTo>
                  <a:cubicBezTo>
                    <a:pt x="961" y="1054"/>
                    <a:pt x="961" y="1050"/>
                    <a:pt x="960" y="1046"/>
                  </a:cubicBezTo>
                  <a:cubicBezTo>
                    <a:pt x="960" y="1045"/>
                    <a:pt x="960" y="1045"/>
                    <a:pt x="960" y="1044"/>
                  </a:cubicBezTo>
                  <a:cubicBezTo>
                    <a:pt x="955" y="1032"/>
                    <a:pt x="955" y="1020"/>
                    <a:pt x="957" y="1007"/>
                  </a:cubicBezTo>
                  <a:cubicBezTo>
                    <a:pt x="957" y="1005"/>
                    <a:pt x="957" y="1003"/>
                    <a:pt x="959" y="1001"/>
                  </a:cubicBezTo>
                  <a:cubicBezTo>
                    <a:pt x="965" y="995"/>
                    <a:pt x="970" y="988"/>
                    <a:pt x="979" y="986"/>
                  </a:cubicBezTo>
                  <a:cubicBezTo>
                    <a:pt x="980" y="986"/>
                    <a:pt x="981" y="985"/>
                    <a:pt x="982" y="985"/>
                  </a:cubicBezTo>
                  <a:cubicBezTo>
                    <a:pt x="986" y="984"/>
                    <a:pt x="988" y="982"/>
                    <a:pt x="990" y="980"/>
                  </a:cubicBezTo>
                  <a:cubicBezTo>
                    <a:pt x="992" y="978"/>
                    <a:pt x="993" y="975"/>
                    <a:pt x="995" y="974"/>
                  </a:cubicBezTo>
                  <a:cubicBezTo>
                    <a:pt x="997" y="972"/>
                    <a:pt x="998" y="970"/>
                    <a:pt x="1000" y="970"/>
                  </a:cubicBezTo>
                  <a:cubicBezTo>
                    <a:pt x="1004" y="969"/>
                    <a:pt x="1007" y="966"/>
                    <a:pt x="1010" y="964"/>
                  </a:cubicBezTo>
                  <a:cubicBezTo>
                    <a:pt x="1014" y="960"/>
                    <a:pt x="1019" y="957"/>
                    <a:pt x="1026" y="956"/>
                  </a:cubicBezTo>
                  <a:cubicBezTo>
                    <a:pt x="1029" y="955"/>
                    <a:pt x="1030" y="953"/>
                    <a:pt x="1030" y="950"/>
                  </a:cubicBezTo>
                  <a:cubicBezTo>
                    <a:pt x="1030" y="948"/>
                    <a:pt x="1032" y="948"/>
                    <a:pt x="1033" y="947"/>
                  </a:cubicBezTo>
                  <a:cubicBezTo>
                    <a:pt x="1035" y="946"/>
                    <a:pt x="1037" y="945"/>
                    <a:pt x="1039" y="943"/>
                  </a:cubicBezTo>
                  <a:cubicBezTo>
                    <a:pt x="1040" y="942"/>
                    <a:pt x="1041" y="940"/>
                    <a:pt x="1040" y="939"/>
                  </a:cubicBezTo>
                  <a:cubicBezTo>
                    <a:pt x="1038" y="937"/>
                    <a:pt x="1037" y="935"/>
                    <a:pt x="1039" y="932"/>
                  </a:cubicBezTo>
                  <a:cubicBezTo>
                    <a:pt x="1041" y="928"/>
                    <a:pt x="1041" y="924"/>
                    <a:pt x="1038" y="920"/>
                  </a:cubicBezTo>
                  <a:cubicBezTo>
                    <a:pt x="1038" y="919"/>
                    <a:pt x="1037" y="917"/>
                    <a:pt x="1037" y="916"/>
                  </a:cubicBezTo>
                  <a:cubicBezTo>
                    <a:pt x="1037" y="911"/>
                    <a:pt x="1038" y="906"/>
                    <a:pt x="1038" y="902"/>
                  </a:cubicBezTo>
                  <a:cubicBezTo>
                    <a:pt x="1038" y="901"/>
                    <a:pt x="1039" y="901"/>
                    <a:pt x="1040" y="901"/>
                  </a:cubicBezTo>
                  <a:cubicBezTo>
                    <a:pt x="1040" y="901"/>
                    <a:pt x="1041" y="901"/>
                    <a:pt x="1041" y="902"/>
                  </a:cubicBezTo>
                  <a:cubicBezTo>
                    <a:pt x="1044" y="904"/>
                    <a:pt x="1043" y="906"/>
                    <a:pt x="1043" y="909"/>
                  </a:cubicBezTo>
                  <a:cubicBezTo>
                    <a:pt x="1043" y="910"/>
                    <a:pt x="1044" y="910"/>
                    <a:pt x="1045" y="911"/>
                  </a:cubicBezTo>
                  <a:cubicBezTo>
                    <a:pt x="1045" y="911"/>
                    <a:pt x="1046" y="911"/>
                    <a:pt x="1046" y="910"/>
                  </a:cubicBezTo>
                  <a:cubicBezTo>
                    <a:pt x="1049" y="906"/>
                    <a:pt x="1052" y="903"/>
                    <a:pt x="1055" y="899"/>
                  </a:cubicBezTo>
                  <a:cubicBezTo>
                    <a:pt x="1056" y="897"/>
                    <a:pt x="1056" y="895"/>
                    <a:pt x="1056" y="893"/>
                  </a:cubicBezTo>
                  <a:cubicBezTo>
                    <a:pt x="1057" y="891"/>
                    <a:pt x="1056" y="890"/>
                    <a:pt x="1056" y="888"/>
                  </a:cubicBezTo>
                  <a:cubicBezTo>
                    <a:pt x="1057" y="887"/>
                    <a:pt x="1057" y="886"/>
                    <a:pt x="1059" y="886"/>
                  </a:cubicBezTo>
                  <a:cubicBezTo>
                    <a:pt x="1062" y="887"/>
                    <a:pt x="1064" y="885"/>
                    <a:pt x="1066" y="883"/>
                  </a:cubicBezTo>
                  <a:cubicBezTo>
                    <a:pt x="1070" y="878"/>
                    <a:pt x="1074" y="873"/>
                    <a:pt x="1075" y="867"/>
                  </a:cubicBezTo>
                  <a:cubicBezTo>
                    <a:pt x="1076" y="861"/>
                    <a:pt x="1079" y="860"/>
                    <a:pt x="1084" y="860"/>
                  </a:cubicBezTo>
                  <a:cubicBezTo>
                    <a:pt x="1087" y="859"/>
                    <a:pt x="1091" y="859"/>
                    <a:pt x="1094" y="858"/>
                  </a:cubicBezTo>
                  <a:cubicBezTo>
                    <a:pt x="1095" y="858"/>
                    <a:pt x="1097" y="857"/>
                    <a:pt x="1098" y="856"/>
                  </a:cubicBezTo>
                  <a:cubicBezTo>
                    <a:pt x="1099" y="856"/>
                    <a:pt x="1099" y="855"/>
                    <a:pt x="1099" y="855"/>
                  </a:cubicBezTo>
                  <a:cubicBezTo>
                    <a:pt x="1099" y="854"/>
                    <a:pt x="1099" y="854"/>
                    <a:pt x="1098" y="853"/>
                  </a:cubicBezTo>
                  <a:cubicBezTo>
                    <a:pt x="1097" y="853"/>
                    <a:pt x="1096" y="853"/>
                    <a:pt x="1095" y="853"/>
                  </a:cubicBezTo>
                  <a:cubicBezTo>
                    <a:pt x="1094" y="853"/>
                    <a:pt x="1093" y="852"/>
                    <a:pt x="1093" y="851"/>
                  </a:cubicBezTo>
                  <a:cubicBezTo>
                    <a:pt x="1093" y="851"/>
                    <a:pt x="1094" y="851"/>
                    <a:pt x="1095" y="851"/>
                  </a:cubicBezTo>
                  <a:cubicBezTo>
                    <a:pt x="1095" y="851"/>
                    <a:pt x="1096" y="851"/>
                    <a:pt x="1097" y="851"/>
                  </a:cubicBezTo>
                  <a:cubicBezTo>
                    <a:pt x="1106" y="852"/>
                    <a:pt x="1115" y="847"/>
                    <a:pt x="1124" y="848"/>
                  </a:cubicBezTo>
                  <a:cubicBezTo>
                    <a:pt x="1126" y="848"/>
                    <a:pt x="1127" y="846"/>
                    <a:pt x="1128" y="845"/>
                  </a:cubicBezTo>
                  <a:cubicBezTo>
                    <a:pt x="1132" y="843"/>
                    <a:pt x="1132" y="841"/>
                    <a:pt x="1128" y="839"/>
                  </a:cubicBezTo>
                  <a:cubicBezTo>
                    <a:pt x="1124" y="837"/>
                    <a:pt x="1123" y="834"/>
                    <a:pt x="1123" y="831"/>
                  </a:cubicBezTo>
                  <a:cubicBezTo>
                    <a:pt x="1125" y="828"/>
                    <a:pt x="1126" y="824"/>
                    <a:pt x="1127" y="821"/>
                  </a:cubicBezTo>
                  <a:cubicBezTo>
                    <a:pt x="1130" y="815"/>
                    <a:pt x="1134" y="810"/>
                    <a:pt x="1141" y="808"/>
                  </a:cubicBezTo>
                  <a:cubicBezTo>
                    <a:pt x="1144" y="807"/>
                    <a:pt x="1148" y="805"/>
                    <a:pt x="1151" y="803"/>
                  </a:cubicBezTo>
                  <a:cubicBezTo>
                    <a:pt x="1153" y="801"/>
                    <a:pt x="1156" y="800"/>
                    <a:pt x="1159" y="800"/>
                  </a:cubicBezTo>
                  <a:cubicBezTo>
                    <a:pt x="1166" y="801"/>
                    <a:pt x="1172" y="797"/>
                    <a:pt x="1179" y="796"/>
                  </a:cubicBezTo>
                  <a:cubicBezTo>
                    <a:pt x="1182" y="796"/>
                    <a:pt x="1182" y="794"/>
                    <a:pt x="1183" y="792"/>
                  </a:cubicBezTo>
                  <a:cubicBezTo>
                    <a:pt x="1184" y="790"/>
                    <a:pt x="1185" y="789"/>
                    <a:pt x="1187" y="789"/>
                  </a:cubicBezTo>
                  <a:cubicBezTo>
                    <a:pt x="1192" y="787"/>
                    <a:pt x="1197" y="786"/>
                    <a:pt x="1203" y="785"/>
                  </a:cubicBezTo>
                  <a:cubicBezTo>
                    <a:pt x="1203" y="785"/>
                    <a:pt x="1204" y="786"/>
                    <a:pt x="1204" y="786"/>
                  </a:cubicBezTo>
                  <a:cubicBezTo>
                    <a:pt x="1204" y="787"/>
                    <a:pt x="1204" y="788"/>
                    <a:pt x="1203" y="788"/>
                  </a:cubicBezTo>
                  <a:cubicBezTo>
                    <a:pt x="1201" y="789"/>
                    <a:pt x="1199" y="790"/>
                    <a:pt x="1197" y="791"/>
                  </a:cubicBezTo>
                  <a:cubicBezTo>
                    <a:pt x="1192" y="793"/>
                    <a:pt x="1189" y="796"/>
                    <a:pt x="1187" y="801"/>
                  </a:cubicBezTo>
                  <a:cubicBezTo>
                    <a:pt x="1186" y="803"/>
                    <a:pt x="1186" y="805"/>
                    <a:pt x="1186" y="807"/>
                  </a:cubicBezTo>
                  <a:cubicBezTo>
                    <a:pt x="1187" y="810"/>
                    <a:pt x="1189" y="812"/>
                    <a:pt x="1192" y="814"/>
                  </a:cubicBezTo>
                  <a:cubicBezTo>
                    <a:pt x="1193" y="815"/>
                    <a:pt x="1194" y="815"/>
                    <a:pt x="1195" y="815"/>
                  </a:cubicBezTo>
                  <a:cubicBezTo>
                    <a:pt x="1201" y="812"/>
                    <a:pt x="1208" y="808"/>
                    <a:pt x="1212" y="803"/>
                  </a:cubicBezTo>
                  <a:cubicBezTo>
                    <a:pt x="1214" y="799"/>
                    <a:pt x="1217" y="798"/>
                    <a:pt x="1222" y="799"/>
                  </a:cubicBezTo>
                  <a:cubicBezTo>
                    <a:pt x="1230" y="796"/>
                    <a:pt x="1238" y="794"/>
                    <a:pt x="1247" y="791"/>
                  </a:cubicBezTo>
                  <a:cubicBezTo>
                    <a:pt x="1249" y="790"/>
                    <a:pt x="1252" y="789"/>
                    <a:pt x="1254" y="789"/>
                  </a:cubicBezTo>
                  <a:cubicBezTo>
                    <a:pt x="1256" y="783"/>
                    <a:pt x="1262" y="785"/>
                    <a:pt x="1265" y="783"/>
                  </a:cubicBezTo>
                  <a:cubicBezTo>
                    <a:pt x="1266" y="782"/>
                    <a:pt x="1268" y="781"/>
                    <a:pt x="1270" y="781"/>
                  </a:cubicBezTo>
                  <a:cubicBezTo>
                    <a:pt x="1271" y="780"/>
                    <a:pt x="1271" y="780"/>
                    <a:pt x="1272" y="779"/>
                  </a:cubicBezTo>
                  <a:cubicBezTo>
                    <a:pt x="1273" y="778"/>
                    <a:pt x="1274" y="775"/>
                    <a:pt x="1273" y="775"/>
                  </a:cubicBezTo>
                  <a:cubicBezTo>
                    <a:pt x="1270" y="772"/>
                    <a:pt x="1267" y="769"/>
                    <a:pt x="1269" y="764"/>
                  </a:cubicBezTo>
                  <a:cubicBezTo>
                    <a:pt x="1269" y="764"/>
                    <a:pt x="1269" y="763"/>
                    <a:pt x="1269" y="763"/>
                  </a:cubicBezTo>
                  <a:cubicBezTo>
                    <a:pt x="1268" y="761"/>
                    <a:pt x="1265" y="760"/>
                    <a:pt x="1264" y="761"/>
                  </a:cubicBezTo>
                  <a:cubicBezTo>
                    <a:pt x="1259" y="766"/>
                    <a:pt x="1255" y="771"/>
                    <a:pt x="1251" y="777"/>
                  </a:cubicBezTo>
                  <a:cubicBezTo>
                    <a:pt x="1249" y="779"/>
                    <a:pt x="1248" y="779"/>
                    <a:pt x="1245" y="779"/>
                  </a:cubicBezTo>
                  <a:cubicBezTo>
                    <a:pt x="1244" y="778"/>
                    <a:pt x="1242" y="778"/>
                    <a:pt x="1241" y="778"/>
                  </a:cubicBezTo>
                  <a:cubicBezTo>
                    <a:pt x="1240" y="779"/>
                    <a:pt x="1239" y="780"/>
                    <a:pt x="1238" y="779"/>
                  </a:cubicBezTo>
                  <a:cubicBezTo>
                    <a:pt x="1236" y="779"/>
                    <a:pt x="1235" y="778"/>
                    <a:pt x="1234" y="778"/>
                  </a:cubicBezTo>
                  <a:cubicBezTo>
                    <a:pt x="1233" y="778"/>
                    <a:pt x="1231" y="777"/>
                    <a:pt x="1230" y="777"/>
                  </a:cubicBezTo>
                  <a:cubicBezTo>
                    <a:pt x="1226" y="777"/>
                    <a:pt x="1224" y="775"/>
                    <a:pt x="1224" y="771"/>
                  </a:cubicBezTo>
                  <a:cubicBezTo>
                    <a:pt x="1218" y="771"/>
                    <a:pt x="1215" y="768"/>
                    <a:pt x="1214" y="762"/>
                  </a:cubicBezTo>
                  <a:cubicBezTo>
                    <a:pt x="1213" y="757"/>
                    <a:pt x="1213" y="752"/>
                    <a:pt x="1216" y="747"/>
                  </a:cubicBezTo>
                  <a:cubicBezTo>
                    <a:pt x="1217" y="745"/>
                    <a:pt x="1215" y="743"/>
                    <a:pt x="1213" y="743"/>
                  </a:cubicBezTo>
                  <a:cubicBezTo>
                    <a:pt x="1212" y="742"/>
                    <a:pt x="1210" y="742"/>
                    <a:pt x="1209" y="742"/>
                  </a:cubicBezTo>
                  <a:cubicBezTo>
                    <a:pt x="1209" y="742"/>
                    <a:pt x="1208" y="742"/>
                    <a:pt x="1208" y="742"/>
                  </a:cubicBezTo>
                  <a:cubicBezTo>
                    <a:pt x="1209" y="741"/>
                    <a:pt x="1210" y="741"/>
                    <a:pt x="1211" y="741"/>
                  </a:cubicBezTo>
                  <a:cubicBezTo>
                    <a:pt x="1215" y="739"/>
                    <a:pt x="1219" y="737"/>
                    <a:pt x="1222" y="734"/>
                  </a:cubicBezTo>
                  <a:cubicBezTo>
                    <a:pt x="1224" y="733"/>
                    <a:pt x="1225" y="729"/>
                    <a:pt x="1224" y="727"/>
                  </a:cubicBezTo>
                  <a:cubicBezTo>
                    <a:pt x="1222" y="726"/>
                    <a:pt x="1221" y="724"/>
                    <a:pt x="1220" y="722"/>
                  </a:cubicBezTo>
                  <a:cubicBezTo>
                    <a:pt x="1215" y="719"/>
                    <a:pt x="1210" y="717"/>
                    <a:pt x="1204" y="719"/>
                  </a:cubicBezTo>
                  <a:cubicBezTo>
                    <a:pt x="1190" y="722"/>
                    <a:pt x="1175" y="725"/>
                    <a:pt x="1162" y="734"/>
                  </a:cubicBezTo>
                  <a:cubicBezTo>
                    <a:pt x="1162" y="734"/>
                    <a:pt x="1162" y="734"/>
                    <a:pt x="1162" y="734"/>
                  </a:cubicBezTo>
                  <a:cubicBezTo>
                    <a:pt x="1162" y="734"/>
                    <a:pt x="1161" y="734"/>
                    <a:pt x="1161" y="734"/>
                  </a:cubicBezTo>
                  <a:cubicBezTo>
                    <a:pt x="1159" y="736"/>
                    <a:pt x="1158" y="738"/>
                    <a:pt x="1156" y="740"/>
                  </a:cubicBezTo>
                  <a:cubicBezTo>
                    <a:pt x="1156" y="740"/>
                    <a:pt x="1156" y="740"/>
                    <a:pt x="1156" y="740"/>
                  </a:cubicBezTo>
                  <a:cubicBezTo>
                    <a:pt x="1153" y="741"/>
                    <a:pt x="1151" y="742"/>
                    <a:pt x="1148" y="743"/>
                  </a:cubicBezTo>
                  <a:cubicBezTo>
                    <a:pt x="1147" y="744"/>
                    <a:pt x="1146" y="745"/>
                    <a:pt x="1145" y="746"/>
                  </a:cubicBezTo>
                  <a:cubicBezTo>
                    <a:pt x="1144" y="747"/>
                    <a:pt x="1144" y="747"/>
                    <a:pt x="1144" y="747"/>
                  </a:cubicBezTo>
                  <a:cubicBezTo>
                    <a:pt x="1145" y="745"/>
                    <a:pt x="1145" y="745"/>
                    <a:pt x="1145" y="745"/>
                  </a:cubicBezTo>
                  <a:cubicBezTo>
                    <a:pt x="1146" y="744"/>
                    <a:pt x="1147" y="744"/>
                    <a:pt x="1148" y="743"/>
                  </a:cubicBezTo>
                  <a:cubicBezTo>
                    <a:pt x="1150" y="742"/>
                    <a:pt x="1153" y="741"/>
                    <a:pt x="1155" y="740"/>
                  </a:cubicBezTo>
                  <a:cubicBezTo>
                    <a:pt x="1155" y="740"/>
                    <a:pt x="1156" y="740"/>
                    <a:pt x="1156" y="740"/>
                  </a:cubicBezTo>
                  <a:cubicBezTo>
                    <a:pt x="1156" y="735"/>
                    <a:pt x="1157" y="735"/>
                    <a:pt x="1161" y="734"/>
                  </a:cubicBezTo>
                  <a:cubicBezTo>
                    <a:pt x="1161" y="734"/>
                    <a:pt x="1161" y="734"/>
                    <a:pt x="1162" y="734"/>
                  </a:cubicBezTo>
                  <a:cubicBezTo>
                    <a:pt x="1162" y="734"/>
                    <a:pt x="1162" y="734"/>
                    <a:pt x="1162" y="734"/>
                  </a:cubicBezTo>
                  <a:cubicBezTo>
                    <a:pt x="1162" y="731"/>
                    <a:pt x="1163" y="729"/>
                    <a:pt x="1165" y="727"/>
                  </a:cubicBezTo>
                  <a:cubicBezTo>
                    <a:pt x="1170" y="723"/>
                    <a:pt x="1177" y="719"/>
                    <a:pt x="1183" y="717"/>
                  </a:cubicBezTo>
                  <a:cubicBezTo>
                    <a:pt x="1188" y="716"/>
                    <a:pt x="1192" y="714"/>
                    <a:pt x="1193" y="710"/>
                  </a:cubicBezTo>
                  <a:cubicBezTo>
                    <a:pt x="1194" y="709"/>
                    <a:pt x="1195" y="708"/>
                    <a:pt x="1195" y="708"/>
                  </a:cubicBezTo>
                  <a:cubicBezTo>
                    <a:pt x="1199" y="705"/>
                    <a:pt x="1202" y="702"/>
                    <a:pt x="1205" y="700"/>
                  </a:cubicBezTo>
                  <a:cubicBezTo>
                    <a:pt x="1209" y="698"/>
                    <a:pt x="1213" y="700"/>
                    <a:pt x="1217" y="700"/>
                  </a:cubicBezTo>
                  <a:cubicBezTo>
                    <a:pt x="1232" y="700"/>
                    <a:pt x="1247" y="702"/>
                    <a:pt x="1262" y="704"/>
                  </a:cubicBezTo>
                  <a:cubicBezTo>
                    <a:pt x="1269" y="705"/>
                    <a:pt x="1275" y="702"/>
                    <a:pt x="1282" y="703"/>
                  </a:cubicBezTo>
                  <a:cubicBezTo>
                    <a:pt x="1284" y="703"/>
                    <a:pt x="1285" y="703"/>
                    <a:pt x="1287" y="702"/>
                  </a:cubicBezTo>
                  <a:cubicBezTo>
                    <a:pt x="1288" y="702"/>
                    <a:pt x="1290" y="701"/>
                    <a:pt x="1291" y="701"/>
                  </a:cubicBezTo>
                  <a:cubicBezTo>
                    <a:pt x="1296" y="698"/>
                    <a:pt x="1300" y="695"/>
                    <a:pt x="1302" y="691"/>
                  </a:cubicBezTo>
                  <a:cubicBezTo>
                    <a:pt x="1305" y="688"/>
                    <a:pt x="1308" y="687"/>
                    <a:pt x="1312" y="686"/>
                  </a:cubicBezTo>
                  <a:cubicBezTo>
                    <a:pt x="1315" y="686"/>
                    <a:pt x="1317" y="685"/>
                    <a:pt x="1320" y="685"/>
                  </a:cubicBezTo>
                  <a:cubicBezTo>
                    <a:pt x="1328" y="685"/>
                    <a:pt x="1335" y="681"/>
                    <a:pt x="1341" y="676"/>
                  </a:cubicBezTo>
                  <a:cubicBezTo>
                    <a:pt x="1344" y="674"/>
                    <a:pt x="1346" y="671"/>
                    <a:pt x="1344" y="667"/>
                  </a:cubicBezTo>
                  <a:cubicBezTo>
                    <a:pt x="1343" y="664"/>
                    <a:pt x="1343" y="662"/>
                    <a:pt x="1344" y="659"/>
                  </a:cubicBezTo>
                  <a:cubicBezTo>
                    <a:pt x="1345" y="658"/>
                    <a:pt x="1346" y="656"/>
                    <a:pt x="1346" y="654"/>
                  </a:cubicBezTo>
                  <a:cubicBezTo>
                    <a:pt x="1346" y="652"/>
                    <a:pt x="1346" y="650"/>
                    <a:pt x="1345" y="649"/>
                  </a:cubicBezTo>
                  <a:cubicBezTo>
                    <a:pt x="1343" y="645"/>
                    <a:pt x="1339" y="642"/>
                    <a:pt x="1334" y="643"/>
                  </a:cubicBezTo>
                  <a:cubicBezTo>
                    <a:pt x="1334" y="643"/>
                    <a:pt x="1334" y="643"/>
                    <a:pt x="1334" y="643"/>
                  </a:cubicBezTo>
                  <a:cubicBezTo>
                    <a:pt x="1333" y="643"/>
                    <a:pt x="1333" y="643"/>
                    <a:pt x="1333" y="643"/>
                  </a:cubicBezTo>
                  <a:cubicBezTo>
                    <a:pt x="1334" y="643"/>
                    <a:pt x="1334" y="643"/>
                    <a:pt x="1334" y="643"/>
                  </a:cubicBezTo>
                  <a:cubicBezTo>
                    <a:pt x="1334" y="643"/>
                    <a:pt x="1334" y="643"/>
                    <a:pt x="1334" y="643"/>
                  </a:cubicBezTo>
                  <a:cubicBezTo>
                    <a:pt x="1334" y="641"/>
                    <a:pt x="1334" y="640"/>
                    <a:pt x="1333" y="638"/>
                  </a:cubicBezTo>
                  <a:cubicBezTo>
                    <a:pt x="1332" y="635"/>
                    <a:pt x="1330" y="634"/>
                    <a:pt x="1327" y="633"/>
                  </a:cubicBezTo>
                  <a:cubicBezTo>
                    <a:pt x="1326" y="633"/>
                    <a:pt x="1324" y="633"/>
                    <a:pt x="1323" y="633"/>
                  </a:cubicBezTo>
                  <a:cubicBezTo>
                    <a:pt x="1322" y="633"/>
                    <a:pt x="1322" y="632"/>
                    <a:pt x="1321" y="632"/>
                  </a:cubicBezTo>
                  <a:cubicBezTo>
                    <a:pt x="1322" y="632"/>
                    <a:pt x="1322" y="631"/>
                    <a:pt x="1323" y="631"/>
                  </a:cubicBezTo>
                  <a:cubicBezTo>
                    <a:pt x="1324" y="630"/>
                    <a:pt x="1326" y="630"/>
                    <a:pt x="1328" y="629"/>
                  </a:cubicBezTo>
                  <a:cubicBezTo>
                    <a:pt x="1329" y="628"/>
                    <a:pt x="1330" y="626"/>
                    <a:pt x="1328" y="624"/>
                  </a:cubicBezTo>
                  <a:cubicBezTo>
                    <a:pt x="1327" y="622"/>
                    <a:pt x="1325" y="619"/>
                    <a:pt x="1322" y="620"/>
                  </a:cubicBezTo>
                  <a:cubicBezTo>
                    <a:pt x="1321" y="620"/>
                    <a:pt x="1319" y="620"/>
                    <a:pt x="1319" y="620"/>
                  </a:cubicBezTo>
                  <a:cubicBezTo>
                    <a:pt x="1315" y="615"/>
                    <a:pt x="1309" y="613"/>
                    <a:pt x="1304" y="611"/>
                  </a:cubicBezTo>
                  <a:cubicBezTo>
                    <a:pt x="1303" y="610"/>
                    <a:pt x="1302" y="609"/>
                    <a:pt x="1301" y="609"/>
                  </a:cubicBezTo>
                  <a:cubicBezTo>
                    <a:pt x="1300" y="603"/>
                    <a:pt x="1296" y="600"/>
                    <a:pt x="1292" y="596"/>
                  </a:cubicBezTo>
                  <a:cubicBezTo>
                    <a:pt x="1290" y="594"/>
                    <a:pt x="1288" y="592"/>
                    <a:pt x="1286" y="590"/>
                  </a:cubicBezTo>
                  <a:cubicBezTo>
                    <a:pt x="1285" y="588"/>
                    <a:pt x="1285" y="586"/>
                    <a:pt x="1286" y="585"/>
                  </a:cubicBezTo>
                  <a:cubicBezTo>
                    <a:pt x="1288" y="583"/>
                    <a:pt x="1290" y="581"/>
                    <a:pt x="1292" y="579"/>
                  </a:cubicBezTo>
                  <a:cubicBezTo>
                    <a:pt x="1294" y="577"/>
                    <a:pt x="1294" y="575"/>
                    <a:pt x="1293" y="573"/>
                  </a:cubicBezTo>
                  <a:cubicBezTo>
                    <a:pt x="1290" y="570"/>
                    <a:pt x="1289" y="566"/>
                    <a:pt x="1290" y="562"/>
                  </a:cubicBezTo>
                  <a:cubicBezTo>
                    <a:pt x="1290" y="561"/>
                    <a:pt x="1288" y="559"/>
                    <a:pt x="1287" y="558"/>
                  </a:cubicBezTo>
                  <a:cubicBezTo>
                    <a:pt x="1285" y="556"/>
                    <a:pt x="1287" y="553"/>
                    <a:pt x="1284" y="551"/>
                  </a:cubicBezTo>
                  <a:cubicBezTo>
                    <a:pt x="1282" y="550"/>
                    <a:pt x="1284" y="547"/>
                    <a:pt x="1283" y="545"/>
                  </a:cubicBezTo>
                  <a:cubicBezTo>
                    <a:pt x="1282" y="543"/>
                    <a:pt x="1283" y="540"/>
                    <a:pt x="1282" y="538"/>
                  </a:cubicBezTo>
                  <a:cubicBezTo>
                    <a:pt x="1282" y="535"/>
                    <a:pt x="1281" y="532"/>
                    <a:pt x="1280" y="529"/>
                  </a:cubicBezTo>
                  <a:cubicBezTo>
                    <a:pt x="1277" y="522"/>
                    <a:pt x="1276" y="515"/>
                    <a:pt x="1275" y="507"/>
                  </a:cubicBezTo>
                  <a:cubicBezTo>
                    <a:pt x="1274" y="505"/>
                    <a:pt x="1274" y="503"/>
                    <a:pt x="1274" y="501"/>
                  </a:cubicBezTo>
                  <a:cubicBezTo>
                    <a:pt x="1273" y="501"/>
                    <a:pt x="1272" y="500"/>
                    <a:pt x="1271" y="500"/>
                  </a:cubicBezTo>
                  <a:cubicBezTo>
                    <a:pt x="1271" y="500"/>
                    <a:pt x="1270" y="500"/>
                    <a:pt x="1270" y="500"/>
                  </a:cubicBezTo>
                  <a:cubicBezTo>
                    <a:pt x="1266" y="506"/>
                    <a:pt x="1260" y="512"/>
                    <a:pt x="1257" y="518"/>
                  </a:cubicBezTo>
                  <a:cubicBezTo>
                    <a:pt x="1254" y="525"/>
                    <a:pt x="1250" y="531"/>
                    <a:pt x="1242" y="534"/>
                  </a:cubicBezTo>
                  <a:cubicBezTo>
                    <a:pt x="1240" y="535"/>
                    <a:pt x="1239" y="537"/>
                    <a:pt x="1237" y="538"/>
                  </a:cubicBezTo>
                  <a:cubicBezTo>
                    <a:pt x="1234" y="539"/>
                    <a:pt x="1232" y="540"/>
                    <a:pt x="1229" y="541"/>
                  </a:cubicBezTo>
                  <a:cubicBezTo>
                    <a:pt x="1226" y="542"/>
                    <a:pt x="1224" y="541"/>
                    <a:pt x="1222" y="539"/>
                  </a:cubicBezTo>
                  <a:cubicBezTo>
                    <a:pt x="1220" y="538"/>
                    <a:pt x="1219" y="537"/>
                    <a:pt x="1218" y="535"/>
                  </a:cubicBezTo>
                  <a:cubicBezTo>
                    <a:pt x="1217" y="532"/>
                    <a:pt x="1215" y="530"/>
                    <a:pt x="1212" y="529"/>
                  </a:cubicBezTo>
                  <a:cubicBezTo>
                    <a:pt x="1209" y="527"/>
                    <a:pt x="1209" y="524"/>
                    <a:pt x="1209" y="521"/>
                  </a:cubicBezTo>
                  <a:cubicBezTo>
                    <a:pt x="1209" y="516"/>
                    <a:pt x="1213" y="511"/>
                    <a:pt x="1210" y="506"/>
                  </a:cubicBezTo>
                  <a:cubicBezTo>
                    <a:pt x="1210" y="505"/>
                    <a:pt x="1211" y="503"/>
                    <a:pt x="1212" y="501"/>
                  </a:cubicBezTo>
                  <a:cubicBezTo>
                    <a:pt x="1214" y="496"/>
                    <a:pt x="1215" y="492"/>
                    <a:pt x="1219" y="487"/>
                  </a:cubicBezTo>
                  <a:cubicBezTo>
                    <a:pt x="1219" y="486"/>
                    <a:pt x="1218" y="484"/>
                    <a:pt x="1217" y="483"/>
                  </a:cubicBezTo>
                  <a:cubicBezTo>
                    <a:pt x="1212" y="483"/>
                    <a:pt x="1209" y="478"/>
                    <a:pt x="1203" y="478"/>
                  </a:cubicBezTo>
                  <a:cubicBezTo>
                    <a:pt x="1201" y="478"/>
                    <a:pt x="1200" y="476"/>
                    <a:pt x="1198" y="476"/>
                  </a:cubicBezTo>
                  <a:cubicBezTo>
                    <a:pt x="1196" y="475"/>
                    <a:pt x="1195" y="473"/>
                    <a:pt x="1195" y="472"/>
                  </a:cubicBezTo>
                  <a:cubicBezTo>
                    <a:pt x="1196" y="470"/>
                    <a:pt x="1196" y="469"/>
                    <a:pt x="1195" y="467"/>
                  </a:cubicBezTo>
                  <a:cubicBezTo>
                    <a:pt x="1192" y="464"/>
                    <a:pt x="1190" y="461"/>
                    <a:pt x="1188" y="457"/>
                  </a:cubicBezTo>
                  <a:cubicBezTo>
                    <a:pt x="1187" y="454"/>
                    <a:pt x="1185" y="452"/>
                    <a:pt x="1184" y="450"/>
                  </a:cubicBezTo>
                  <a:cubicBezTo>
                    <a:pt x="1181" y="446"/>
                    <a:pt x="1178" y="444"/>
                    <a:pt x="1172" y="446"/>
                  </a:cubicBezTo>
                  <a:cubicBezTo>
                    <a:pt x="1171" y="447"/>
                    <a:pt x="1168" y="447"/>
                    <a:pt x="1166" y="447"/>
                  </a:cubicBezTo>
                  <a:cubicBezTo>
                    <a:pt x="1160" y="446"/>
                    <a:pt x="1153" y="446"/>
                    <a:pt x="1147" y="442"/>
                  </a:cubicBezTo>
                  <a:cubicBezTo>
                    <a:pt x="1145" y="440"/>
                    <a:pt x="1142" y="439"/>
                    <a:pt x="1140" y="439"/>
                  </a:cubicBezTo>
                  <a:cubicBezTo>
                    <a:pt x="1133" y="437"/>
                    <a:pt x="1126" y="441"/>
                    <a:pt x="1124" y="447"/>
                  </a:cubicBezTo>
                  <a:cubicBezTo>
                    <a:pt x="1123" y="450"/>
                    <a:pt x="1122" y="454"/>
                    <a:pt x="1124" y="457"/>
                  </a:cubicBezTo>
                  <a:cubicBezTo>
                    <a:pt x="1126" y="460"/>
                    <a:pt x="1126" y="462"/>
                    <a:pt x="1124" y="465"/>
                  </a:cubicBezTo>
                  <a:cubicBezTo>
                    <a:pt x="1122" y="468"/>
                    <a:pt x="1118" y="471"/>
                    <a:pt x="1117" y="475"/>
                  </a:cubicBezTo>
                  <a:cubicBezTo>
                    <a:pt x="1115" y="479"/>
                    <a:pt x="1119" y="484"/>
                    <a:pt x="1118" y="488"/>
                  </a:cubicBezTo>
                  <a:cubicBezTo>
                    <a:pt x="1117" y="490"/>
                    <a:pt x="1118" y="493"/>
                    <a:pt x="1119" y="495"/>
                  </a:cubicBezTo>
                  <a:cubicBezTo>
                    <a:pt x="1120" y="498"/>
                    <a:pt x="1118" y="500"/>
                    <a:pt x="1115" y="502"/>
                  </a:cubicBezTo>
                  <a:cubicBezTo>
                    <a:pt x="1113" y="503"/>
                    <a:pt x="1111" y="504"/>
                    <a:pt x="1111" y="505"/>
                  </a:cubicBezTo>
                  <a:cubicBezTo>
                    <a:pt x="1108" y="511"/>
                    <a:pt x="1102" y="515"/>
                    <a:pt x="1097" y="520"/>
                  </a:cubicBezTo>
                  <a:cubicBezTo>
                    <a:pt x="1095" y="523"/>
                    <a:pt x="1095" y="526"/>
                    <a:pt x="1097" y="529"/>
                  </a:cubicBezTo>
                  <a:cubicBezTo>
                    <a:pt x="1099" y="531"/>
                    <a:pt x="1101" y="533"/>
                    <a:pt x="1102" y="535"/>
                  </a:cubicBezTo>
                  <a:cubicBezTo>
                    <a:pt x="1103" y="537"/>
                    <a:pt x="1104" y="539"/>
                    <a:pt x="1105" y="541"/>
                  </a:cubicBezTo>
                  <a:cubicBezTo>
                    <a:pt x="1106" y="546"/>
                    <a:pt x="1106" y="552"/>
                    <a:pt x="1107" y="558"/>
                  </a:cubicBezTo>
                  <a:cubicBezTo>
                    <a:pt x="1109" y="564"/>
                    <a:pt x="1104" y="570"/>
                    <a:pt x="1106" y="576"/>
                  </a:cubicBezTo>
                  <a:cubicBezTo>
                    <a:pt x="1107" y="577"/>
                    <a:pt x="1106" y="578"/>
                    <a:pt x="1105" y="578"/>
                  </a:cubicBezTo>
                  <a:cubicBezTo>
                    <a:pt x="1103" y="580"/>
                    <a:pt x="1100" y="581"/>
                    <a:pt x="1098" y="583"/>
                  </a:cubicBezTo>
                  <a:cubicBezTo>
                    <a:pt x="1091" y="589"/>
                    <a:pt x="1083" y="593"/>
                    <a:pt x="1075" y="597"/>
                  </a:cubicBezTo>
                  <a:cubicBezTo>
                    <a:pt x="1070" y="598"/>
                    <a:pt x="1066" y="600"/>
                    <a:pt x="1062" y="602"/>
                  </a:cubicBezTo>
                  <a:cubicBezTo>
                    <a:pt x="1059" y="603"/>
                    <a:pt x="1058" y="605"/>
                    <a:pt x="1058" y="608"/>
                  </a:cubicBezTo>
                  <a:cubicBezTo>
                    <a:pt x="1058" y="614"/>
                    <a:pt x="1059" y="620"/>
                    <a:pt x="1058" y="626"/>
                  </a:cubicBezTo>
                  <a:cubicBezTo>
                    <a:pt x="1057" y="630"/>
                    <a:pt x="1057" y="635"/>
                    <a:pt x="1056" y="639"/>
                  </a:cubicBezTo>
                  <a:cubicBezTo>
                    <a:pt x="1056" y="643"/>
                    <a:pt x="1057" y="647"/>
                    <a:pt x="1057" y="651"/>
                  </a:cubicBezTo>
                  <a:cubicBezTo>
                    <a:pt x="1057" y="653"/>
                    <a:pt x="1057" y="654"/>
                    <a:pt x="1056" y="656"/>
                  </a:cubicBezTo>
                  <a:cubicBezTo>
                    <a:pt x="1055" y="658"/>
                    <a:pt x="1053" y="661"/>
                    <a:pt x="1052" y="664"/>
                  </a:cubicBezTo>
                  <a:cubicBezTo>
                    <a:pt x="1051" y="665"/>
                    <a:pt x="1050" y="665"/>
                    <a:pt x="1049" y="665"/>
                  </a:cubicBezTo>
                  <a:cubicBezTo>
                    <a:pt x="1045" y="664"/>
                    <a:pt x="1043" y="667"/>
                    <a:pt x="1041" y="669"/>
                  </a:cubicBezTo>
                  <a:cubicBezTo>
                    <a:pt x="1039" y="670"/>
                    <a:pt x="1036" y="669"/>
                    <a:pt x="1035" y="668"/>
                  </a:cubicBezTo>
                  <a:cubicBezTo>
                    <a:pt x="1034" y="666"/>
                    <a:pt x="1034" y="665"/>
                    <a:pt x="1033" y="664"/>
                  </a:cubicBezTo>
                  <a:cubicBezTo>
                    <a:pt x="1032" y="661"/>
                    <a:pt x="1031" y="658"/>
                    <a:pt x="1029" y="657"/>
                  </a:cubicBezTo>
                  <a:cubicBezTo>
                    <a:pt x="1024" y="652"/>
                    <a:pt x="1022" y="645"/>
                    <a:pt x="1018" y="639"/>
                  </a:cubicBezTo>
                  <a:cubicBezTo>
                    <a:pt x="1017" y="637"/>
                    <a:pt x="1018" y="635"/>
                    <a:pt x="1019" y="634"/>
                  </a:cubicBezTo>
                  <a:cubicBezTo>
                    <a:pt x="1022" y="626"/>
                    <a:pt x="1026" y="620"/>
                    <a:pt x="1025" y="611"/>
                  </a:cubicBezTo>
                  <a:cubicBezTo>
                    <a:pt x="1025" y="609"/>
                    <a:pt x="1027" y="606"/>
                    <a:pt x="1028" y="604"/>
                  </a:cubicBezTo>
                  <a:cubicBezTo>
                    <a:pt x="1028" y="601"/>
                    <a:pt x="1029" y="599"/>
                    <a:pt x="1030" y="596"/>
                  </a:cubicBezTo>
                  <a:cubicBezTo>
                    <a:pt x="1030" y="595"/>
                    <a:pt x="1029" y="593"/>
                    <a:pt x="1028" y="592"/>
                  </a:cubicBezTo>
                  <a:cubicBezTo>
                    <a:pt x="1019" y="592"/>
                    <a:pt x="1011" y="588"/>
                    <a:pt x="1002" y="589"/>
                  </a:cubicBezTo>
                  <a:cubicBezTo>
                    <a:pt x="1000" y="589"/>
                    <a:pt x="998" y="588"/>
                    <a:pt x="996" y="586"/>
                  </a:cubicBezTo>
                  <a:cubicBezTo>
                    <a:pt x="992" y="581"/>
                    <a:pt x="987" y="577"/>
                    <a:pt x="981" y="574"/>
                  </a:cubicBezTo>
                  <a:cubicBezTo>
                    <a:pt x="975" y="571"/>
                    <a:pt x="971" y="568"/>
                    <a:pt x="968" y="562"/>
                  </a:cubicBezTo>
                  <a:cubicBezTo>
                    <a:pt x="965" y="557"/>
                    <a:pt x="960" y="552"/>
                    <a:pt x="955" y="549"/>
                  </a:cubicBezTo>
                  <a:cubicBezTo>
                    <a:pt x="949" y="546"/>
                    <a:pt x="944" y="543"/>
                    <a:pt x="939" y="541"/>
                  </a:cubicBezTo>
                  <a:cubicBezTo>
                    <a:pt x="936" y="539"/>
                    <a:pt x="934" y="539"/>
                    <a:pt x="931" y="539"/>
                  </a:cubicBezTo>
                  <a:cubicBezTo>
                    <a:pt x="926" y="541"/>
                    <a:pt x="922" y="542"/>
                    <a:pt x="917" y="542"/>
                  </a:cubicBezTo>
                  <a:cubicBezTo>
                    <a:pt x="917" y="542"/>
                    <a:pt x="917" y="542"/>
                    <a:pt x="917" y="542"/>
                  </a:cubicBezTo>
                  <a:cubicBezTo>
                    <a:pt x="916" y="543"/>
                    <a:pt x="916" y="543"/>
                    <a:pt x="916" y="543"/>
                  </a:cubicBezTo>
                  <a:cubicBezTo>
                    <a:pt x="916" y="542"/>
                    <a:pt x="916" y="542"/>
                    <a:pt x="916" y="542"/>
                  </a:cubicBezTo>
                  <a:cubicBezTo>
                    <a:pt x="917" y="542"/>
                    <a:pt x="917" y="542"/>
                    <a:pt x="917" y="542"/>
                  </a:cubicBezTo>
                  <a:cubicBezTo>
                    <a:pt x="920" y="538"/>
                    <a:pt x="921" y="534"/>
                    <a:pt x="921" y="529"/>
                  </a:cubicBezTo>
                  <a:cubicBezTo>
                    <a:pt x="920" y="523"/>
                    <a:pt x="921" y="518"/>
                    <a:pt x="920" y="512"/>
                  </a:cubicBezTo>
                  <a:cubicBezTo>
                    <a:pt x="920" y="510"/>
                    <a:pt x="920" y="508"/>
                    <a:pt x="919" y="506"/>
                  </a:cubicBezTo>
                  <a:cubicBezTo>
                    <a:pt x="919" y="505"/>
                    <a:pt x="918" y="504"/>
                    <a:pt x="917" y="504"/>
                  </a:cubicBezTo>
                  <a:cubicBezTo>
                    <a:pt x="915" y="504"/>
                    <a:pt x="913" y="504"/>
                    <a:pt x="911" y="503"/>
                  </a:cubicBezTo>
                  <a:cubicBezTo>
                    <a:pt x="908" y="503"/>
                    <a:pt x="907" y="502"/>
                    <a:pt x="906" y="500"/>
                  </a:cubicBezTo>
                  <a:cubicBezTo>
                    <a:pt x="906" y="498"/>
                    <a:pt x="905" y="497"/>
                    <a:pt x="906" y="495"/>
                  </a:cubicBezTo>
                  <a:cubicBezTo>
                    <a:pt x="906" y="492"/>
                    <a:pt x="908" y="490"/>
                    <a:pt x="909" y="487"/>
                  </a:cubicBezTo>
                  <a:cubicBezTo>
                    <a:pt x="912" y="474"/>
                    <a:pt x="917" y="462"/>
                    <a:pt x="928" y="453"/>
                  </a:cubicBezTo>
                  <a:cubicBezTo>
                    <a:pt x="931" y="451"/>
                    <a:pt x="932" y="449"/>
                    <a:pt x="934" y="446"/>
                  </a:cubicBezTo>
                  <a:cubicBezTo>
                    <a:pt x="940" y="439"/>
                    <a:pt x="946" y="431"/>
                    <a:pt x="956" y="428"/>
                  </a:cubicBezTo>
                  <a:cubicBezTo>
                    <a:pt x="960" y="424"/>
                    <a:pt x="966" y="421"/>
                    <a:pt x="967" y="415"/>
                  </a:cubicBezTo>
                  <a:cubicBezTo>
                    <a:pt x="968" y="413"/>
                    <a:pt x="969" y="412"/>
                    <a:pt x="971" y="413"/>
                  </a:cubicBezTo>
                  <a:cubicBezTo>
                    <a:pt x="973" y="413"/>
                    <a:pt x="975" y="414"/>
                    <a:pt x="977" y="414"/>
                  </a:cubicBezTo>
                  <a:cubicBezTo>
                    <a:pt x="982" y="414"/>
                    <a:pt x="987" y="410"/>
                    <a:pt x="987" y="406"/>
                  </a:cubicBezTo>
                  <a:cubicBezTo>
                    <a:pt x="987" y="403"/>
                    <a:pt x="987" y="401"/>
                    <a:pt x="987" y="398"/>
                  </a:cubicBezTo>
                  <a:cubicBezTo>
                    <a:pt x="986" y="398"/>
                    <a:pt x="986" y="398"/>
                    <a:pt x="986" y="398"/>
                  </a:cubicBezTo>
                  <a:cubicBezTo>
                    <a:pt x="986" y="398"/>
                    <a:pt x="986" y="398"/>
                    <a:pt x="985" y="398"/>
                  </a:cubicBezTo>
                  <a:cubicBezTo>
                    <a:pt x="986" y="398"/>
                    <a:pt x="986" y="398"/>
                    <a:pt x="987" y="398"/>
                  </a:cubicBezTo>
                  <a:cubicBezTo>
                    <a:pt x="987" y="398"/>
                    <a:pt x="987" y="398"/>
                    <a:pt x="987" y="398"/>
                  </a:cubicBezTo>
                  <a:cubicBezTo>
                    <a:pt x="994" y="399"/>
                    <a:pt x="1000" y="397"/>
                    <a:pt x="1003" y="390"/>
                  </a:cubicBezTo>
                  <a:cubicBezTo>
                    <a:pt x="1004" y="388"/>
                    <a:pt x="1006" y="388"/>
                    <a:pt x="1007" y="388"/>
                  </a:cubicBezTo>
                  <a:cubicBezTo>
                    <a:pt x="1010" y="389"/>
                    <a:pt x="1012" y="390"/>
                    <a:pt x="1015" y="391"/>
                  </a:cubicBezTo>
                  <a:cubicBezTo>
                    <a:pt x="1018" y="392"/>
                    <a:pt x="1020" y="392"/>
                    <a:pt x="1023" y="390"/>
                  </a:cubicBezTo>
                  <a:cubicBezTo>
                    <a:pt x="1031" y="383"/>
                    <a:pt x="1039" y="375"/>
                    <a:pt x="1048" y="368"/>
                  </a:cubicBezTo>
                  <a:cubicBezTo>
                    <a:pt x="1048" y="367"/>
                    <a:pt x="1049" y="366"/>
                    <a:pt x="1048" y="365"/>
                  </a:cubicBezTo>
                  <a:cubicBezTo>
                    <a:pt x="1048" y="363"/>
                    <a:pt x="1049" y="361"/>
                    <a:pt x="1051" y="360"/>
                  </a:cubicBezTo>
                  <a:cubicBezTo>
                    <a:pt x="1055" y="357"/>
                    <a:pt x="1058" y="354"/>
                    <a:pt x="1062" y="351"/>
                  </a:cubicBezTo>
                  <a:cubicBezTo>
                    <a:pt x="1063" y="350"/>
                    <a:pt x="1064" y="349"/>
                    <a:pt x="1065" y="348"/>
                  </a:cubicBezTo>
                  <a:cubicBezTo>
                    <a:pt x="1065" y="348"/>
                    <a:pt x="1065" y="348"/>
                    <a:pt x="1065" y="348"/>
                  </a:cubicBezTo>
                  <a:cubicBezTo>
                    <a:pt x="1066" y="347"/>
                    <a:pt x="1067" y="346"/>
                    <a:pt x="1068" y="346"/>
                  </a:cubicBezTo>
                  <a:cubicBezTo>
                    <a:pt x="1072" y="342"/>
                    <a:pt x="1072" y="342"/>
                    <a:pt x="1069" y="337"/>
                  </a:cubicBezTo>
                  <a:cubicBezTo>
                    <a:pt x="1069" y="336"/>
                    <a:pt x="1068" y="336"/>
                    <a:pt x="1068" y="335"/>
                  </a:cubicBezTo>
                  <a:cubicBezTo>
                    <a:pt x="1068" y="334"/>
                    <a:pt x="1068" y="333"/>
                    <a:pt x="1069" y="333"/>
                  </a:cubicBezTo>
                  <a:cubicBezTo>
                    <a:pt x="1074" y="332"/>
                    <a:pt x="1079" y="332"/>
                    <a:pt x="1081" y="338"/>
                  </a:cubicBezTo>
                  <a:cubicBezTo>
                    <a:pt x="1082" y="338"/>
                    <a:pt x="1082" y="339"/>
                    <a:pt x="1083" y="339"/>
                  </a:cubicBezTo>
                  <a:cubicBezTo>
                    <a:pt x="1090" y="342"/>
                    <a:pt x="1098" y="343"/>
                    <a:pt x="1106" y="339"/>
                  </a:cubicBezTo>
                  <a:cubicBezTo>
                    <a:pt x="1112" y="337"/>
                    <a:pt x="1117" y="334"/>
                    <a:pt x="1121" y="330"/>
                  </a:cubicBezTo>
                  <a:cubicBezTo>
                    <a:pt x="1123" y="329"/>
                    <a:pt x="1125" y="327"/>
                    <a:pt x="1127" y="327"/>
                  </a:cubicBezTo>
                  <a:cubicBezTo>
                    <a:pt x="1131" y="326"/>
                    <a:pt x="1133" y="323"/>
                    <a:pt x="1135" y="319"/>
                  </a:cubicBezTo>
                  <a:cubicBezTo>
                    <a:pt x="1136" y="317"/>
                    <a:pt x="1137" y="315"/>
                    <a:pt x="1136" y="312"/>
                  </a:cubicBezTo>
                  <a:cubicBezTo>
                    <a:pt x="1136" y="310"/>
                    <a:pt x="1135" y="308"/>
                    <a:pt x="1134" y="306"/>
                  </a:cubicBezTo>
                  <a:cubicBezTo>
                    <a:pt x="1133" y="303"/>
                    <a:pt x="1133" y="300"/>
                    <a:pt x="1134" y="297"/>
                  </a:cubicBezTo>
                  <a:cubicBezTo>
                    <a:pt x="1134" y="294"/>
                    <a:pt x="1135" y="291"/>
                    <a:pt x="1136" y="288"/>
                  </a:cubicBezTo>
                  <a:cubicBezTo>
                    <a:pt x="1136" y="288"/>
                    <a:pt x="1135" y="288"/>
                    <a:pt x="1135" y="288"/>
                  </a:cubicBezTo>
                  <a:cubicBezTo>
                    <a:pt x="1134" y="288"/>
                    <a:pt x="1134" y="288"/>
                    <a:pt x="1134" y="288"/>
                  </a:cubicBezTo>
                  <a:cubicBezTo>
                    <a:pt x="1136" y="288"/>
                    <a:pt x="1136" y="288"/>
                    <a:pt x="1136" y="288"/>
                  </a:cubicBezTo>
                  <a:cubicBezTo>
                    <a:pt x="1136" y="288"/>
                    <a:pt x="1136" y="288"/>
                    <a:pt x="1136" y="288"/>
                  </a:cubicBezTo>
                  <a:cubicBezTo>
                    <a:pt x="1138" y="288"/>
                    <a:pt x="1140" y="289"/>
                    <a:pt x="1142" y="289"/>
                  </a:cubicBezTo>
                  <a:cubicBezTo>
                    <a:pt x="1148" y="288"/>
                    <a:pt x="1150" y="286"/>
                    <a:pt x="1150" y="280"/>
                  </a:cubicBezTo>
                  <a:cubicBezTo>
                    <a:pt x="1150" y="278"/>
                    <a:pt x="1151" y="276"/>
                    <a:pt x="1152" y="275"/>
                  </a:cubicBezTo>
                  <a:cubicBezTo>
                    <a:pt x="1155" y="272"/>
                    <a:pt x="1153" y="269"/>
                    <a:pt x="1151" y="267"/>
                  </a:cubicBezTo>
                  <a:cubicBezTo>
                    <a:pt x="1147" y="265"/>
                    <a:pt x="1145" y="262"/>
                    <a:pt x="1145" y="258"/>
                  </a:cubicBezTo>
                  <a:cubicBezTo>
                    <a:pt x="1145" y="254"/>
                    <a:pt x="1143" y="252"/>
                    <a:pt x="1139" y="252"/>
                  </a:cubicBezTo>
                  <a:cubicBezTo>
                    <a:pt x="1136" y="252"/>
                    <a:pt x="1135" y="250"/>
                    <a:pt x="1135" y="248"/>
                  </a:cubicBezTo>
                  <a:cubicBezTo>
                    <a:pt x="1131" y="248"/>
                    <a:pt x="1128" y="247"/>
                    <a:pt x="1125" y="244"/>
                  </a:cubicBezTo>
                  <a:cubicBezTo>
                    <a:pt x="1125" y="244"/>
                    <a:pt x="1125" y="244"/>
                    <a:pt x="1125" y="244"/>
                  </a:cubicBezTo>
                  <a:cubicBezTo>
                    <a:pt x="1125" y="244"/>
                    <a:pt x="1125" y="244"/>
                    <a:pt x="1125" y="244"/>
                  </a:cubicBezTo>
                  <a:cubicBezTo>
                    <a:pt x="1125" y="245"/>
                    <a:pt x="1125" y="245"/>
                    <a:pt x="1125" y="245"/>
                  </a:cubicBezTo>
                  <a:cubicBezTo>
                    <a:pt x="1124" y="245"/>
                    <a:pt x="1123" y="245"/>
                    <a:pt x="1122" y="245"/>
                  </a:cubicBezTo>
                  <a:cubicBezTo>
                    <a:pt x="1117" y="245"/>
                    <a:pt x="1114" y="248"/>
                    <a:pt x="1112" y="252"/>
                  </a:cubicBezTo>
                  <a:cubicBezTo>
                    <a:pt x="1111" y="257"/>
                    <a:pt x="1108" y="261"/>
                    <a:pt x="1110" y="266"/>
                  </a:cubicBezTo>
                  <a:cubicBezTo>
                    <a:pt x="1110" y="267"/>
                    <a:pt x="1110" y="268"/>
                    <a:pt x="1109" y="268"/>
                  </a:cubicBezTo>
                  <a:cubicBezTo>
                    <a:pt x="1107" y="270"/>
                    <a:pt x="1105" y="272"/>
                    <a:pt x="1104" y="274"/>
                  </a:cubicBezTo>
                  <a:cubicBezTo>
                    <a:pt x="1098" y="274"/>
                    <a:pt x="1096" y="278"/>
                    <a:pt x="1095" y="282"/>
                  </a:cubicBezTo>
                  <a:cubicBezTo>
                    <a:pt x="1093" y="284"/>
                    <a:pt x="1092" y="286"/>
                    <a:pt x="1091" y="288"/>
                  </a:cubicBezTo>
                  <a:cubicBezTo>
                    <a:pt x="1089" y="290"/>
                    <a:pt x="1088" y="291"/>
                    <a:pt x="1085" y="291"/>
                  </a:cubicBezTo>
                  <a:cubicBezTo>
                    <a:pt x="1085" y="291"/>
                    <a:pt x="1085" y="291"/>
                    <a:pt x="1085" y="291"/>
                  </a:cubicBezTo>
                  <a:cubicBezTo>
                    <a:pt x="1085" y="292"/>
                    <a:pt x="1085" y="292"/>
                    <a:pt x="1085" y="292"/>
                  </a:cubicBezTo>
                  <a:cubicBezTo>
                    <a:pt x="1085" y="292"/>
                    <a:pt x="1085" y="291"/>
                    <a:pt x="1085" y="291"/>
                  </a:cubicBezTo>
                  <a:cubicBezTo>
                    <a:pt x="1085" y="291"/>
                    <a:pt x="1085" y="291"/>
                    <a:pt x="1085" y="291"/>
                  </a:cubicBezTo>
                  <a:cubicBezTo>
                    <a:pt x="1084" y="289"/>
                    <a:pt x="1084" y="287"/>
                    <a:pt x="1082" y="287"/>
                  </a:cubicBezTo>
                  <a:cubicBezTo>
                    <a:pt x="1080" y="286"/>
                    <a:pt x="1078" y="289"/>
                    <a:pt x="1077" y="292"/>
                  </a:cubicBezTo>
                  <a:cubicBezTo>
                    <a:pt x="1077" y="295"/>
                    <a:pt x="1077" y="296"/>
                    <a:pt x="1077" y="298"/>
                  </a:cubicBezTo>
                  <a:cubicBezTo>
                    <a:pt x="1078" y="301"/>
                    <a:pt x="1077" y="303"/>
                    <a:pt x="1076" y="304"/>
                  </a:cubicBezTo>
                  <a:cubicBezTo>
                    <a:pt x="1075" y="306"/>
                    <a:pt x="1072" y="307"/>
                    <a:pt x="1070" y="306"/>
                  </a:cubicBezTo>
                  <a:cubicBezTo>
                    <a:pt x="1069" y="306"/>
                    <a:pt x="1067" y="305"/>
                    <a:pt x="1067" y="303"/>
                  </a:cubicBezTo>
                  <a:cubicBezTo>
                    <a:pt x="1066" y="300"/>
                    <a:pt x="1065" y="297"/>
                    <a:pt x="1065" y="294"/>
                  </a:cubicBezTo>
                  <a:cubicBezTo>
                    <a:pt x="1064" y="288"/>
                    <a:pt x="1065" y="283"/>
                    <a:pt x="1070" y="279"/>
                  </a:cubicBezTo>
                  <a:cubicBezTo>
                    <a:pt x="1072" y="277"/>
                    <a:pt x="1073" y="275"/>
                    <a:pt x="1073" y="273"/>
                  </a:cubicBezTo>
                  <a:cubicBezTo>
                    <a:pt x="1074" y="266"/>
                    <a:pt x="1071" y="260"/>
                    <a:pt x="1068" y="254"/>
                  </a:cubicBezTo>
                  <a:cubicBezTo>
                    <a:pt x="1067" y="253"/>
                    <a:pt x="1065" y="253"/>
                    <a:pt x="1064" y="254"/>
                  </a:cubicBezTo>
                  <a:cubicBezTo>
                    <a:pt x="1060" y="258"/>
                    <a:pt x="1057" y="261"/>
                    <a:pt x="1055" y="266"/>
                  </a:cubicBezTo>
                  <a:cubicBezTo>
                    <a:pt x="1054" y="268"/>
                    <a:pt x="1053" y="270"/>
                    <a:pt x="1050" y="272"/>
                  </a:cubicBezTo>
                  <a:cubicBezTo>
                    <a:pt x="1050" y="272"/>
                    <a:pt x="1049" y="272"/>
                    <a:pt x="1049" y="272"/>
                  </a:cubicBezTo>
                  <a:cubicBezTo>
                    <a:pt x="1048" y="272"/>
                    <a:pt x="1047" y="272"/>
                    <a:pt x="1047" y="270"/>
                  </a:cubicBezTo>
                  <a:cubicBezTo>
                    <a:pt x="1049" y="265"/>
                    <a:pt x="1051" y="261"/>
                    <a:pt x="1050" y="255"/>
                  </a:cubicBezTo>
                  <a:cubicBezTo>
                    <a:pt x="1050" y="252"/>
                    <a:pt x="1052" y="252"/>
                    <a:pt x="1054" y="251"/>
                  </a:cubicBezTo>
                  <a:cubicBezTo>
                    <a:pt x="1057" y="250"/>
                    <a:pt x="1057" y="247"/>
                    <a:pt x="1055" y="245"/>
                  </a:cubicBezTo>
                  <a:cubicBezTo>
                    <a:pt x="1052" y="243"/>
                    <a:pt x="1050" y="241"/>
                    <a:pt x="1046" y="241"/>
                  </a:cubicBezTo>
                  <a:cubicBezTo>
                    <a:pt x="1044" y="240"/>
                    <a:pt x="1041" y="239"/>
                    <a:pt x="1039" y="238"/>
                  </a:cubicBezTo>
                  <a:cubicBezTo>
                    <a:pt x="1038" y="237"/>
                    <a:pt x="1037" y="236"/>
                    <a:pt x="1038" y="235"/>
                  </a:cubicBezTo>
                  <a:cubicBezTo>
                    <a:pt x="1041" y="232"/>
                    <a:pt x="1044" y="229"/>
                    <a:pt x="1047" y="226"/>
                  </a:cubicBezTo>
                  <a:cubicBezTo>
                    <a:pt x="1048" y="225"/>
                    <a:pt x="1049" y="225"/>
                    <a:pt x="1050" y="225"/>
                  </a:cubicBezTo>
                  <a:cubicBezTo>
                    <a:pt x="1054" y="223"/>
                    <a:pt x="1055" y="223"/>
                    <a:pt x="1055" y="220"/>
                  </a:cubicBezTo>
                  <a:cubicBezTo>
                    <a:pt x="1052" y="210"/>
                    <a:pt x="1051" y="200"/>
                    <a:pt x="1055" y="191"/>
                  </a:cubicBezTo>
                  <a:cubicBezTo>
                    <a:pt x="1055" y="189"/>
                    <a:pt x="1055" y="187"/>
                    <a:pt x="1055" y="186"/>
                  </a:cubicBezTo>
                  <a:cubicBezTo>
                    <a:pt x="1053" y="180"/>
                    <a:pt x="1054" y="174"/>
                    <a:pt x="1051" y="168"/>
                  </a:cubicBezTo>
                  <a:cubicBezTo>
                    <a:pt x="1049" y="166"/>
                    <a:pt x="1051" y="164"/>
                    <a:pt x="1053" y="163"/>
                  </a:cubicBezTo>
                  <a:cubicBezTo>
                    <a:pt x="1057" y="160"/>
                    <a:pt x="1061" y="157"/>
                    <a:pt x="1064" y="154"/>
                  </a:cubicBezTo>
                  <a:cubicBezTo>
                    <a:pt x="1067" y="152"/>
                    <a:pt x="1069" y="150"/>
                    <a:pt x="1069" y="146"/>
                  </a:cubicBezTo>
                  <a:cubicBezTo>
                    <a:pt x="1069" y="145"/>
                    <a:pt x="1070" y="144"/>
                    <a:pt x="1070" y="143"/>
                  </a:cubicBezTo>
                  <a:cubicBezTo>
                    <a:pt x="1071" y="143"/>
                    <a:pt x="1072" y="142"/>
                    <a:pt x="1073" y="142"/>
                  </a:cubicBezTo>
                  <a:cubicBezTo>
                    <a:pt x="1075" y="143"/>
                    <a:pt x="1078" y="144"/>
                    <a:pt x="1080" y="145"/>
                  </a:cubicBezTo>
                  <a:cubicBezTo>
                    <a:pt x="1084" y="147"/>
                    <a:pt x="1087" y="146"/>
                    <a:pt x="1090" y="145"/>
                  </a:cubicBezTo>
                  <a:cubicBezTo>
                    <a:pt x="1091" y="143"/>
                    <a:pt x="1093" y="142"/>
                    <a:pt x="1095" y="141"/>
                  </a:cubicBezTo>
                  <a:cubicBezTo>
                    <a:pt x="1102" y="134"/>
                    <a:pt x="1110" y="127"/>
                    <a:pt x="1117" y="120"/>
                  </a:cubicBezTo>
                  <a:cubicBezTo>
                    <a:pt x="1119" y="119"/>
                    <a:pt x="1120" y="117"/>
                    <a:pt x="1121" y="115"/>
                  </a:cubicBezTo>
                  <a:cubicBezTo>
                    <a:pt x="1123" y="113"/>
                    <a:pt x="1121" y="108"/>
                    <a:pt x="1119" y="107"/>
                  </a:cubicBezTo>
                  <a:cubicBezTo>
                    <a:pt x="1118" y="107"/>
                    <a:pt x="1118" y="107"/>
                    <a:pt x="1117" y="106"/>
                  </a:cubicBezTo>
                  <a:cubicBezTo>
                    <a:pt x="1110" y="106"/>
                    <a:pt x="1105" y="103"/>
                    <a:pt x="1100" y="99"/>
                  </a:cubicBezTo>
                  <a:cubicBezTo>
                    <a:pt x="1098" y="98"/>
                    <a:pt x="1096" y="97"/>
                    <a:pt x="1094" y="97"/>
                  </a:cubicBezTo>
                  <a:cubicBezTo>
                    <a:pt x="1089" y="96"/>
                    <a:pt x="1084" y="95"/>
                    <a:pt x="1079" y="96"/>
                  </a:cubicBezTo>
                  <a:cubicBezTo>
                    <a:pt x="1078" y="97"/>
                    <a:pt x="1076" y="98"/>
                    <a:pt x="1075" y="99"/>
                  </a:cubicBezTo>
                  <a:cubicBezTo>
                    <a:pt x="1072" y="101"/>
                    <a:pt x="1071" y="105"/>
                    <a:pt x="1067" y="106"/>
                  </a:cubicBezTo>
                  <a:cubicBezTo>
                    <a:pt x="1065" y="109"/>
                    <a:pt x="1063" y="112"/>
                    <a:pt x="1061" y="115"/>
                  </a:cubicBezTo>
                  <a:cubicBezTo>
                    <a:pt x="1058" y="120"/>
                    <a:pt x="1055" y="125"/>
                    <a:pt x="1052" y="130"/>
                  </a:cubicBezTo>
                  <a:cubicBezTo>
                    <a:pt x="1051" y="133"/>
                    <a:pt x="1049" y="136"/>
                    <a:pt x="1049" y="139"/>
                  </a:cubicBezTo>
                  <a:cubicBezTo>
                    <a:pt x="1049" y="146"/>
                    <a:pt x="1046" y="152"/>
                    <a:pt x="1043" y="159"/>
                  </a:cubicBezTo>
                  <a:cubicBezTo>
                    <a:pt x="1043" y="160"/>
                    <a:pt x="1042" y="161"/>
                    <a:pt x="1040" y="162"/>
                  </a:cubicBezTo>
                  <a:cubicBezTo>
                    <a:pt x="1037" y="164"/>
                    <a:pt x="1034" y="166"/>
                    <a:pt x="1031" y="168"/>
                  </a:cubicBezTo>
                  <a:cubicBezTo>
                    <a:pt x="1028" y="170"/>
                    <a:pt x="1029" y="173"/>
                    <a:pt x="1029" y="175"/>
                  </a:cubicBezTo>
                  <a:cubicBezTo>
                    <a:pt x="1029" y="175"/>
                    <a:pt x="1029" y="175"/>
                    <a:pt x="1029" y="175"/>
                  </a:cubicBezTo>
                  <a:cubicBezTo>
                    <a:pt x="1029" y="175"/>
                    <a:pt x="1029" y="175"/>
                    <a:pt x="1029" y="176"/>
                  </a:cubicBezTo>
                  <a:cubicBezTo>
                    <a:pt x="1030" y="176"/>
                    <a:pt x="1030" y="176"/>
                    <a:pt x="1030" y="176"/>
                  </a:cubicBezTo>
                  <a:cubicBezTo>
                    <a:pt x="1030" y="176"/>
                    <a:pt x="1029" y="176"/>
                    <a:pt x="1029" y="176"/>
                  </a:cubicBezTo>
                  <a:cubicBezTo>
                    <a:pt x="1029" y="175"/>
                    <a:pt x="1029" y="175"/>
                    <a:pt x="1029" y="175"/>
                  </a:cubicBezTo>
                  <a:cubicBezTo>
                    <a:pt x="1029" y="175"/>
                    <a:pt x="1029" y="175"/>
                    <a:pt x="1029" y="175"/>
                  </a:cubicBezTo>
                  <a:cubicBezTo>
                    <a:pt x="1026" y="176"/>
                    <a:pt x="1024" y="176"/>
                    <a:pt x="1022" y="177"/>
                  </a:cubicBezTo>
                  <a:cubicBezTo>
                    <a:pt x="1014" y="181"/>
                    <a:pt x="1010" y="188"/>
                    <a:pt x="1009" y="196"/>
                  </a:cubicBezTo>
                  <a:cubicBezTo>
                    <a:pt x="1008" y="199"/>
                    <a:pt x="1008" y="202"/>
                    <a:pt x="1005" y="204"/>
                  </a:cubicBezTo>
                  <a:cubicBezTo>
                    <a:pt x="1004" y="205"/>
                    <a:pt x="1004" y="206"/>
                    <a:pt x="1003" y="206"/>
                  </a:cubicBezTo>
                  <a:cubicBezTo>
                    <a:pt x="1000" y="209"/>
                    <a:pt x="999" y="213"/>
                    <a:pt x="1000" y="216"/>
                  </a:cubicBezTo>
                  <a:cubicBezTo>
                    <a:pt x="1000" y="220"/>
                    <a:pt x="1001" y="223"/>
                    <a:pt x="1003" y="226"/>
                  </a:cubicBezTo>
                  <a:cubicBezTo>
                    <a:pt x="1005" y="228"/>
                    <a:pt x="1005" y="230"/>
                    <a:pt x="1006" y="232"/>
                  </a:cubicBezTo>
                  <a:cubicBezTo>
                    <a:pt x="1007" y="232"/>
                    <a:pt x="1009" y="232"/>
                    <a:pt x="1010" y="233"/>
                  </a:cubicBezTo>
                  <a:cubicBezTo>
                    <a:pt x="1013" y="235"/>
                    <a:pt x="1016" y="237"/>
                    <a:pt x="1020" y="239"/>
                  </a:cubicBezTo>
                  <a:cubicBezTo>
                    <a:pt x="1020" y="239"/>
                    <a:pt x="1021" y="240"/>
                    <a:pt x="1021" y="240"/>
                  </a:cubicBezTo>
                  <a:cubicBezTo>
                    <a:pt x="1021" y="241"/>
                    <a:pt x="1020" y="241"/>
                    <a:pt x="1018" y="241"/>
                  </a:cubicBezTo>
                  <a:cubicBezTo>
                    <a:pt x="1017" y="242"/>
                    <a:pt x="1015" y="242"/>
                    <a:pt x="1014" y="243"/>
                  </a:cubicBezTo>
                  <a:cubicBezTo>
                    <a:pt x="1012" y="246"/>
                    <a:pt x="1009" y="248"/>
                    <a:pt x="1007" y="251"/>
                  </a:cubicBezTo>
                  <a:cubicBezTo>
                    <a:pt x="1006" y="253"/>
                    <a:pt x="1007" y="255"/>
                    <a:pt x="1009" y="256"/>
                  </a:cubicBezTo>
                  <a:cubicBezTo>
                    <a:pt x="1010" y="257"/>
                    <a:pt x="1011" y="257"/>
                    <a:pt x="1012" y="257"/>
                  </a:cubicBezTo>
                  <a:cubicBezTo>
                    <a:pt x="1012" y="257"/>
                    <a:pt x="1012" y="257"/>
                    <a:pt x="1012" y="257"/>
                  </a:cubicBezTo>
                  <a:cubicBezTo>
                    <a:pt x="1013" y="256"/>
                    <a:pt x="1013" y="256"/>
                    <a:pt x="1013" y="256"/>
                  </a:cubicBezTo>
                  <a:cubicBezTo>
                    <a:pt x="1012" y="257"/>
                    <a:pt x="1012" y="257"/>
                    <a:pt x="1012" y="257"/>
                  </a:cubicBezTo>
                  <a:cubicBezTo>
                    <a:pt x="1012" y="257"/>
                    <a:pt x="1012" y="257"/>
                    <a:pt x="1012" y="257"/>
                  </a:cubicBezTo>
                  <a:cubicBezTo>
                    <a:pt x="1012" y="259"/>
                    <a:pt x="1013" y="261"/>
                    <a:pt x="1011" y="262"/>
                  </a:cubicBezTo>
                  <a:cubicBezTo>
                    <a:pt x="1008" y="265"/>
                    <a:pt x="1005" y="268"/>
                    <a:pt x="1002" y="270"/>
                  </a:cubicBezTo>
                  <a:cubicBezTo>
                    <a:pt x="999" y="273"/>
                    <a:pt x="995" y="275"/>
                    <a:pt x="991" y="275"/>
                  </a:cubicBezTo>
                  <a:cubicBezTo>
                    <a:pt x="985" y="275"/>
                    <a:pt x="982" y="279"/>
                    <a:pt x="981" y="284"/>
                  </a:cubicBezTo>
                  <a:cubicBezTo>
                    <a:pt x="980" y="287"/>
                    <a:pt x="980" y="291"/>
                    <a:pt x="979" y="294"/>
                  </a:cubicBezTo>
                  <a:cubicBezTo>
                    <a:pt x="979" y="295"/>
                    <a:pt x="978" y="296"/>
                    <a:pt x="977" y="296"/>
                  </a:cubicBezTo>
                  <a:cubicBezTo>
                    <a:pt x="977" y="296"/>
                    <a:pt x="977" y="296"/>
                    <a:pt x="976" y="295"/>
                  </a:cubicBezTo>
                  <a:cubicBezTo>
                    <a:pt x="975" y="294"/>
                    <a:pt x="974" y="292"/>
                    <a:pt x="973" y="290"/>
                  </a:cubicBezTo>
                  <a:cubicBezTo>
                    <a:pt x="971" y="287"/>
                    <a:pt x="971" y="286"/>
                    <a:pt x="973" y="283"/>
                  </a:cubicBezTo>
                  <a:cubicBezTo>
                    <a:pt x="976" y="279"/>
                    <a:pt x="979" y="276"/>
                    <a:pt x="982" y="272"/>
                  </a:cubicBezTo>
                  <a:cubicBezTo>
                    <a:pt x="983" y="271"/>
                    <a:pt x="982" y="268"/>
                    <a:pt x="980" y="268"/>
                  </a:cubicBezTo>
                  <a:cubicBezTo>
                    <a:pt x="975" y="268"/>
                    <a:pt x="973" y="264"/>
                    <a:pt x="973" y="260"/>
                  </a:cubicBezTo>
                  <a:cubicBezTo>
                    <a:pt x="972" y="259"/>
                    <a:pt x="972" y="259"/>
                    <a:pt x="971" y="258"/>
                  </a:cubicBezTo>
                  <a:cubicBezTo>
                    <a:pt x="972" y="259"/>
                    <a:pt x="972" y="259"/>
                    <a:pt x="973" y="260"/>
                  </a:cubicBezTo>
                  <a:cubicBezTo>
                    <a:pt x="973" y="260"/>
                    <a:pt x="973" y="260"/>
                    <a:pt x="973" y="260"/>
                  </a:cubicBezTo>
                  <a:cubicBezTo>
                    <a:pt x="973" y="260"/>
                    <a:pt x="973" y="260"/>
                    <a:pt x="973" y="260"/>
                  </a:cubicBezTo>
                  <a:cubicBezTo>
                    <a:pt x="973" y="260"/>
                    <a:pt x="973" y="260"/>
                    <a:pt x="973" y="260"/>
                  </a:cubicBezTo>
                  <a:cubicBezTo>
                    <a:pt x="975" y="260"/>
                    <a:pt x="977" y="261"/>
                    <a:pt x="979" y="261"/>
                  </a:cubicBezTo>
                  <a:cubicBezTo>
                    <a:pt x="981" y="262"/>
                    <a:pt x="983" y="262"/>
                    <a:pt x="985" y="261"/>
                  </a:cubicBezTo>
                  <a:cubicBezTo>
                    <a:pt x="989" y="260"/>
                    <a:pt x="992" y="258"/>
                    <a:pt x="996" y="257"/>
                  </a:cubicBezTo>
                  <a:cubicBezTo>
                    <a:pt x="996" y="256"/>
                    <a:pt x="997" y="255"/>
                    <a:pt x="997" y="254"/>
                  </a:cubicBezTo>
                  <a:cubicBezTo>
                    <a:pt x="997" y="251"/>
                    <a:pt x="997" y="247"/>
                    <a:pt x="997" y="243"/>
                  </a:cubicBezTo>
                  <a:cubicBezTo>
                    <a:pt x="996" y="241"/>
                    <a:pt x="996" y="240"/>
                    <a:pt x="1000" y="240"/>
                  </a:cubicBezTo>
                  <a:cubicBezTo>
                    <a:pt x="1005" y="239"/>
                    <a:pt x="1005" y="235"/>
                    <a:pt x="1006" y="232"/>
                  </a:cubicBezTo>
                  <a:cubicBezTo>
                    <a:pt x="1005" y="232"/>
                    <a:pt x="1004" y="232"/>
                    <a:pt x="1003" y="232"/>
                  </a:cubicBezTo>
                  <a:cubicBezTo>
                    <a:pt x="996" y="232"/>
                    <a:pt x="990" y="230"/>
                    <a:pt x="988" y="223"/>
                  </a:cubicBezTo>
                  <a:cubicBezTo>
                    <a:pt x="987" y="222"/>
                    <a:pt x="987" y="221"/>
                    <a:pt x="986" y="220"/>
                  </a:cubicBezTo>
                  <a:cubicBezTo>
                    <a:pt x="985" y="219"/>
                    <a:pt x="982" y="219"/>
                    <a:pt x="982" y="220"/>
                  </a:cubicBezTo>
                  <a:cubicBezTo>
                    <a:pt x="980" y="221"/>
                    <a:pt x="977" y="223"/>
                    <a:pt x="976" y="225"/>
                  </a:cubicBezTo>
                  <a:cubicBezTo>
                    <a:pt x="971" y="231"/>
                    <a:pt x="967" y="235"/>
                    <a:pt x="959" y="236"/>
                  </a:cubicBezTo>
                  <a:cubicBezTo>
                    <a:pt x="958" y="236"/>
                    <a:pt x="957" y="237"/>
                    <a:pt x="956" y="238"/>
                  </a:cubicBezTo>
                  <a:cubicBezTo>
                    <a:pt x="956" y="238"/>
                    <a:pt x="955" y="238"/>
                    <a:pt x="955" y="239"/>
                  </a:cubicBezTo>
                  <a:cubicBezTo>
                    <a:pt x="954" y="240"/>
                    <a:pt x="954" y="242"/>
                    <a:pt x="955" y="243"/>
                  </a:cubicBezTo>
                  <a:cubicBezTo>
                    <a:pt x="961" y="247"/>
                    <a:pt x="967" y="250"/>
                    <a:pt x="970" y="257"/>
                  </a:cubicBezTo>
                  <a:cubicBezTo>
                    <a:pt x="969" y="257"/>
                    <a:pt x="969" y="257"/>
                    <a:pt x="969" y="257"/>
                  </a:cubicBezTo>
                  <a:cubicBezTo>
                    <a:pt x="969" y="257"/>
                    <a:pt x="969" y="257"/>
                    <a:pt x="970" y="257"/>
                  </a:cubicBezTo>
                  <a:cubicBezTo>
                    <a:pt x="967" y="258"/>
                    <a:pt x="964" y="258"/>
                    <a:pt x="962" y="258"/>
                  </a:cubicBezTo>
                  <a:cubicBezTo>
                    <a:pt x="959" y="258"/>
                    <a:pt x="957" y="259"/>
                    <a:pt x="955" y="262"/>
                  </a:cubicBezTo>
                  <a:cubicBezTo>
                    <a:pt x="954" y="263"/>
                    <a:pt x="952" y="265"/>
                    <a:pt x="951" y="266"/>
                  </a:cubicBezTo>
                  <a:cubicBezTo>
                    <a:pt x="950" y="267"/>
                    <a:pt x="949" y="268"/>
                    <a:pt x="949" y="270"/>
                  </a:cubicBezTo>
                  <a:cubicBezTo>
                    <a:pt x="949" y="271"/>
                    <a:pt x="948" y="273"/>
                    <a:pt x="947" y="274"/>
                  </a:cubicBezTo>
                  <a:cubicBezTo>
                    <a:pt x="945" y="275"/>
                    <a:pt x="943" y="275"/>
                    <a:pt x="941" y="274"/>
                  </a:cubicBezTo>
                  <a:cubicBezTo>
                    <a:pt x="939" y="273"/>
                    <a:pt x="937" y="272"/>
                    <a:pt x="935" y="271"/>
                  </a:cubicBezTo>
                  <a:cubicBezTo>
                    <a:pt x="931" y="270"/>
                    <a:pt x="927" y="269"/>
                    <a:pt x="923" y="271"/>
                  </a:cubicBezTo>
                  <a:cubicBezTo>
                    <a:pt x="922" y="272"/>
                    <a:pt x="920" y="272"/>
                    <a:pt x="919" y="272"/>
                  </a:cubicBezTo>
                  <a:cubicBezTo>
                    <a:pt x="916" y="273"/>
                    <a:pt x="914" y="272"/>
                    <a:pt x="912" y="271"/>
                  </a:cubicBezTo>
                  <a:cubicBezTo>
                    <a:pt x="909" y="270"/>
                    <a:pt x="905" y="268"/>
                    <a:pt x="904" y="264"/>
                  </a:cubicBezTo>
                  <a:cubicBezTo>
                    <a:pt x="901" y="259"/>
                    <a:pt x="897" y="257"/>
                    <a:pt x="892" y="256"/>
                  </a:cubicBezTo>
                  <a:cubicBezTo>
                    <a:pt x="890" y="256"/>
                    <a:pt x="888" y="254"/>
                    <a:pt x="888" y="252"/>
                  </a:cubicBezTo>
                  <a:cubicBezTo>
                    <a:pt x="886" y="247"/>
                    <a:pt x="883" y="242"/>
                    <a:pt x="884" y="237"/>
                  </a:cubicBezTo>
                  <a:cubicBezTo>
                    <a:pt x="884" y="235"/>
                    <a:pt x="884" y="234"/>
                    <a:pt x="884" y="232"/>
                  </a:cubicBezTo>
                  <a:cubicBezTo>
                    <a:pt x="884" y="229"/>
                    <a:pt x="880" y="225"/>
                    <a:pt x="876" y="226"/>
                  </a:cubicBezTo>
                  <a:cubicBezTo>
                    <a:pt x="868" y="227"/>
                    <a:pt x="861" y="228"/>
                    <a:pt x="853" y="228"/>
                  </a:cubicBezTo>
                  <a:cubicBezTo>
                    <a:pt x="850" y="229"/>
                    <a:pt x="848" y="231"/>
                    <a:pt x="846" y="234"/>
                  </a:cubicBezTo>
                  <a:cubicBezTo>
                    <a:pt x="845" y="237"/>
                    <a:pt x="846" y="240"/>
                    <a:pt x="849" y="241"/>
                  </a:cubicBezTo>
                  <a:cubicBezTo>
                    <a:pt x="850" y="242"/>
                    <a:pt x="852" y="243"/>
                    <a:pt x="853" y="242"/>
                  </a:cubicBezTo>
                  <a:cubicBezTo>
                    <a:pt x="854" y="241"/>
                    <a:pt x="855" y="240"/>
                    <a:pt x="856" y="240"/>
                  </a:cubicBezTo>
                  <a:cubicBezTo>
                    <a:pt x="859" y="240"/>
                    <a:pt x="863" y="240"/>
                    <a:pt x="866" y="239"/>
                  </a:cubicBezTo>
                  <a:cubicBezTo>
                    <a:pt x="869" y="238"/>
                    <a:pt x="872" y="237"/>
                    <a:pt x="875" y="236"/>
                  </a:cubicBezTo>
                  <a:cubicBezTo>
                    <a:pt x="876" y="236"/>
                    <a:pt x="877" y="237"/>
                    <a:pt x="877" y="238"/>
                  </a:cubicBezTo>
                  <a:cubicBezTo>
                    <a:pt x="877" y="238"/>
                    <a:pt x="877" y="239"/>
                    <a:pt x="876" y="239"/>
                  </a:cubicBezTo>
                  <a:cubicBezTo>
                    <a:pt x="873" y="240"/>
                    <a:pt x="870" y="241"/>
                    <a:pt x="867" y="242"/>
                  </a:cubicBezTo>
                  <a:cubicBezTo>
                    <a:pt x="864" y="245"/>
                    <a:pt x="860" y="246"/>
                    <a:pt x="855" y="247"/>
                  </a:cubicBezTo>
                  <a:cubicBezTo>
                    <a:pt x="853" y="248"/>
                    <a:pt x="851" y="248"/>
                    <a:pt x="849" y="249"/>
                  </a:cubicBezTo>
                  <a:cubicBezTo>
                    <a:pt x="846" y="250"/>
                    <a:pt x="844" y="252"/>
                    <a:pt x="843" y="256"/>
                  </a:cubicBezTo>
                  <a:cubicBezTo>
                    <a:pt x="841" y="261"/>
                    <a:pt x="840" y="266"/>
                    <a:pt x="839" y="271"/>
                  </a:cubicBezTo>
                  <a:cubicBezTo>
                    <a:pt x="839" y="272"/>
                    <a:pt x="838" y="274"/>
                    <a:pt x="837" y="275"/>
                  </a:cubicBezTo>
                  <a:cubicBezTo>
                    <a:pt x="836" y="276"/>
                    <a:pt x="834" y="277"/>
                    <a:pt x="833" y="276"/>
                  </a:cubicBezTo>
                  <a:cubicBezTo>
                    <a:pt x="831" y="276"/>
                    <a:pt x="832" y="274"/>
                    <a:pt x="833" y="272"/>
                  </a:cubicBezTo>
                  <a:cubicBezTo>
                    <a:pt x="834" y="270"/>
                    <a:pt x="834" y="268"/>
                    <a:pt x="833" y="265"/>
                  </a:cubicBezTo>
                  <a:cubicBezTo>
                    <a:pt x="831" y="262"/>
                    <a:pt x="829" y="258"/>
                    <a:pt x="828" y="255"/>
                  </a:cubicBezTo>
                  <a:cubicBezTo>
                    <a:pt x="826" y="252"/>
                    <a:pt x="825" y="250"/>
                    <a:pt x="823" y="247"/>
                  </a:cubicBezTo>
                  <a:cubicBezTo>
                    <a:pt x="822" y="245"/>
                    <a:pt x="820" y="244"/>
                    <a:pt x="818" y="244"/>
                  </a:cubicBezTo>
                  <a:cubicBezTo>
                    <a:pt x="816" y="245"/>
                    <a:pt x="814" y="245"/>
                    <a:pt x="811" y="246"/>
                  </a:cubicBezTo>
                  <a:cubicBezTo>
                    <a:pt x="795" y="249"/>
                    <a:pt x="780" y="246"/>
                    <a:pt x="767" y="236"/>
                  </a:cubicBezTo>
                  <a:cubicBezTo>
                    <a:pt x="766" y="235"/>
                    <a:pt x="766" y="233"/>
                    <a:pt x="766" y="232"/>
                  </a:cubicBezTo>
                  <a:cubicBezTo>
                    <a:pt x="768" y="229"/>
                    <a:pt x="770" y="227"/>
                    <a:pt x="774" y="227"/>
                  </a:cubicBezTo>
                  <a:cubicBezTo>
                    <a:pt x="776" y="227"/>
                    <a:pt x="777" y="227"/>
                    <a:pt x="779" y="227"/>
                  </a:cubicBezTo>
                  <a:cubicBezTo>
                    <a:pt x="786" y="227"/>
                    <a:pt x="789" y="223"/>
                    <a:pt x="788" y="217"/>
                  </a:cubicBezTo>
                  <a:cubicBezTo>
                    <a:pt x="787" y="214"/>
                    <a:pt x="786" y="211"/>
                    <a:pt x="784" y="208"/>
                  </a:cubicBezTo>
                  <a:cubicBezTo>
                    <a:pt x="782" y="204"/>
                    <a:pt x="778" y="202"/>
                    <a:pt x="774" y="202"/>
                  </a:cubicBezTo>
                  <a:cubicBezTo>
                    <a:pt x="768" y="203"/>
                    <a:pt x="763" y="201"/>
                    <a:pt x="759" y="197"/>
                  </a:cubicBezTo>
                  <a:cubicBezTo>
                    <a:pt x="752" y="193"/>
                    <a:pt x="747" y="188"/>
                    <a:pt x="740" y="184"/>
                  </a:cubicBezTo>
                  <a:cubicBezTo>
                    <a:pt x="736" y="181"/>
                    <a:pt x="733" y="178"/>
                    <a:pt x="732" y="173"/>
                  </a:cubicBezTo>
                  <a:cubicBezTo>
                    <a:pt x="731" y="166"/>
                    <a:pt x="726" y="163"/>
                    <a:pt x="720" y="161"/>
                  </a:cubicBezTo>
                  <a:cubicBezTo>
                    <a:pt x="715" y="159"/>
                    <a:pt x="711" y="159"/>
                    <a:pt x="707" y="163"/>
                  </a:cubicBezTo>
                  <a:cubicBezTo>
                    <a:pt x="706" y="165"/>
                    <a:pt x="704" y="166"/>
                    <a:pt x="702" y="167"/>
                  </a:cubicBezTo>
                  <a:cubicBezTo>
                    <a:pt x="701" y="168"/>
                    <a:pt x="699" y="168"/>
                    <a:pt x="698" y="168"/>
                  </a:cubicBezTo>
                  <a:cubicBezTo>
                    <a:pt x="696" y="168"/>
                    <a:pt x="694" y="166"/>
                    <a:pt x="695" y="165"/>
                  </a:cubicBezTo>
                  <a:cubicBezTo>
                    <a:pt x="699" y="160"/>
                    <a:pt x="700" y="154"/>
                    <a:pt x="701" y="148"/>
                  </a:cubicBezTo>
                  <a:cubicBezTo>
                    <a:pt x="701" y="148"/>
                    <a:pt x="701" y="147"/>
                    <a:pt x="700" y="147"/>
                  </a:cubicBezTo>
                  <a:cubicBezTo>
                    <a:pt x="700" y="146"/>
                    <a:pt x="699" y="146"/>
                    <a:pt x="699" y="146"/>
                  </a:cubicBezTo>
                  <a:cubicBezTo>
                    <a:pt x="698" y="147"/>
                    <a:pt x="696" y="147"/>
                    <a:pt x="695" y="148"/>
                  </a:cubicBezTo>
                  <a:cubicBezTo>
                    <a:pt x="690" y="152"/>
                    <a:pt x="686" y="156"/>
                    <a:pt x="681" y="159"/>
                  </a:cubicBezTo>
                  <a:cubicBezTo>
                    <a:pt x="680" y="160"/>
                    <a:pt x="679" y="160"/>
                    <a:pt x="678" y="160"/>
                  </a:cubicBezTo>
                  <a:cubicBezTo>
                    <a:pt x="677" y="160"/>
                    <a:pt x="676" y="159"/>
                    <a:pt x="676" y="158"/>
                  </a:cubicBezTo>
                  <a:cubicBezTo>
                    <a:pt x="675" y="154"/>
                    <a:pt x="675" y="149"/>
                    <a:pt x="677" y="145"/>
                  </a:cubicBezTo>
                  <a:cubicBezTo>
                    <a:pt x="679" y="138"/>
                    <a:pt x="679" y="131"/>
                    <a:pt x="679" y="124"/>
                  </a:cubicBezTo>
                  <a:cubicBezTo>
                    <a:pt x="678" y="122"/>
                    <a:pt x="678" y="121"/>
                    <a:pt x="677" y="119"/>
                  </a:cubicBezTo>
                  <a:cubicBezTo>
                    <a:pt x="677" y="119"/>
                    <a:pt x="675" y="118"/>
                    <a:pt x="674" y="119"/>
                  </a:cubicBezTo>
                  <a:cubicBezTo>
                    <a:pt x="672" y="120"/>
                    <a:pt x="671" y="123"/>
                    <a:pt x="671" y="126"/>
                  </a:cubicBezTo>
                  <a:cubicBezTo>
                    <a:pt x="671" y="128"/>
                    <a:pt x="670" y="131"/>
                    <a:pt x="667" y="132"/>
                  </a:cubicBezTo>
                  <a:cubicBezTo>
                    <a:pt x="664" y="134"/>
                    <a:pt x="661" y="136"/>
                    <a:pt x="657" y="137"/>
                  </a:cubicBezTo>
                  <a:cubicBezTo>
                    <a:pt x="655" y="139"/>
                    <a:pt x="653" y="138"/>
                    <a:pt x="651" y="136"/>
                  </a:cubicBezTo>
                  <a:cubicBezTo>
                    <a:pt x="650" y="136"/>
                    <a:pt x="650" y="135"/>
                    <a:pt x="649" y="135"/>
                  </a:cubicBezTo>
                  <a:cubicBezTo>
                    <a:pt x="649" y="135"/>
                    <a:pt x="649" y="135"/>
                    <a:pt x="649" y="135"/>
                  </a:cubicBezTo>
                  <a:cubicBezTo>
                    <a:pt x="649" y="135"/>
                    <a:pt x="648" y="135"/>
                    <a:pt x="648" y="135"/>
                  </a:cubicBezTo>
                  <a:cubicBezTo>
                    <a:pt x="647" y="135"/>
                    <a:pt x="646" y="136"/>
                    <a:pt x="645" y="137"/>
                  </a:cubicBezTo>
                  <a:cubicBezTo>
                    <a:pt x="645" y="137"/>
                    <a:pt x="644" y="137"/>
                    <a:pt x="644" y="137"/>
                  </a:cubicBezTo>
                  <a:cubicBezTo>
                    <a:pt x="642" y="136"/>
                    <a:pt x="643" y="135"/>
                    <a:pt x="644" y="135"/>
                  </a:cubicBezTo>
                  <a:cubicBezTo>
                    <a:pt x="646" y="135"/>
                    <a:pt x="647" y="135"/>
                    <a:pt x="648" y="135"/>
                  </a:cubicBezTo>
                  <a:cubicBezTo>
                    <a:pt x="648" y="135"/>
                    <a:pt x="648" y="134"/>
                    <a:pt x="649" y="134"/>
                  </a:cubicBezTo>
                  <a:cubicBezTo>
                    <a:pt x="649" y="134"/>
                    <a:pt x="649" y="134"/>
                    <a:pt x="649" y="135"/>
                  </a:cubicBezTo>
                  <a:cubicBezTo>
                    <a:pt x="649" y="133"/>
                    <a:pt x="650" y="132"/>
                    <a:pt x="650" y="130"/>
                  </a:cubicBezTo>
                  <a:cubicBezTo>
                    <a:pt x="651" y="128"/>
                    <a:pt x="650" y="127"/>
                    <a:pt x="648" y="126"/>
                  </a:cubicBezTo>
                  <a:cubicBezTo>
                    <a:pt x="645" y="125"/>
                    <a:pt x="641" y="125"/>
                    <a:pt x="637" y="126"/>
                  </a:cubicBezTo>
                  <a:cubicBezTo>
                    <a:pt x="629" y="129"/>
                    <a:pt x="621" y="132"/>
                    <a:pt x="612" y="132"/>
                  </a:cubicBezTo>
                  <a:cubicBezTo>
                    <a:pt x="609" y="132"/>
                    <a:pt x="606" y="133"/>
                    <a:pt x="604" y="134"/>
                  </a:cubicBezTo>
                  <a:cubicBezTo>
                    <a:pt x="600" y="138"/>
                    <a:pt x="595" y="138"/>
                    <a:pt x="589" y="137"/>
                  </a:cubicBezTo>
                  <a:cubicBezTo>
                    <a:pt x="589" y="137"/>
                    <a:pt x="589" y="137"/>
                    <a:pt x="589" y="137"/>
                  </a:cubicBezTo>
                  <a:cubicBezTo>
                    <a:pt x="589" y="138"/>
                    <a:pt x="589" y="138"/>
                    <a:pt x="589" y="138"/>
                  </a:cubicBezTo>
                  <a:cubicBezTo>
                    <a:pt x="589" y="137"/>
                    <a:pt x="589" y="137"/>
                    <a:pt x="589" y="137"/>
                  </a:cubicBezTo>
                  <a:cubicBezTo>
                    <a:pt x="589" y="137"/>
                    <a:pt x="589" y="137"/>
                    <a:pt x="589" y="137"/>
                  </a:cubicBezTo>
                  <a:cubicBezTo>
                    <a:pt x="590" y="137"/>
                    <a:pt x="590" y="136"/>
                    <a:pt x="590" y="136"/>
                  </a:cubicBezTo>
                  <a:cubicBezTo>
                    <a:pt x="592" y="134"/>
                    <a:pt x="592" y="133"/>
                    <a:pt x="590" y="131"/>
                  </a:cubicBezTo>
                  <a:cubicBezTo>
                    <a:pt x="589" y="129"/>
                    <a:pt x="588" y="129"/>
                    <a:pt x="585" y="130"/>
                  </a:cubicBezTo>
                  <a:cubicBezTo>
                    <a:pt x="583" y="131"/>
                    <a:pt x="581" y="132"/>
                    <a:pt x="579" y="133"/>
                  </a:cubicBezTo>
                  <a:cubicBezTo>
                    <a:pt x="575" y="133"/>
                    <a:pt x="571" y="134"/>
                    <a:pt x="568" y="135"/>
                  </a:cubicBezTo>
                  <a:cubicBezTo>
                    <a:pt x="564" y="137"/>
                    <a:pt x="560" y="139"/>
                    <a:pt x="560" y="144"/>
                  </a:cubicBezTo>
                  <a:cubicBezTo>
                    <a:pt x="559" y="146"/>
                    <a:pt x="558" y="147"/>
                    <a:pt x="556" y="146"/>
                  </a:cubicBezTo>
                  <a:cubicBezTo>
                    <a:pt x="554" y="144"/>
                    <a:pt x="552" y="143"/>
                    <a:pt x="550" y="141"/>
                  </a:cubicBezTo>
                  <a:cubicBezTo>
                    <a:pt x="546" y="139"/>
                    <a:pt x="544" y="136"/>
                    <a:pt x="543" y="133"/>
                  </a:cubicBezTo>
                  <a:cubicBezTo>
                    <a:pt x="542" y="129"/>
                    <a:pt x="541" y="126"/>
                    <a:pt x="539" y="122"/>
                  </a:cubicBezTo>
                  <a:cubicBezTo>
                    <a:pt x="539" y="120"/>
                    <a:pt x="537" y="118"/>
                    <a:pt x="536" y="116"/>
                  </a:cubicBezTo>
                  <a:cubicBezTo>
                    <a:pt x="532" y="112"/>
                    <a:pt x="527" y="109"/>
                    <a:pt x="523" y="107"/>
                  </a:cubicBezTo>
                  <a:cubicBezTo>
                    <a:pt x="516" y="102"/>
                    <a:pt x="509" y="98"/>
                    <a:pt x="506" y="90"/>
                  </a:cubicBezTo>
                  <a:cubicBezTo>
                    <a:pt x="506" y="89"/>
                    <a:pt x="505" y="88"/>
                    <a:pt x="505" y="87"/>
                  </a:cubicBezTo>
                  <a:cubicBezTo>
                    <a:pt x="503" y="85"/>
                    <a:pt x="502" y="84"/>
                    <a:pt x="499" y="84"/>
                  </a:cubicBezTo>
                  <a:cubicBezTo>
                    <a:pt x="497" y="84"/>
                    <a:pt x="495" y="84"/>
                    <a:pt x="493" y="84"/>
                  </a:cubicBezTo>
                  <a:cubicBezTo>
                    <a:pt x="488" y="84"/>
                    <a:pt x="484" y="82"/>
                    <a:pt x="481" y="79"/>
                  </a:cubicBezTo>
                  <a:cubicBezTo>
                    <a:pt x="476" y="75"/>
                    <a:pt x="471" y="71"/>
                    <a:pt x="464" y="69"/>
                  </a:cubicBezTo>
                  <a:cubicBezTo>
                    <a:pt x="461" y="68"/>
                    <a:pt x="459" y="66"/>
                    <a:pt x="456" y="63"/>
                  </a:cubicBezTo>
                  <a:cubicBezTo>
                    <a:pt x="454" y="61"/>
                    <a:pt x="451" y="58"/>
                    <a:pt x="450" y="55"/>
                  </a:cubicBezTo>
                  <a:cubicBezTo>
                    <a:pt x="448" y="51"/>
                    <a:pt x="445" y="49"/>
                    <a:pt x="440" y="50"/>
                  </a:cubicBezTo>
                  <a:cubicBezTo>
                    <a:pt x="438" y="51"/>
                    <a:pt x="435" y="51"/>
                    <a:pt x="432" y="52"/>
                  </a:cubicBezTo>
                  <a:cubicBezTo>
                    <a:pt x="430" y="52"/>
                    <a:pt x="429" y="51"/>
                    <a:pt x="428" y="50"/>
                  </a:cubicBezTo>
                  <a:cubicBezTo>
                    <a:pt x="426" y="46"/>
                    <a:pt x="426" y="41"/>
                    <a:pt x="423" y="37"/>
                  </a:cubicBezTo>
                  <a:cubicBezTo>
                    <a:pt x="423" y="37"/>
                    <a:pt x="424" y="35"/>
                    <a:pt x="424" y="35"/>
                  </a:cubicBezTo>
                  <a:cubicBezTo>
                    <a:pt x="425" y="33"/>
                    <a:pt x="426" y="32"/>
                    <a:pt x="425" y="30"/>
                  </a:cubicBezTo>
                  <a:cubicBezTo>
                    <a:pt x="425" y="29"/>
                    <a:pt x="424" y="28"/>
                    <a:pt x="422" y="27"/>
                  </a:cubicBezTo>
                  <a:cubicBezTo>
                    <a:pt x="420" y="26"/>
                    <a:pt x="417" y="25"/>
                    <a:pt x="415" y="24"/>
                  </a:cubicBezTo>
                  <a:cubicBezTo>
                    <a:pt x="413" y="24"/>
                    <a:pt x="411" y="24"/>
                    <a:pt x="410" y="23"/>
                  </a:cubicBezTo>
                  <a:cubicBezTo>
                    <a:pt x="407" y="23"/>
                    <a:pt x="407" y="22"/>
                    <a:pt x="407" y="19"/>
                  </a:cubicBezTo>
                  <a:cubicBezTo>
                    <a:pt x="407" y="16"/>
                    <a:pt x="408" y="14"/>
                    <a:pt x="405" y="13"/>
                  </a:cubicBezTo>
                  <a:cubicBezTo>
                    <a:pt x="405" y="13"/>
                    <a:pt x="405" y="13"/>
                    <a:pt x="405" y="13"/>
                  </a:cubicBezTo>
                  <a:cubicBezTo>
                    <a:pt x="404" y="13"/>
                    <a:pt x="404" y="13"/>
                    <a:pt x="404" y="13"/>
                  </a:cubicBezTo>
                  <a:cubicBezTo>
                    <a:pt x="402" y="13"/>
                    <a:pt x="400" y="14"/>
                    <a:pt x="399" y="14"/>
                  </a:cubicBezTo>
                  <a:cubicBezTo>
                    <a:pt x="398" y="15"/>
                    <a:pt x="398" y="15"/>
                    <a:pt x="397" y="15"/>
                  </a:cubicBezTo>
                  <a:cubicBezTo>
                    <a:pt x="397" y="15"/>
                    <a:pt x="397" y="15"/>
                    <a:pt x="397" y="15"/>
                  </a:cubicBezTo>
                  <a:cubicBezTo>
                    <a:pt x="396" y="16"/>
                    <a:pt x="396" y="17"/>
                    <a:pt x="396" y="18"/>
                  </a:cubicBezTo>
                  <a:cubicBezTo>
                    <a:pt x="395" y="20"/>
                    <a:pt x="393" y="21"/>
                    <a:pt x="391" y="19"/>
                  </a:cubicBezTo>
                  <a:cubicBezTo>
                    <a:pt x="390" y="19"/>
                    <a:pt x="390" y="18"/>
                    <a:pt x="389" y="17"/>
                  </a:cubicBezTo>
                  <a:cubicBezTo>
                    <a:pt x="389" y="17"/>
                    <a:pt x="390" y="16"/>
                    <a:pt x="391" y="16"/>
                  </a:cubicBezTo>
                  <a:cubicBezTo>
                    <a:pt x="393" y="16"/>
                    <a:pt x="395" y="16"/>
                    <a:pt x="397" y="15"/>
                  </a:cubicBezTo>
                  <a:cubicBezTo>
                    <a:pt x="397" y="15"/>
                    <a:pt x="397" y="15"/>
                    <a:pt x="397" y="15"/>
                  </a:cubicBezTo>
                  <a:cubicBezTo>
                    <a:pt x="397" y="15"/>
                    <a:pt x="398" y="14"/>
                    <a:pt x="399" y="14"/>
                  </a:cubicBezTo>
                  <a:cubicBezTo>
                    <a:pt x="400" y="13"/>
                    <a:pt x="402" y="13"/>
                    <a:pt x="404" y="13"/>
                  </a:cubicBezTo>
                  <a:cubicBezTo>
                    <a:pt x="404" y="13"/>
                    <a:pt x="404" y="13"/>
                    <a:pt x="404" y="12"/>
                  </a:cubicBezTo>
                  <a:cubicBezTo>
                    <a:pt x="404" y="13"/>
                    <a:pt x="405" y="13"/>
                    <a:pt x="405" y="13"/>
                  </a:cubicBezTo>
                  <a:cubicBezTo>
                    <a:pt x="403" y="9"/>
                    <a:pt x="401" y="5"/>
                    <a:pt x="398" y="2"/>
                  </a:cubicBezTo>
                  <a:cubicBezTo>
                    <a:pt x="396" y="1"/>
                    <a:pt x="394" y="0"/>
                    <a:pt x="392" y="1"/>
                  </a:cubicBezTo>
                  <a:cubicBezTo>
                    <a:pt x="388" y="2"/>
                    <a:pt x="385" y="3"/>
                    <a:pt x="382" y="6"/>
                  </a:cubicBezTo>
                  <a:cubicBezTo>
                    <a:pt x="377" y="9"/>
                    <a:pt x="372" y="9"/>
                    <a:pt x="366" y="8"/>
                  </a:cubicBezTo>
                  <a:cubicBezTo>
                    <a:pt x="363" y="7"/>
                    <a:pt x="360" y="6"/>
                    <a:pt x="357" y="5"/>
                  </a:cubicBezTo>
                  <a:cubicBezTo>
                    <a:pt x="351" y="4"/>
                    <a:pt x="347" y="6"/>
                    <a:pt x="343" y="9"/>
                  </a:cubicBezTo>
                  <a:cubicBezTo>
                    <a:pt x="342" y="10"/>
                    <a:pt x="342" y="12"/>
                    <a:pt x="341" y="13"/>
                  </a:cubicBezTo>
                  <a:cubicBezTo>
                    <a:pt x="340" y="14"/>
                    <a:pt x="338" y="16"/>
                    <a:pt x="337" y="16"/>
                  </a:cubicBezTo>
                  <a:cubicBezTo>
                    <a:pt x="333" y="17"/>
                    <a:pt x="329" y="19"/>
                    <a:pt x="324" y="17"/>
                  </a:cubicBezTo>
                  <a:cubicBezTo>
                    <a:pt x="318" y="16"/>
                    <a:pt x="312" y="17"/>
                    <a:pt x="307" y="21"/>
                  </a:cubicBezTo>
                  <a:cubicBezTo>
                    <a:pt x="297" y="27"/>
                    <a:pt x="287" y="32"/>
                    <a:pt x="278" y="39"/>
                  </a:cubicBezTo>
                  <a:cubicBezTo>
                    <a:pt x="277" y="40"/>
                    <a:pt x="276" y="42"/>
                    <a:pt x="275" y="42"/>
                  </a:cubicBezTo>
                  <a:cubicBezTo>
                    <a:pt x="264" y="48"/>
                    <a:pt x="253" y="53"/>
                    <a:pt x="241" y="47"/>
                  </a:cubicBezTo>
                  <a:cubicBezTo>
                    <a:pt x="240" y="46"/>
                    <a:pt x="240" y="46"/>
                    <a:pt x="239" y="46"/>
                  </a:cubicBezTo>
                  <a:cubicBezTo>
                    <a:pt x="234" y="44"/>
                    <a:pt x="231" y="45"/>
                    <a:pt x="228" y="49"/>
                  </a:cubicBezTo>
                  <a:cubicBezTo>
                    <a:pt x="225" y="52"/>
                    <a:pt x="223" y="55"/>
                    <a:pt x="220" y="58"/>
                  </a:cubicBezTo>
                  <a:cubicBezTo>
                    <a:pt x="216" y="61"/>
                    <a:pt x="215" y="65"/>
                    <a:pt x="217" y="70"/>
                  </a:cubicBezTo>
                  <a:cubicBezTo>
                    <a:pt x="218" y="73"/>
                    <a:pt x="219" y="77"/>
                    <a:pt x="220" y="80"/>
                  </a:cubicBezTo>
                  <a:cubicBezTo>
                    <a:pt x="224" y="90"/>
                    <a:pt x="225" y="100"/>
                    <a:pt x="219" y="109"/>
                  </a:cubicBezTo>
                  <a:cubicBezTo>
                    <a:pt x="218" y="111"/>
                    <a:pt x="219" y="114"/>
                    <a:pt x="222" y="116"/>
                  </a:cubicBezTo>
                  <a:cubicBezTo>
                    <a:pt x="224" y="118"/>
                    <a:pt x="227" y="119"/>
                    <a:pt x="230" y="121"/>
                  </a:cubicBezTo>
                  <a:cubicBezTo>
                    <a:pt x="231" y="121"/>
                    <a:pt x="231" y="122"/>
                    <a:pt x="231" y="123"/>
                  </a:cubicBezTo>
                  <a:cubicBezTo>
                    <a:pt x="231" y="123"/>
                    <a:pt x="230" y="124"/>
                    <a:pt x="229" y="124"/>
                  </a:cubicBezTo>
                  <a:cubicBezTo>
                    <a:pt x="228" y="124"/>
                    <a:pt x="226" y="125"/>
                    <a:pt x="226" y="126"/>
                  </a:cubicBezTo>
                  <a:cubicBezTo>
                    <a:pt x="225" y="130"/>
                    <a:pt x="225" y="135"/>
                    <a:pt x="225" y="139"/>
                  </a:cubicBezTo>
                  <a:cubicBezTo>
                    <a:pt x="225" y="139"/>
                    <a:pt x="226" y="140"/>
                    <a:pt x="227" y="141"/>
                  </a:cubicBezTo>
                  <a:cubicBezTo>
                    <a:pt x="228" y="141"/>
                    <a:pt x="230" y="141"/>
                    <a:pt x="231" y="141"/>
                  </a:cubicBezTo>
                  <a:cubicBezTo>
                    <a:pt x="231" y="141"/>
                    <a:pt x="231" y="140"/>
                    <a:pt x="231" y="140"/>
                  </a:cubicBezTo>
                  <a:cubicBezTo>
                    <a:pt x="232" y="140"/>
                    <a:pt x="232" y="140"/>
                    <a:pt x="232" y="141"/>
                  </a:cubicBezTo>
                  <a:cubicBezTo>
                    <a:pt x="232" y="140"/>
                    <a:pt x="232" y="139"/>
                    <a:pt x="232" y="138"/>
                  </a:cubicBezTo>
                  <a:cubicBezTo>
                    <a:pt x="232" y="138"/>
                    <a:pt x="232" y="138"/>
                    <a:pt x="232" y="138"/>
                  </a:cubicBezTo>
                  <a:cubicBezTo>
                    <a:pt x="231" y="137"/>
                    <a:pt x="231" y="137"/>
                    <a:pt x="231" y="137"/>
                  </a:cubicBezTo>
                  <a:cubicBezTo>
                    <a:pt x="232" y="138"/>
                    <a:pt x="232" y="138"/>
                    <a:pt x="232" y="138"/>
                  </a:cubicBezTo>
                  <a:cubicBezTo>
                    <a:pt x="232" y="138"/>
                    <a:pt x="232" y="138"/>
                    <a:pt x="232" y="138"/>
                  </a:cubicBezTo>
                  <a:cubicBezTo>
                    <a:pt x="237" y="137"/>
                    <a:pt x="242" y="137"/>
                    <a:pt x="246" y="139"/>
                  </a:cubicBezTo>
                  <a:cubicBezTo>
                    <a:pt x="247" y="139"/>
                    <a:pt x="248" y="142"/>
                    <a:pt x="247" y="143"/>
                  </a:cubicBezTo>
                  <a:cubicBezTo>
                    <a:pt x="247" y="144"/>
                    <a:pt x="246" y="144"/>
                    <a:pt x="245" y="144"/>
                  </a:cubicBezTo>
                  <a:cubicBezTo>
                    <a:pt x="240" y="144"/>
                    <a:pt x="236" y="142"/>
                    <a:pt x="232" y="141"/>
                  </a:cubicBezTo>
                  <a:cubicBezTo>
                    <a:pt x="232" y="141"/>
                    <a:pt x="232" y="141"/>
                    <a:pt x="232" y="141"/>
                  </a:cubicBezTo>
                  <a:cubicBezTo>
                    <a:pt x="232" y="141"/>
                    <a:pt x="231" y="141"/>
                    <a:pt x="231" y="141"/>
                  </a:cubicBezTo>
                  <a:cubicBezTo>
                    <a:pt x="231" y="143"/>
                    <a:pt x="231" y="145"/>
                    <a:pt x="228" y="145"/>
                  </a:cubicBezTo>
                  <a:cubicBezTo>
                    <a:pt x="225" y="146"/>
                    <a:pt x="222" y="147"/>
                    <a:pt x="219" y="148"/>
                  </a:cubicBezTo>
                  <a:cubicBezTo>
                    <a:pt x="216" y="151"/>
                    <a:pt x="213" y="150"/>
                    <a:pt x="210" y="149"/>
                  </a:cubicBezTo>
                  <a:cubicBezTo>
                    <a:pt x="206" y="147"/>
                    <a:pt x="203" y="145"/>
                    <a:pt x="200" y="144"/>
                  </a:cubicBezTo>
                  <a:cubicBezTo>
                    <a:pt x="197" y="142"/>
                    <a:pt x="197" y="140"/>
                    <a:pt x="198" y="138"/>
                  </a:cubicBezTo>
                  <a:cubicBezTo>
                    <a:pt x="199" y="137"/>
                    <a:pt x="201" y="135"/>
                    <a:pt x="202" y="133"/>
                  </a:cubicBezTo>
                  <a:cubicBezTo>
                    <a:pt x="204" y="130"/>
                    <a:pt x="201" y="125"/>
                    <a:pt x="197" y="125"/>
                  </a:cubicBezTo>
                  <a:cubicBezTo>
                    <a:pt x="193" y="125"/>
                    <a:pt x="188" y="125"/>
                    <a:pt x="184" y="126"/>
                  </a:cubicBezTo>
                  <a:cubicBezTo>
                    <a:pt x="181" y="126"/>
                    <a:pt x="178" y="127"/>
                    <a:pt x="177" y="129"/>
                  </a:cubicBezTo>
                  <a:cubicBezTo>
                    <a:pt x="174" y="132"/>
                    <a:pt x="171" y="132"/>
                    <a:pt x="168" y="132"/>
                  </a:cubicBezTo>
                  <a:cubicBezTo>
                    <a:pt x="165" y="132"/>
                    <a:pt x="163" y="132"/>
                    <a:pt x="160" y="133"/>
                  </a:cubicBezTo>
                  <a:cubicBezTo>
                    <a:pt x="152" y="134"/>
                    <a:pt x="146" y="139"/>
                    <a:pt x="139" y="142"/>
                  </a:cubicBezTo>
                  <a:cubicBezTo>
                    <a:pt x="136" y="142"/>
                    <a:pt x="135" y="146"/>
                    <a:pt x="137" y="148"/>
                  </a:cubicBezTo>
                  <a:cubicBezTo>
                    <a:pt x="140" y="152"/>
                    <a:pt x="142" y="155"/>
                    <a:pt x="145" y="158"/>
                  </a:cubicBezTo>
                  <a:cubicBezTo>
                    <a:pt x="146" y="159"/>
                    <a:pt x="145" y="160"/>
                    <a:pt x="142" y="161"/>
                  </a:cubicBezTo>
                  <a:cubicBezTo>
                    <a:pt x="142" y="162"/>
                    <a:pt x="140" y="162"/>
                    <a:pt x="140" y="163"/>
                  </a:cubicBezTo>
                  <a:cubicBezTo>
                    <a:pt x="139" y="168"/>
                    <a:pt x="136" y="172"/>
                    <a:pt x="134" y="177"/>
                  </a:cubicBezTo>
                  <a:cubicBezTo>
                    <a:pt x="134" y="179"/>
                    <a:pt x="134" y="182"/>
                    <a:pt x="135" y="183"/>
                  </a:cubicBezTo>
                  <a:cubicBezTo>
                    <a:pt x="139" y="188"/>
                    <a:pt x="144" y="193"/>
                    <a:pt x="151" y="192"/>
                  </a:cubicBezTo>
                  <a:cubicBezTo>
                    <a:pt x="158" y="191"/>
                    <a:pt x="163" y="191"/>
                    <a:pt x="168" y="195"/>
                  </a:cubicBezTo>
                  <a:cubicBezTo>
                    <a:pt x="171" y="197"/>
                    <a:pt x="174" y="198"/>
                    <a:pt x="178" y="196"/>
                  </a:cubicBezTo>
                  <a:cubicBezTo>
                    <a:pt x="183" y="194"/>
                    <a:pt x="189" y="191"/>
                    <a:pt x="194" y="189"/>
                  </a:cubicBezTo>
                  <a:cubicBezTo>
                    <a:pt x="196" y="189"/>
                    <a:pt x="197" y="189"/>
                    <a:pt x="199" y="190"/>
                  </a:cubicBezTo>
                  <a:cubicBezTo>
                    <a:pt x="199" y="190"/>
                    <a:pt x="200" y="190"/>
                    <a:pt x="200" y="191"/>
                  </a:cubicBezTo>
                  <a:cubicBezTo>
                    <a:pt x="200" y="191"/>
                    <a:pt x="200" y="192"/>
                    <a:pt x="200" y="192"/>
                  </a:cubicBezTo>
                  <a:cubicBezTo>
                    <a:pt x="199" y="193"/>
                    <a:pt x="198" y="193"/>
                    <a:pt x="197" y="194"/>
                  </a:cubicBezTo>
                  <a:cubicBezTo>
                    <a:pt x="194" y="194"/>
                    <a:pt x="192" y="195"/>
                    <a:pt x="193" y="199"/>
                  </a:cubicBezTo>
                  <a:cubicBezTo>
                    <a:pt x="193" y="200"/>
                    <a:pt x="193" y="202"/>
                    <a:pt x="193" y="203"/>
                  </a:cubicBezTo>
                  <a:cubicBezTo>
                    <a:pt x="190" y="208"/>
                    <a:pt x="188" y="212"/>
                    <a:pt x="187" y="217"/>
                  </a:cubicBezTo>
                  <a:cubicBezTo>
                    <a:pt x="187" y="222"/>
                    <a:pt x="178" y="227"/>
                    <a:pt x="173" y="227"/>
                  </a:cubicBezTo>
                  <a:cubicBezTo>
                    <a:pt x="172" y="227"/>
                    <a:pt x="170" y="227"/>
                    <a:pt x="170" y="226"/>
                  </a:cubicBezTo>
                  <a:cubicBezTo>
                    <a:pt x="168" y="225"/>
                    <a:pt x="166" y="224"/>
                    <a:pt x="164" y="222"/>
                  </a:cubicBezTo>
                  <a:cubicBezTo>
                    <a:pt x="163" y="221"/>
                    <a:pt x="162" y="219"/>
                    <a:pt x="161" y="219"/>
                  </a:cubicBezTo>
                  <a:cubicBezTo>
                    <a:pt x="159" y="219"/>
                    <a:pt x="159" y="222"/>
                    <a:pt x="159" y="223"/>
                  </a:cubicBezTo>
                  <a:cubicBezTo>
                    <a:pt x="157" y="229"/>
                    <a:pt x="152" y="232"/>
                    <a:pt x="145" y="233"/>
                  </a:cubicBezTo>
                  <a:cubicBezTo>
                    <a:pt x="144" y="233"/>
                    <a:pt x="143" y="232"/>
                    <a:pt x="142" y="232"/>
                  </a:cubicBezTo>
                  <a:cubicBezTo>
                    <a:pt x="142" y="231"/>
                    <a:pt x="141" y="230"/>
                    <a:pt x="140" y="229"/>
                  </a:cubicBezTo>
                  <a:cubicBezTo>
                    <a:pt x="138" y="225"/>
                    <a:pt x="134" y="224"/>
                    <a:pt x="131" y="226"/>
                  </a:cubicBezTo>
                  <a:cubicBezTo>
                    <a:pt x="125" y="229"/>
                    <a:pt x="118" y="233"/>
                    <a:pt x="116" y="240"/>
                  </a:cubicBezTo>
                  <a:cubicBezTo>
                    <a:pt x="116" y="241"/>
                    <a:pt x="115" y="242"/>
                    <a:pt x="114" y="242"/>
                  </a:cubicBezTo>
                  <a:cubicBezTo>
                    <a:pt x="105" y="248"/>
                    <a:pt x="98" y="256"/>
                    <a:pt x="89" y="262"/>
                  </a:cubicBezTo>
                  <a:cubicBezTo>
                    <a:pt x="83" y="267"/>
                    <a:pt x="81" y="272"/>
                    <a:pt x="83" y="279"/>
                  </a:cubicBezTo>
                  <a:cubicBezTo>
                    <a:pt x="84" y="281"/>
                    <a:pt x="84" y="284"/>
                    <a:pt x="85" y="286"/>
                  </a:cubicBezTo>
                  <a:cubicBezTo>
                    <a:pt x="86" y="289"/>
                    <a:pt x="86" y="292"/>
                    <a:pt x="84" y="294"/>
                  </a:cubicBezTo>
                  <a:cubicBezTo>
                    <a:pt x="79" y="298"/>
                    <a:pt x="78" y="304"/>
                    <a:pt x="80" y="309"/>
                  </a:cubicBezTo>
                  <a:cubicBezTo>
                    <a:pt x="81" y="313"/>
                    <a:pt x="82" y="317"/>
                    <a:pt x="83" y="320"/>
                  </a:cubicBezTo>
                  <a:cubicBezTo>
                    <a:pt x="84" y="322"/>
                    <a:pt x="85" y="324"/>
                    <a:pt x="88" y="324"/>
                  </a:cubicBezTo>
                  <a:cubicBezTo>
                    <a:pt x="90" y="325"/>
                    <a:pt x="92" y="325"/>
                    <a:pt x="94" y="325"/>
                  </a:cubicBezTo>
                  <a:cubicBezTo>
                    <a:pt x="98" y="324"/>
                    <a:pt x="102" y="323"/>
                    <a:pt x="106" y="324"/>
                  </a:cubicBezTo>
                  <a:cubicBezTo>
                    <a:pt x="106" y="324"/>
                    <a:pt x="107" y="323"/>
                    <a:pt x="107" y="323"/>
                  </a:cubicBezTo>
                  <a:cubicBezTo>
                    <a:pt x="107" y="323"/>
                    <a:pt x="107" y="323"/>
                    <a:pt x="107" y="322"/>
                  </a:cubicBezTo>
                  <a:cubicBezTo>
                    <a:pt x="107" y="321"/>
                    <a:pt x="107" y="320"/>
                    <a:pt x="107" y="319"/>
                  </a:cubicBezTo>
                  <a:cubicBezTo>
                    <a:pt x="107" y="319"/>
                    <a:pt x="107" y="318"/>
                    <a:pt x="107" y="318"/>
                  </a:cubicBezTo>
                  <a:cubicBezTo>
                    <a:pt x="108" y="317"/>
                    <a:pt x="109" y="318"/>
                    <a:pt x="108" y="319"/>
                  </a:cubicBezTo>
                  <a:cubicBezTo>
                    <a:pt x="108" y="320"/>
                    <a:pt x="107" y="321"/>
                    <a:pt x="107" y="322"/>
                  </a:cubicBezTo>
                  <a:cubicBezTo>
                    <a:pt x="107" y="323"/>
                    <a:pt x="107" y="323"/>
                    <a:pt x="107" y="324"/>
                  </a:cubicBezTo>
                  <a:cubicBezTo>
                    <a:pt x="107" y="324"/>
                    <a:pt x="107" y="324"/>
                    <a:pt x="106" y="324"/>
                  </a:cubicBezTo>
                  <a:cubicBezTo>
                    <a:pt x="106" y="326"/>
                    <a:pt x="105" y="329"/>
                    <a:pt x="105" y="331"/>
                  </a:cubicBezTo>
                  <a:cubicBezTo>
                    <a:pt x="105" y="335"/>
                    <a:pt x="103" y="338"/>
                    <a:pt x="100" y="340"/>
                  </a:cubicBezTo>
                  <a:cubicBezTo>
                    <a:pt x="98" y="342"/>
                    <a:pt x="98" y="345"/>
                    <a:pt x="99" y="347"/>
                  </a:cubicBezTo>
                  <a:cubicBezTo>
                    <a:pt x="100" y="350"/>
                    <a:pt x="100" y="351"/>
                    <a:pt x="99" y="353"/>
                  </a:cubicBezTo>
                  <a:cubicBezTo>
                    <a:pt x="98" y="355"/>
                    <a:pt x="97" y="356"/>
                    <a:pt x="96" y="357"/>
                  </a:cubicBezTo>
                  <a:cubicBezTo>
                    <a:pt x="95" y="359"/>
                    <a:pt x="95" y="360"/>
                    <a:pt x="97" y="361"/>
                  </a:cubicBezTo>
                  <a:cubicBezTo>
                    <a:pt x="102" y="362"/>
                    <a:pt x="107" y="363"/>
                    <a:pt x="110" y="358"/>
                  </a:cubicBezTo>
                  <a:cubicBezTo>
                    <a:pt x="110" y="357"/>
                    <a:pt x="111" y="357"/>
                    <a:pt x="111" y="357"/>
                  </a:cubicBezTo>
                  <a:cubicBezTo>
                    <a:pt x="115" y="361"/>
                    <a:pt x="121" y="364"/>
                    <a:pt x="123" y="370"/>
                  </a:cubicBezTo>
                  <a:cubicBezTo>
                    <a:pt x="123" y="372"/>
                    <a:pt x="125" y="372"/>
                    <a:pt x="126" y="370"/>
                  </a:cubicBezTo>
                  <a:cubicBezTo>
                    <a:pt x="127" y="370"/>
                    <a:pt x="127" y="370"/>
                    <a:pt x="127" y="369"/>
                  </a:cubicBezTo>
                  <a:cubicBezTo>
                    <a:pt x="130" y="366"/>
                    <a:pt x="130" y="366"/>
                    <a:pt x="135" y="368"/>
                  </a:cubicBezTo>
                  <a:cubicBezTo>
                    <a:pt x="136" y="369"/>
                    <a:pt x="138" y="369"/>
                    <a:pt x="140" y="369"/>
                  </a:cubicBezTo>
                  <a:cubicBezTo>
                    <a:pt x="141" y="369"/>
                    <a:pt x="143" y="368"/>
                    <a:pt x="144" y="368"/>
                  </a:cubicBezTo>
                  <a:cubicBezTo>
                    <a:pt x="145" y="368"/>
                    <a:pt x="146" y="368"/>
                    <a:pt x="146" y="368"/>
                  </a:cubicBezTo>
                  <a:cubicBezTo>
                    <a:pt x="147" y="369"/>
                    <a:pt x="147" y="370"/>
                    <a:pt x="146" y="370"/>
                  </a:cubicBezTo>
                  <a:cubicBezTo>
                    <a:pt x="141" y="374"/>
                    <a:pt x="138" y="378"/>
                    <a:pt x="136" y="382"/>
                  </a:cubicBezTo>
                  <a:cubicBezTo>
                    <a:pt x="130" y="393"/>
                    <a:pt x="122" y="403"/>
                    <a:pt x="110" y="409"/>
                  </a:cubicBezTo>
                  <a:cubicBezTo>
                    <a:pt x="107" y="410"/>
                    <a:pt x="103" y="413"/>
                    <a:pt x="99" y="415"/>
                  </a:cubicBezTo>
                  <a:cubicBezTo>
                    <a:pt x="93" y="417"/>
                    <a:pt x="87" y="421"/>
                    <a:pt x="80" y="424"/>
                  </a:cubicBezTo>
                  <a:cubicBezTo>
                    <a:pt x="76" y="426"/>
                    <a:pt x="73" y="429"/>
                    <a:pt x="70" y="432"/>
                  </a:cubicBezTo>
                  <a:cubicBezTo>
                    <a:pt x="69" y="434"/>
                    <a:pt x="67" y="434"/>
                    <a:pt x="65" y="434"/>
                  </a:cubicBezTo>
                  <a:cubicBezTo>
                    <a:pt x="60" y="432"/>
                    <a:pt x="55" y="433"/>
                    <a:pt x="50" y="436"/>
                  </a:cubicBezTo>
                  <a:cubicBezTo>
                    <a:pt x="47" y="438"/>
                    <a:pt x="43" y="441"/>
                    <a:pt x="40" y="443"/>
                  </a:cubicBezTo>
                  <a:cubicBezTo>
                    <a:pt x="34" y="448"/>
                    <a:pt x="28" y="451"/>
                    <a:pt x="20" y="451"/>
                  </a:cubicBezTo>
                  <a:cubicBezTo>
                    <a:pt x="18" y="451"/>
                    <a:pt x="15" y="452"/>
                    <a:pt x="12" y="452"/>
                  </a:cubicBezTo>
                  <a:cubicBezTo>
                    <a:pt x="7" y="452"/>
                    <a:pt x="4" y="456"/>
                    <a:pt x="1" y="460"/>
                  </a:cubicBezTo>
                  <a:cubicBezTo>
                    <a:pt x="0" y="460"/>
                    <a:pt x="0" y="462"/>
                    <a:pt x="1" y="463"/>
                  </a:cubicBezTo>
                  <a:cubicBezTo>
                    <a:pt x="1" y="463"/>
                    <a:pt x="3" y="464"/>
                    <a:pt x="4" y="464"/>
                  </a:cubicBezTo>
                  <a:cubicBezTo>
                    <a:pt x="5" y="464"/>
                    <a:pt x="7" y="464"/>
                    <a:pt x="8" y="463"/>
                  </a:cubicBezTo>
                  <a:cubicBezTo>
                    <a:pt x="12" y="462"/>
                    <a:pt x="15" y="463"/>
                    <a:pt x="18" y="462"/>
                  </a:cubicBezTo>
                  <a:cubicBezTo>
                    <a:pt x="20" y="462"/>
                    <a:pt x="23" y="462"/>
                    <a:pt x="24" y="460"/>
                  </a:cubicBezTo>
                  <a:cubicBezTo>
                    <a:pt x="28" y="456"/>
                    <a:pt x="32" y="455"/>
                    <a:pt x="37" y="455"/>
                  </a:cubicBezTo>
                  <a:cubicBezTo>
                    <a:pt x="44" y="455"/>
                    <a:pt x="50" y="451"/>
                    <a:pt x="53" y="445"/>
                  </a:cubicBezTo>
                  <a:cubicBezTo>
                    <a:pt x="53" y="445"/>
                    <a:pt x="53" y="445"/>
                    <a:pt x="53" y="445"/>
                  </a:cubicBezTo>
                  <a:cubicBezTo>
                    <a:pt x="54" y="445"/>
                    <a:pt x="54" y="445"/>
                    <a:pt x="54" y="445"/>
                  </a:cubicBezTo>
                  <a:cubicBezTo>
                    <a:pt x="53" y="445"/>
                    <a:pt x="53" y="445"/>
                    <a:pt x="53" y="445"/>
                  </a:cubicBezTo>
                  <a:cubicBezTo>
                    <a:pt x="53" y="445"/>
                    <a:pt x="53" y="445"/>
                    <a:pt x="53" y="445"/>
                  </a:cubicBezTo>
                  <a:cubicBezTo>
                    <a:pt x="54" y="447"/>
                    <a:pt x="56" y="450"/>
                    <a:pt x="57" y="452"/>
                  </a:cubicBezTo>
                  <a:cubicBezTo>
                    <a:pt x="58" y="453"/>
                    <a:pt x="58" y="453"/>
                    <a:pt x="60" y="450"/>
                  </a:cubicBezTo>
                  <a:cubicBezTo>
                    <a:pt x="60" y="449"/>
                    <a:pt x="61" y="448"/>
                    <a:pt x="61" y="448"/>
                  </a:cubicBezTo>
                  <a:cubicBezTo>
                    <a:pt x="66" y="447"/>
                    <a:pt x="71" y="445"/>
                    <a:pt x="76" y="445"/>
                  </a:cubicBezTo>
                  <a:cubicBezTo>
                    <a:pt x="78" y="445"/>
                    <a:pt x="80" y="446"/>
                    <a:pt x="82" y="445"/>
                  </a:cubicBezTo>
                  <a:cubicBezTo>
                    <a:pt x="84" y="442"/>
                    <a:pt x="87" y="442"/>
                    <a:pt x="90" y="440"/>
                  </a:cubicBezTo>
                  <a:cubicBezTo>
                    <a:pt x="95" y="438"/>
                    <a:pt x="101" y="437"/>
                    <a:pt x="103" y="432"/>
                  </a:cubicBezTo>
                  <a:cubicBezTo>
                    <a:pt x="107" y="430"/>
                    <a:pt x="111" y="427"/>
                    <a:pt x="114" y="426"/>
                  </a:cubicBezTo>
                  <a:cubicBezTo>
                    <a:pt x="116" y="425"/>
                    <a:pt x="118" y="426"/>
                    <a:pt x="119" y="426"/>
                  </a:cubicBezTo>
                  <a:cubicBezTo>
                    <a:pt x="120" y="425"/>
                    <a:pt x="121" y="423"/>
                    <a:pt x="122" y="423"/>
                  </a:cubicBezTo>
                  <a:cubicBezTo>
                    <a:pt x="125" y="422"/>
                    <a:pt x="129" y="419"/>
                    <a:pt x="132" y="418"/>
                  </a:cubicBezTo>
                  <a:cubicBezTo>
                    <a:pt x="136" y="417"/>
                    <a:pt x="139" y="415"/>
                    <a:pt x="140" y="411"/>
                  </a:cubicBezTo>
                  <a:cubicBezTo>
                    <a:pt x="141" y="410"/>
                    <a:pt x="142" y="408"/>
                    <a:pt x="143" y="408"/>
                  </a:cubicBezTo>
                  <a:cubicBezTo>
                    <a:pt x="151" y="403"/>
                    <a:pt x="158" y="399"/>
                    <a:pt x="167" y="397"/>
                  </a:cubicBezTo>
                  <a:cubicBezTo>
                    <a:pt x="173" y="395"/>
                    <a:pt x="178" y="393"/>
                    <a:pt x="181" y="388"/>
                  </a:cubicBezTo>
                  <a:cubicBezTo>
                    <a:pt x="183" y="386"/>
                    <a:pt x="186" y="384"/>
                    <a:pt x="188" y="383"/>
                  </a:cubicBezTo>
                  <a:cubicBezTo>
                    <a:pt x="190" y="382"/>
                    <a:pt x="192" y="381"/>
                    <a:pt x="194" y="380"/>
                  </a:cubicBezTo>
                  <a:cubicBezTo>
                    <a:pt x="197" y="378"/>
                    <a:pt x="198" y="375"/>
                    <a:pt x="196" y="372"/>
                  </a:cubicBezTo>
                  <a:cubicBezTo>
                    <a:pt x="196" y="371"/>
                    <a:pt x="195" y="369"/>
                    <a:pt x="194" y="368"/>
                  </a:cubicBezTo>
                  <a:cubicBezTo>
                    <a:pt x="193" y="366"/>
                    <a:pt x="193" y="364"/>
                    <a:pt x="195" y="362"/>
                  </a:cubicBezTo>
                  <a:cubicBezTo>
                    <a:pt x="198" y="359"/>
                    <a:pt x="202" y="357"/>
                    <a:pt x="207" y="358"/>
                  </a:cubicBezTo>
                  <a:cubicBezTo>
                    <a:pt x="210" y="359"/>
                    <a:pt x="212" y="358"/>
                    <a:pt x="214" y="357"/>
                  </a:cubicBezTo>
                  <a:cubicBezTo>
                    <a:pt x="217" y="354"/>
                    <a:pt x="221" y="352"/>
                    <a:pt x="222" y="347"/>
                  </a:cubicBezTo>
                  <a:cubicBezTo>
                    <a:pt x="223" y="345"/>
                    <a:pt x="226" y="343"/>
                    <a:pt x="229" y="343"/>
                  </a:cubicBezTo>
                  <a:cubicBezTo>
                    <a:pt x="231" y="343"/>
                    <a:pt x="233" y="342"/>
                    <a:pt x="234" y="340"/>
                  </a:cubicBezTo>
                  <a:cubicBezTo>
                    <a:pt x="240" y="331"/>
                    <a:pt x="250" y="328"/>
                    <a:pt x="259" y="323"/>
                  </a:cubicBezTo>
                  <a:cubicBezTo>
                    <a:pt x="262" y="322"/>
                    <a:pt x="266" y="325"/>
                    <a:pt x="266" y="328"/>
                  </a:cubicBezTo>
                  <a:cubicBezTo>
                    <a:pt x="266" y="330"/>
                    <a:pt x="266" y="331"/>
                    <a:pt x="266" y="333"/>
                  </a:cubicBezTo>
                  <a:cubicBezTo>
                    <a:pt x="266" y="333"/>
                    <a:pt x="264" y="334"/>
                    <a:pt x="264" y="334"/>
                  </a:cubicBezTo>
                  <a:cubicBezTo>
                    <a:pt x="257" y="331"/>
                    <a:pt x="251" y="331"/>
                    <a:pt x="245" y="335"/>
                  </a:cubicBezTo>
                  <a:cubicBezTo>
                    <a:pt x="244" y="336"/>
                    <a:pt x="242" y="337"/>
                    <a:pt x="242" y="338"/>
                  </a:cubicBezTo>
                  <a:cubicBezTo>
                    <a:pt x="239" y="346"/>
                    <a:pt x="233" y="351"/>
                    <a:pt x="227" y="357"/>
                  </a:cubicBezTo>
                  <a:cubicBezTo>
                    <a:pt x="225" y="359"/>
                    <a:pt x="225" y="362"/>
                    <a:pt x="227" y="364"/>
                  </a:cubicBezTo>
                  <a:cubicBezTo>
                    <a:pt x="228" y="365"/>
                    <a:pt x="229" y="365"/>
                    <a:pt x="227" y="366"/>
                  </a:cubicBezTo>
                  <a:cubicBezTo>
                    <a:pt x="224" y="368"/>
                    <a:pt x="221" y="369"/>
                    <a:pt x="218" y="370"/>
                  </a:cubicBezTo>
                  <a:cubicBezTo>
                    <a:pt x="217" y="371"/>
                    <a:pt x="217" y="373"/>
                    <a:pt x="217" y="375"/>
                  </a:cubicBezTo>
                  <a:cubicBezTo>
                    <a:pt x="218" y="376"/>
                    <a:pt x="220" y="377"/>
                    <a:pt x="221" y="377"/>
                  </a:cubicBezTo>
                  <a:cubicBezTo>
                    <a:pt x="224" y="377"/>
                    <a:pt x="227" y="377"/>
                    <a:pt x="229" y="376"/>
                  </a:cubicBezTo>
                  <a:cubicBezTo>
                    <a:pt x="234" y="373"/>
                    <a:pt x="239" y="371"/>
                    <a:pt x="244" y="370"/>
                  </a:cubicBezTo>
                  <a:cubicBezTo>
                    <a:pt x="246" y="369"/>
                    <a:pt x="248" y="369"/>
                    <a:pt x="250" y="368"/>
                  </a:cubicBezTo>
                  <a:cubicBezTo>
                    <a:pt x="255" y="365"/>
                    <a:pt x="260" y="363"/>
                    <a:pt x="266" y="364"/>
                  </a:cubicBezTo>
                  <a:cubicBezTo>
                    <a:pt x="267" y="364"/>
                    <a:pt x="269" y="363"/>
                    <a:pt x="270" y="362"/>
                  </a:cubicBezTo>
                  <a:cubicBezTo>
                    <a:pt x="273" y="361"/>
                    <a:pt x="275" y="359"/>
                    <a:pt x="276" y="357"/>
                  </a:cubicBezTo>
                  <a:cubicBezTo>
                    <a:pt x="278" y="355"/>
                    <a:pt x="280" y="356"/>
                    <a:pt x="281" y="357"/>
                  </a:cubicBezTo>
                  <a:cubicBezTo>
                    <a:pt x="283" y="357"/>
                    <a:pt x="284" y="357"/>
                    <a:pt x="285" y="357"/>
                  </a:cubicBezTo>
                  <a:cubicBezTo>
                    <a:pt x="286" y="355"/>
                    <a:pt x="286" y="353"/>
                    <a:pt x="284" y="351"/>
                  </a:cubicBezTo>
                  <a:cubicBezTo>
                    <a:pt x="282" y="350"/>
                    <a:pt x="281" y="348"/>
                    <a:pt x="280" y="346"/>
                  </a:cubicBezTo>
                  <a:cubicBezTo>
                    <a:pt x="279" y="343"/>
                    <a:pt x="280" y="340"/>
                    <a:pt x="283" y="338"/>
                  </a:cubicBezTo>
                  <a:cubicBezTo>
                    <a:pt x="284" y="336"/>
                    <a:pt x="286" y="336"/>
                    <a:pt x="286" y="338"/>
                  </a:cubicBezTo>
                  <a:cubicBezTo>
                    <a:pt x="288" y="341"/>
                    <a:pt x="289" y="343"/>
                    <a:pt x="293" y="343"/>
                  </a:cubicBezTo>
                  <a:cubicBezTo>
                    <a:pt x="296" y="342"/>
                    <a:pt x="299" y="342"/>
                    <a:pt x="301" y="342"/>
                  </a:cubicBezTo>
                  <a:cubicBezTo>
                    <a:pt x="301" y="342"/>
                    <a:pt x="301" y="342"/>
                    <a:pt x="301" y="342"/>
                  </a:cubicBezTo>
                  <a:cubicBezTo>
                    <a:pt x="302" y="341"/>
                    <a:pt x="302" y="341"/>
                    <a:pt x="302" y="341"/>
                  </a:cubicBezTo>
                  <a:cubicBezTo>
                    <a:pt x="301" y="342"/>
                    <a:pt x="301" y="342"/>
                    <a:pt x="301" y="342"/>
                  </a:cubicBezTo>
                  <a:cubicBezTo>
                    <a:pt x="301" y="342"/>
                    <a:pt x="301" y="342"/>
                    <a:pt x="301" y="342"/>
                  </a:cubicBezTo>
                  <a:cubicBezTo>
                    <a:pt x="301" y="343"/>
                    <a:pt x="301" y="345"/>
                    <a:pt x="301" y="346"/>
                  </a:cubicBezTo>
                  <a:cubicBezTo>
                    <a:pt x="303" y="352"/>
                    <a:pt x="305" y="357"/>
                    <a:pt x="312" y="359"/>
                  </a:cubicBezTo>
                  <a:cubicBezTo>
                    <a:pt x="316" y="360"/>
                    <a:pt x="318" y="364"/>
                    <a:pt x="320" y="367"/>
                  </a:cubicBezTo>
                  <a:cubicBezTo>
                    <a:pt x="320" y="368"/>
                    <a:pt x="321" y="370"/>
                    <a:pt x="321" y="371"/>
                  </a:cubicBezTo>
                  <a:cubicBezTo>
                    <a:pt x="323" y="373"/>
                    <a:pt x="324" y="374"/>
                    <a:pt x="327" y="375"/>
                  </a:cubicBezTo>
                  <a:cubicBezTo>
                    <a:pt x="329" y="375"/>
                    <a:pt x="331" y="375"/>
                    <a:pt x="333" y="375"/>
                  </a:cubicBezTo>
                  <a:cubicBezTo>
                    <a:pt x="338" y="375"/>
                    <a:pt x="343" y="377"/>
                    <a:pt x="347" y="380"/>
                  </a:cubicBezTo>
                  <a:cubicBezTo>
                    <a:pt x="348" y="381"/>
                    <a:pt x="349" y="382"/>
                    <a:pt x="351" y="383"/>
                  </a:cubicBezTo>
                  <a:cubicBezTo>
                    <a:pt x="351" y="383"/>
                    <a:pt x="351" y="382"/>
                    <a:pt x="351" y="382"/>
                  </a:cubicBezTo>
                  <a:cubicBezTo>
                    <a:pt x="351" y="382"/>
                    <a:pt x="351" y="382"/>
                    <a:pt x="351" y="382"/>
                  </a:cubicBezTo>
                  <a:cubicBezTo>
                    <a:pt x="351" y="383"/>
                    <a:pt x="351" y="383"/>
                    <a:pt x="351" y="383"/>
                  </a:cubicBezTo>
                  <a:cubicBezTo>
                    <a:pt x="351" y="383"/>
                    <a:pt x="351" y="383"/>
                    <a:pt x="351" y="383"/>
                  </a:cubicBezTo>
                  <a:cubicBezTo>
                    <a:pt x="352" y="384"/>
                    <a:pt x="353" y="385"/>
                    <a:pt x="354" y="386"/>
                  </a:cubicBezTo>
                  <a:cubicBezTo>
                    <a:pt x="357" y="390"/>
                    <a:pt x="361" y="392"/>
                    <a:pt x="367" y="391"/>
                  </a:cubicBezTo>
                  <a:cubicBezTo>
                    <a:pt x="367" y="390"/>
                    <a:pt x="368" y="391"/>
                    <a:pt x="368" y="391"/>
                  </a:cubicBezTo>
                  <a:cubicBezTo>
                    <a:pt x="370" y="391"/>
                    <a:pt x="370" y="393"/>
                    <a:pt x="369" y="393"/>
                  </a:cubicBezTo>
                  <a:cubicBezTo>
                    <a:pt x="366" y="397"/>
                    <a:pt x="366" y="400"/>
                    <a:pt x="369" y="403"/>
                  </a:cubicBezTo>
                  <a:cubicBezTo>
                    <a:pt x="371" y="404"/>
                    <a:pt x="372" y="406"/>
                    <a:pt x="374" y="407"/>
                  </a:cubicBezTo>
                  <a:cubicBezTo>
                    <a:pt x="376" y="409"/>
                    <a:pt x="378" y="410"/>
                    <a:pt x="378" y="413"/>
                  </a:cubicBezTo>
                  <a:cubicBezTo>
                    <a:pt x="378" y="415"/>
                    <a:pt x="379" y="417"/>
                    <a:pt x="379" y="419"/>
                  </a:cubicBezTo>
                  <a:cubicBezTo>
                    <a:pt x="380" y="424"/>
                    <a:pt x="382" y="428"/>
                    <a:pt x="386" y="431"/>
                  </a:cubicBezTo>
                  <a:cubicBezTo>
                    <a:pt x="387" y="433"/>
                    <a:pt x="390" y="434"/>
                    <a:pt x="393" y="434"/>
                  </a:cubicBezTo>
                  <a:cubicBezTo>
                    <a:pt x="395" y="434"/>
                    <a:pt x="397" y="432"/>
                    <a:pt x="397" y="430"/>
                  </a:cubicBezTo>
                  <a:cubicBezTo>
                    <a:pt x="396" y="428"/>
                    <a:pt x="396" y="427"/>
                    <a:pt x="395" y="425"/>
                  </a:cubicBezTo>
                  <a:cubicBezTo>
                    <a:pt x="395" y="425"/>
                    <a:pt x="395" y="424"/>
                    <a:pt x="395" y="424"/>
                  </a:cubicBezTo>
                  <a:cubicBezTo>
                    <a:pt x="396" y="423"/>
                    <a:pt x="397" y="423"/>
                    <a:pt x="397" y="425"/>
                  </a:cubicBezTo>
                  <a:cubicBezTo>
                    <a:pt x="398" y="426"/>
                    <a:pt x="399" y="428"/>
                    <a:pt x="400" y="430"/>
                  </a:cubicBezTo>
                  <a:cubicBezTo>
                    <a:pt x="400" y="434"/>
                    <a:pt x="402" y="436"/>
                    <a:pt x="404" y="438"/>
                  </a:cubicBezTo>
                  <a:cubicBezTo>
                    <a:pt x="404" y="439"/>
                    <a:pt x="405" y="439"/>
                    <a:pt x="404" y="440"/>
                  </a:cubicBezTo>
                  <a:cubicBezTo>
                    <a:pt x="404" y="441"/>
                    <a:pt x="403" y="441"/>
                    <a:pt x="402" y="440"/>
                  </a:cubicBezTo>
                  <a:cubicBezTo>
                    <a:pt x="401" y="440"/>
                    <a:pt x="400" y="439"/>
                    <a:pt x="399" y="439"/>
                  </a:cubicBezTo>
                  <a:cubicBezTo>
                    <a:pt x="395" y="438"/>
                    <a:pt x="392" y="439"/>
                    <a:pt x="391" y="442"/>
                  </a:cubicBezTo>
                  <a:cubicBezTo>
                    <a:pt x="389" y="445"/>
                    <a:pt x="388" y="448"/>
                    <a:pt x="389" y="451"/>
                  </a:cubicBezTo>
                  <a:cubicBezTo>
                    <a:pt x="389" y="454"/>
                    <a:pt x="390" y="457"/>
                    <a:pt x="390" y="460"/>
                  </a:cubicBezTo>
                  <a:cubicBezTo>
                    <a:pt x="390" y="460"/>
                    <a:pt x="390" y="460"/>
                    <a:pt x="390" y="460"/>
                  </a:cubicBezTo>
                  <a:cubicBezTo>
                    <a:pt x="390" y="460"/>
                    <a:pt x="390" y="461"/>
                    <a:pt x="390" y="461"/>
                  </a:cubicBezTo>
                  <a:cubicBezTo>
                    <a:pt x="390" y="461"/>
                    <a:pt x="390" y="461"/>
                    <a:pt x="390" y="461"/>
                  </a:cubicBezTo>
                  <a:cubicBezTo>
                    <a:pt x="392" y="463"/>
                    <a:pt x="394" y="466"/>
                    <a:pt x="392" y="469"/>
                  </a:cubicBezTo>
                  <a:cubicBezTo>
                    <a:pt x="391" y="474"/>
                    <a:pt x="390" y="479"/>
                    <a:pt x="391" y="484"/>
                  </a:cubicBezTo>
                  <a:cubicBezTo>
                    <a:pt x="391" y="485"/>
                    <a:pt x="391" y="485"/>
                    <a:pt x="392" y="485"/>
                  </a:cubicBezTo>
                  <a:cubicBezTo>
                    <a:pt x="393" y="485"/>
                    <a:pt x="394" y="485"/>
                    <a:pt x="394" y="484"/>
                  </a:cubicBezTo>
                  <a:cubicBezTo>
                    <a:pt x="396" y="481"/>
                    <a:pt x="398" y="478"/>
                    <a:pt x="400" y="474"/>
                  </a:cubicBezTo>
                  <a:cubicBezTo>
                    <a:pt x="400" y="474"/>
                    <a:pt x="400" y="473"/>
                    <a:pt x="400" y="473"/>
                  </a:cubicBezTo>
                  <a:cubicBezTo>
                    <a:pt x="400" y="473"/>
                    <a:pt x="401" y="473"/>
                    <a:pt x="401" y="473"/>
                  </a:cubicBezTo>
                  <a:cubicBezTo>
                    <a:pt x="402" y="471"/>
                    <a:pt x="405" y="470"/>
                    <a:pt x="407" y="471"/>
                  </a:cubicBezTo>
                  <a:cubicBezTo>
                    <a:pt x="407" y="470"/>
                    <a:pt x="407" y="470"/>
                    <a:pt x="407" y="470"/>
                  </a:cubicBezTo>
                  <a:cubicBezTo>
                    <a:pt x="407" y="470"/>
                    <a:pt x="408" y="470"/>
                    <a:pt x="408" y="470"/>
                  </a:cubicBezTo>
                  <a:cubicBezTo>
                    <a:pt x="408" y="470"/>
                    <a:pt x="408" y="469"/>
                    <a:pt x="408" y="469"/>
                  </a:cubicBezTo>
                  <a:cubicBezTo>
                    <a:pt x="412" y="463"/>
                    <a:pt x="417" y="458"/>
                    <a:pt x="419" y="451"/>
                  </a:cubicBezTo>
                  <a:cubicBezTo>
                    <a:pt x="420" y="450"/>
                    <a:pt x="421" y="450"/>
                    <a:pt x="422" y="450"/>
                  </a:cubicBezTo>
                  <a:cubicBezTo>
                    <a:pt x="422" y="450"/>
                    <a:pt x="423" y="451"/>
                    <a:pt x="423" y="452"/>
                  </a:cubicBezTo>
                  <a:cubicBezTo>
                    <a:pt x="423" y="453"/>
                    <a:pt x="423" y="455"/>
                    <a:pt x="423" y="456"/>
                  </a:cubicBezTo>
                  <a:cubicBezTo>
                    <a:pt x="421" y="459"/>
                    <a:pt x="420" y="463"/>
                    <a:pt x="419" y="466"/>
                  </a:cubicBezTo>
                  <a:cubicBezTo>
                    <a:pt x="417" y="469"/>
                    <a:pt x="419" y="471"/>
                    <a:pt x="420" y="472"/>
                  </a:cubicBezTo>
                  <a:cubicBezTo>
                    <a:pt x="421" y="472"/>
                    <a:pt x="421" y="473"/>
                    <a:pt x="421" y="473"/>
                  </a:cubicBezTo>
                  <a:cubicBezTo>
                    <a:pt x="421" y="473"/>
                    <a:pt x="421" y="473"/>
                    <a:pt x="421" y="474"/>
                  </a:cubicBezTo>
                  <a:cubicBezTo>
                    <a:pt x="422" y="475"/>
                    <a:pt x="423" y="477"/>
                    <a:pt x="423" y="479"/>
                  </a:cubicBezTo>
                  <a:cubicBezTo>
                    <a:pt x="423" y="479"/>
                    <a:pt x="424" y="479"/>
                    <a:pt x="424" y="479"/>
                  </a:cubicBezTo>
                  <a:cubicBezTo>
                    <a:pt x="424" y="480"/>
                    <a:pt x="424" y="480"/>
                    <a:pt x="424" y="480"/>
                  </a:cubicBezTo>
                  <a:cubicBezTo>
                    <a:pt x="423" y="480"/>
                    <a:pt x="423" y="480"/>
                    <a:pt x="423" y="480"/>
                  </a:cubicBezTo>
                  <a:cubicBezTo>
                    <a:pt x="423" y="479"/>
                    <a:pt x="423" y="479"/>
                    <a:pt x="423" y="479"/>
                  </a:cubicBezTo>
                  <a:cubicBezTo>
                    <a:pt x="421" y="478"/>
                    <a:pt x="421" y="476"/>
                    <a:pt x="421" y="474"/>
                  </a:cubicBezTo>
                  <a:cubicBezTo>
                    <a:pt x="421" y="473"/>
                    <a:pt x="421" y="473"/>
                    <a:pt x="421" y="473"/>
                  </a:cubicBezTo>
                  <a:cubicBezTo>
                    <a:pt x="421" y="473"/>
                    <a:pt x="420" y="473"/>
                    <a:pt x="420" y="472"/>
                  </a:cubicBezTo>
                  <a:cubicBezTo>
                    <a:pt x="418" y="472"/>
                    <a:pt x="417" y="472"/>
                    <a:pt x="415" y="471"/>
                  </a:cubicBezTo>
                  <a:cubicBezTo>
                    <a:pt x="413" y="470"/>
                    <a:pt x="410" y="470"/>
                    <a:pt x="408" y="470"/>
                  </a:cubicBezTo>
                  <a:cubicBezTo>
                    <a:pt x="408" y="470"/>
                    <a:pt x="408" y="470"/>
                    <a:pt x="408" y="471"/>
                  </a:cubicBezTo>
                  <a:cubicBezTo>
                    <a:pt x="407" y="470"/>
                    <a:pt x="407" y="471"/>
                    <a:pt x="407" y="471"/>
                  </a:cubicBezTo>
                  <a:cubicBezTo>
                    <a:pt x="405" y="473"/>
                    <a:pt x="403" y="473"/>
                    <a:pt x="401" y="473"/>
                  </a:cubicBezTo>
                  <a:cubicBezTo>
                    <a:pt x="401" y="473"/>
                    <a:pt x="401" y="473"/>
                    <a:pt x="400" y="473"/>
                  </a:cubicBezTo>
                  <a:cubicBezTo>
                    <a:pt x="400" y="474"/>
                    <a:pt x="400" y="474"/>
                    <a:pt x="400" y="474"/>
                  </a:cubicBezTo>
                  <a:cubicBezTo>
                    <a:pt x="399" y="479"/>
                    <a:pt x="400" y="483"/>
                    <a:pt x="398" y="488"/>
                  </a:cubicBezTo>
                  <a:cubicBezTo>
                    <a:pt x="397" y="489"/>
                    <a:pt x="399" y="491"/>
                    <a:pt x="401" y="492"/>
                  </a:cubicBezTo>
                  <a:cubicBezTo>
                    <a:pt x="402" y="492"/>
                    <a:pt x="403" y="492"/>
                    <a:pt x="404" y="493"/>
                  </a:cubicBezTo>
                  <a:cubicBezTo>
                    <a:pt x="404" y="492"/>
                    <a:pt x="404" y="492"/>
                    <a:pt x="404" y="492"/>
                  </a:cubicBezTo>
                  <a:cubicBezTo>
                    <a:pt x="404" y="492"/>
                    <a:pt x="404" y="492"/>
                    <a:pt x="405" y="491"/>
                  </a:cubicBezTo>
                  <a:cubicBezTo>
                    <a:pt x="405" y="491"/>
                    <a:pt x="405" y="490"/>
                    <a:pt x="406" y="489"/>
                  </a:cubicBezTo>
                  <a:cubicBezTo>
                    <a:pt x="406" y="490"/>
                    <a:pt x="406" y="490"/>
                    <a:pt x="406" y="490"/>
                  </a:cubicBezTo>
                  <a:cubicBezTo>
                    <a:pt x="405" y="491"/>
                    <a:pt x="405" y="491"/>
                    <a:pt x="405" y="491"/>
                  </a:cubicBezTo>
                  <a:cubicBezTo>
                    <a:pt x="404" y="492"/>
                    <a:pt x="404" y="492"/>
                    <a:pt x="404" y="493"/>
                  </a:cubicBezTo>
                  <a:cubicBezTo>
                    <a:pt x="404" y="493"/>
                    <a:pt x="404" y="493"/>
                    <a:pt x="404" y="493"/>
                  </a:cubicBezTo>
                  <a:cubicBezTo>
                    <a:pt x="403" y="494"/>
                    <a:pt x="403" y="496"/>
                    <a:pt x="403" y="497"/>
                  </a:cubicBezTo>
                  <a:cubicBezTo>
                    <a:pt x="405" y="499"/>
                    <a:pt x="406" y="501"/>
                    <a:pt x="405" y="504"/>
                  </a:cubicBezTo>
                  <a:cubicBezTo>
                    <a:pt x="404" y="506"/>
                    <a:pt x="404" y="508"/>
                    <a:pt x="403" y="510"/>
                  </a:cubicBezTo>
                  <a:cubicBezTo>
                    <a:pt x="403" y="511"/>
                    <a:pt x="403" y="513"/>
                    <a:pt x="403" y="514"/>
                  </a:cubicBezTo>
                  <a:cubicBezTo>
                    <a:pt x="406" y="518"/>
                    <a:pt x="405" y="522"/>
                    <a:pt x="407" y="526"/>
                  </a:cubicBezTo>
                  <a:cubicBezTo>
                    <a:pt x="408" y="526"/>
                    <a:pt x="409" y="527"/>
                    <a:pt x="410" y="527"/>
                  </a:cubicBezTo>
                  <a:cubicBezTo>
                    <a:pt x="411" y="527"/>
                    <a:pt x="412" y="526"/>
                    <a:pt x="413" y="525"/>
                  </a:cubicBezTo>
                  <a:cubicBezTo>
                    <a:pt x="415" y="521"/>
                    <a:pt x="417" y="516"/>
                    <a:pt x="417" y="511"/>
                  </a:cubicBezTo>
                  <a:cubicBezTo>
                    <a:pt x="417" y="511"/>
                    <a:pt x="417" y="511"/>
                    <a:pt x="417" y="511"/>
                  </a:cubicBezTo>
                  <a:cubicBezTo>
                    <a:pt x="417" y="511"/>
                    <a:pt x="417" y="511"/>
                    <a:pt x="417" y="510"/>
                  </a:cubicBezTo>
                  <a:cubicBezTo>
                    <a:pt x="416" y="510"/>
                    <a:pt x="416" y="510"/>
                    <a:pt x="416" y="510"/>
                  </a:cubicBezTo>
                  <a:cubicBezTo>
                    <a:pt x="416" y="510"/>
                    <a:pt x="417" y="510"/>
                    <a:pt x="417" y="510"/>
                  </a:cubicBezTo>
                  <a:cubicBezTo>
                    <a:pt x="417" y="510"/>
                    <a:pt x="417" y="510"/>
                    <a:pt x="417" y="510"/>
                  </a:cubicBezTo>
                  <a:cubicBezTo>
                    <a:pt x="417" y="511"/>
                    <a:pt x="417" y="511"/>
                    <a:pt x="417" y="511"/>
                  </a:cubicBezTo>
                  <a:cubicBezTo>
                    <a:pt x="417" y="511"/>
                    <a:pt x="417" y="511"/>
                    <a:pt x="417" y="511"/>
                  </a:cubicBezTo>
                  <a:cubicBezTo>
                    <a:pt x="418" y="511"/>
                    <a:pt x="419" y="511"/>
                    <a:pt x="420" y="511"/>
                  </a:cubicBezTo>
                  <a:cubicBezTo>
                    <a:pt x="420" y="511"/>
                    <a:pt x="420" y="511"/>
                    <a:pt x="420" y="511"/>
                  </a:cubicBezTo>
                  <a:cubicBezTo>
                    <a:pt x="420" y="511"/>
                    <a:pt x="421" y="510"/>
                    <a:pt x="421" y="510"/>
                  </a:cubicBezTo>
                  <a:cubicBezTo>
                    <a:pt x="421" y="511"/>
                    <a:pt x="421" y="511"/>
                    <a:pt x="421" y="511"/>
                  </a:cubicBezTo>
                  <a:cubicBezTo>
                    <a:pt x="420" y="511"/>
                    <a:pt x="420" y="511"/>
                    <a:pt x="420" y="511"/>
                  </a:cubicBezTo>
                  <a:cubicBezTo>
                    <a:pt x="422" y="513"/>
                    <a:pt x="423" y="515"/>
                    <a:pt x="424" y="517"/>
                  </a:cubicBezTo>
                  <a:cubicBezTo>
                    <a:pt x="424" y="517"/>
                    <a:pt x="424" y="517"/>
                    <a:pt x="424" y="516"/>
                  </a:cubicBezTo>
                  <a:cubicBezTo>
                    <a:pt x="424" y="517"/>
                    <a:pt x="424" y="517"/>
                    <a:pt x="424" y="518"/>
                  </a:cubicBezTo>
                  <a:cubicBezTo>
                    <a:pt x="425" y="518"/>
                    <a:pt x="425" y="519"/>
                    <a:pt x="425" y="520"/>
                  </a:cubicBezTo>
                  <a:cubicBezTo>
                    <a:pt x="425" y="521"/>
                    <a:pt x="425" y="521"/>
                    <a:pt x="424" y="520"/>
                  </a:cubicBezTo>
                  <a:cubicBezTo>
                    <a:pt x="424" y="519"/>
                    <a:pt x="424" y="518"/>
                    <a:pt x="424" y="518"/>
                  </a:cubicBezTo>
                  <a:cubicBezTo>
                    <a:pt x="424" y="518"/>
                    <a:pt x="424" y="518"/>
                    <a:pt x="424" y="518"/>
                  </a:cubicBezTo>
                  <a:cubicBezTo>
                    <a:pt x="424" y="517"/>
                    <a:pt x="424" y="517"/>
                    <a:pt x="424" y="517"/>
                  </a:cubicBezTo>
                  <a:cubicBezTo>
                    <a:pt x="424" y="517"/>
                    <a:pt x="424" y="517"/>
                    <a:pt x="424" y="517"/>
                  </a:cubicBezTo>
                  <a:cubicBezTo>
                    <a:pt x="421" y="518"/>
                    <a:pt x="421" y="520"/>
                    <a:pt x="421" y="523"/>
                  </a:cubicBezTo>
                  <a:cubicBezTo>
                    <a:pt x="422" y="525"/>
                    <a:pt x="423" y="527"/>
                    <a:pt x="425" y="528"/>
                  </a:cubicBezTo>
                  <a:cubicBezTo>
                    <a:pt x="427" y="528"/>
                    <a:pt x="428" y="528"/>
                    <a:pt x="430" y="529"/>
                  </a:cubicBezTo>
                  <a:cubicBezTo>
                    <a:pt x="432" y="529"/>
                    <a:pt x="433" y="531"/>
                    <a:pt x="431" y="532"/>
                  </a:cubicBezTo>
                  <a:cubicBezTo>
                    <a:pt x="428" y="535"/>
                    <a:pt x="426" y="538"/>
                    <a:pt x="426" y="543"/>
                  </a:cubicBezTo>
                  <a:cubicBezTo>
                    <a:pt x="426" y="545"/>
                    <a:pt x="424" y="545"/>
                    <a:pt x="422" y="545"/>
                  </a:cubicBezTo>
                  <a:cubicBezTo>
                    <a:pt x="420" y="546"/>
                    <a:pt x="420" y="547"/>
                    <a:pt x="421" y="549"/>
                  </a:cubicBezTo>
                  <a:cubicBezTo>
                    <a:pt x="425" y="553"/>
                    <a:pt x="425" y="554"/>
                    <a:pt x="420" y="556"/>
                  </a:cubicBezTo>
                  <a:cubicBezTo>
                    <a:pt x="419" y="557"/>
                    <a:pt x="418" y="557"/>
                    <a:pt x="418" y="558"/>
                  </a:cubicBezTo>
                  <a:cubicBezTo>
                    <a:pt x="419" y="562"/>
                    <a:pt x="422" y="564"/>
                    <a:pt x="425" y="563"/>
                  </a:cubicBezTo>
                  <a:cubicBezTo>
                    <a:pt x="429" y="562"/>
                    <a:pt x="432" y="561"/>
                    <a:pt x="436" y="561"/>
                  </a:cubicBezTo>
                  <a:cubicBezTo>
                    <a:pt x="437" y="561"/>
                    <a:pt x="437" y="561"/>
                    <a:pt x="438" y="561"/>
                  </a:cubicBezTo>
                  <a:cubicBezTo>
                    <a:pt x="438" y="562"/>
                    <a:pt x="438" y="563"/>
                    <a:pt x="437" y="564"/>
                  </a:cubicBezTo>
                  <a:cubicBezTo>
                    <a:pt x="436" y="565"/>
                    <a:pt x="434" y="567"/>
                    <a:pt x="433" y="568"/>
                  </a:cubicBezTo>
                  <a:cubicBezTo>
                    <a:pt x="429" y="571"/>
                    <a:pt x="428" y="574"/>
                    <a:pt x="428" y="578"/>
                  </a:cubicBezTo>
                  <a:cubicBezTo>
                    <a:pt x="428" y="579"/>
                    <a:pt x="430" y="579"/>
                    <a:pt x="430" y="580"/>
                  </a:cubicBezTo>
                  <a:cubicBezTo>
                    <a:pt x="430" y="580"/>
                    <a:pt x="430" y="580"/>
                    <a:pt x="430" y="580"/>
                  </a:cubicBezTo>
                  <a:cubicBezTo>
                    <a:pt x="430" y="580"/>
                    <a:pt x="430" y="580"/>
                    <a:pt x="430" y="580"/>
                  </a:cubicBezTo>
                  <a:cubicBezTo>
                    <a:pt x="430" y="580"/>
                    <a:pt x="430" y="580"/>
                    <a:pt x="431" y="580"/>
                  </a:cubicBezTo>
                  <a:cubicBezTo>
                    <a:pt x="431" y="579"/>
                    <a:pt x="431" y="579"/>
                    <a:pt x="431" y="579"/>
                  </a:cubicBezTo>
                  <a:cubicBezTo>
                    <a:pt x="432" y="579"/>
                    <a:pt x="431" y="580"/>
                    <a:pt x="431" y="580"/>
                  </a:cubicBezTo>
                  <a:cubicBezTo>
                    <a:pt x="431" y="580"/>
                    <a:pt x="430" y="580"/>
                    <a:pt x="430" y="580"/>
                  </a:cubicBezTo>
                  <a:cubicBezTo>
                    <a:pt x="433" y="583"/>
                    <a:pt x="436" y="586"/>
                    <a:pt x="438" y="588"/>
                  </a:cubicBezTo>
                  <a:cubicBezTo>
                    <a:pt x="440" y="590"/>
                    <a:pt x="440" y="592"/>
                    <a:pt x="440" y="594"/>
                  </a:cubicBezTo>
                  <a:cubicBezTo>
                    <a:pt x="439" y="595"/>
                    <a:pt x="438" y="597"/>
                    <a:pt x="437" y="599"/>
                  </a:cubicBezTo>
                  <a:cubicBezTo>
                    <a:pt x="437" y="599"/>
                    <a:pt x="437" y="599"/>
                    <a:pt x="437" y="599"/>
                  </a:cubicBezTo>
                  <a:cubicBezTo>
                    <a:pt x="437" y="599"/>
                    <a:pt x="437" y="599"/>
                    <a:pt x="437" y="599"/>
                  </a:cubicBezTo>
                  <a:cubicBezTo>
                    <a:pt x="437" y="599"/>
                    <a:pt x="437" y="599"/>
                    <a:pt x="437" y="599"/>
                  </a:cubicBezTo>
                  <a:cubicBezTo>
                    <a:pt x="437" y="600"/>
                    <a:pt x="436" y="602"/>
                    <a:pt x="437" y="603"/>
                  </a:cubicBezTo>
                  <a:cubicBezTo>
                    <a:pt x="438" y="606"/>
                    <a:pt x="438" y="608"/>
                    <a:pt x="436" y="611"/>
                  </a:cubicBezTo>
                  <a:cubicBezTo>
                    <a:pt x="436" y="611"/>
                    <a:pt x="435" y="611"/>
                    <a:pt x="435" y="612"/>
                  </a:cubicBezTo>
                  <a:cubicBezTo>
                    <a:pt x="440" y="621"/>
                    <a:pt x="440" y="621"/>
                    <a:pt x="440" y="621"/>
                  </a:cubicBezTo>
                  <a:cubicBezTo>
                    <a:pt x="443" y="622"/>
                    <a:pt x="446" y="624"/>
                    <a:pt x="448" y="627"/>
                  </a:cubicBezTo>
                  <a:cubicBezTo>
                    <a:pt x="450" y="629"/>
                    <a:pt x="452" y="631"/>
                    <a:pt x="455" y="632"/>
                  </a:cubicBezTo>
                  <a:cubicBezTo>
                    <a:pt x="458" y="633"/>
                    <a:pt x="460" y="634"/>
                    <a:pt x="463" y="636"/>
                  </a:cubicBezTo>
                  <a:cubicBezTo>
                    <a:pt x="464" y="636"/>
                    <a:pt x="465" y="638"/>
                    <a:pt x="465" y="639"/>
                  </a:cubicBezTo>
                  <a:cubicBezTo>
                    <a:pt x="463" y="643"/>
                    <a:pt x="463" y="646"/>
                    <a:pt x="464" y="649"/>
                  </a:cubicBezTo>
                  <a:cubicBezTo>
                    <a:pt x="464" y="650"/>
                    <a:pt x="465" y="651"/>
                    <a:pt x="466" y="652"/>
                  </a:cubicBezTo>
                  <a:cubicBezTo>
                    <a:pt x="467" y="652"/>
                    <a:pt x="467" y="652"/>
                    <a:pt x="467" y="652"/>
                  </a:cubicBezTo>
                  <a:cubicBezTo>
                    <a:pt x="467" y="652"/>
                    <a:pt x="467" y="652"/>
                    <a:pt x="467" y="652"/>
                  </a:cubicBezTo>
                  <a:cubicBezTo>
                    <a:pt x="466" y="652"/>
                    <a:pt x="466" y="652"/>
                    <a:pt x="466" y="652"/>
                  </a:cubicBezTo>
                  <a:cubicBezTo>
                    <a:pt x="466" y="652"/>
                    <a:pt x="466" y="652"/>
                    <a:pt x="466" y="652"/>
                  </a:cubicBezTo>
                  <a:cubicBezTo>
                    <a:pt x="466" y="653"/>
                    <a:pt x="467" y="654"/>
                    <a:pt x="467" y="655"/>
                  </a:cubicBezTo>
                  <a:cubicBezTo>
                    <a:pt x="468" y="655"/>
                    <a:pt x="470" y="656"/>
                    <a:pt x="471" y="656"/>
                  </a:cubicBezTo>
                  <a:cubicBezTo>
                    <a:pt x="473" y="656"/>
                    <a:pt x="475" y="657"/>
                    <a:pt x="476" y="660"/>
                  </a:cubicBezTo>
                  <a:cubicBezTo>
                    <a:pt x="477" y="663"/>
                    <a:pt x="478" y="666"/>
                    <a:pt x="480" y="670"/>
                  </a:cubicBezTo>
                  <a:cubicBezTo>
                    <a:pt x="482" y="673"/>
                    <a:pt x="481" y="676"/>
                    <a:pt x="479" y="678"/>
                  </a:cubicBezTo>
                  <a:cubicBezTo>
                    <a:pt x="479" y="679"/>
                    <a:pt x="478" y="680"/>
                    <a:pt x="477" y="681"/>
                  </a:cubicBezTo>
                  <a:cubicBezTo>
                    <a:pt x="476" y="682"/>
                    <a:pt x="474" y="683"/>
                    <a:pt x="473" y="683"/>
                  </a:cubicBezTo>
                  <a:cubicBezTo>
                    <a:pt x="468" y="681"/>
                    <a:pt x="463" y="681"/>
                    <a:pt x="460" y="677"/>
                  </a:cubicBezTo>
                  <a:cubicBezTo>
                    <a:pt x="460" y="677"/>
                    <a:pt x="460" y="677"/>
                    <a:pt x="460" y="677"/>
                  </a:cubicBezTo>
                  <a:cubicBezTo>
                    <a:pt x="460" y="677"/>
                    <a:pt x="460" y="677"/>
                    <a:pt x="460" y="677"/>
                  </a:cubicBezTo>
                  <a:cubicBezTo>
                    <a:pt x="462" y="677"/>
                    <a:pt x="463" y="678"/>
                    <a:pt x="465" y="678"/>
                  </a:cubicBezTo>
                  <a:cubicBezTo>
                    <a:pt x="468" y="678"/>
                    <a:pt x="470" y="676"/>
                    <a:pt x="470" y="673"/>
                  </a:cubicBezTo>
                  <a:cubicBezTo>
                    <a:pt x="470" y="667"/>
                    <a:pt x="469" y="661"/>
                    <a:pt x="467" y="655"/>
                  </a:cubicBezTo>
                  <a:cubicBezTo>
                    <a:pt x="464" y="654"/>
                    <a:pt x="462" y="653"/>
                    <a:pt x="461" y="651"/>
                  </a:cubicBezTo>
                  <a:cubicBezTo>
                    <a:pt x="460" y="648"/>
                    <a:pt x="459" y="646"/>
                    <a:pt x="459" y="643"/>
                  </a:cubicBezTo>
                  <a:cubicBezTo>
                    <a:pt x="457" y="637"/>
                    <a:pt x="454" y="634"/>
                    <a:pt x="448" y="632"/>
                  </a:cubicBezTo>
                  <a:cubicBezTo>
                    <a:pt x="443" y="631"/>
                    <a:pt x="440" y="629"/>
                    <a:pt x="436" y="626"/>
                  </a:cubicBezTo>
                  <a:cubicBezTo>
                    <a:pt x="434" y="625"/>
                    <a:pt x="432" y="623"/>
                    <a:pt x="430" y="622"/>
                  </a:cubicBezTo>
                  <a:cubicBezTo>
                    <a:pt x="429" y="621"/>
                    <a:pt x="427" y="621"/>
                    <a:pt x="425" y="620"/>
                  </a:cubicBezTo>
                  <a:cubicBezTo>
                    <a:pt x="424" y="620"/>
                    <a:pt x="422" y="622"/>
                    <a:pt x="422" y="623"/>
                  </a:cubicBezTo>
                  <a:cubicBezTo>
                    <a:pt x="423" y="626"/>
                    <a:pt x="424" y="629"/>
                    <a:pt x="423" y="632"/>
                  </a:cubicBezTo>
                  <a:cubicBezTo>
                    <a:pt x="423" y="634"/>
                    <a:pt x="424" y="635"/>
                    <a:pt x="425" y="637"/>
                  </a:cubicBezTo>
                  <a:cubicBezTo>
                    <a:pt x="427" y="640"/>
                    <a:pt x="430" y="642"/>
                    <a:pt x="432" y="645"/>
                  </a:cubicBezTo>
                  <a:cubicBezTo>
                    <a:pt x="439" y="654"/>
                    <a:pt x="447" y="662"/>
                    <a:pt x="453" y="671"/>
                  </a:cubicBezTo>
                  <a:cubicBezTo>
                    <a:pt x="454" y="672"/>
                    <a:pt x="456" y="673"/>
                    <a:pt x="457" y="674"/>
                  </a:cubicBezTo>
                  <a:cubicBezTo>
                    <a:pt x="457" y="674"/>
                    <a:pt x="457" y="674"/>
                    <a:pt x="457" y="674"/>
                  </a:cubicBezTo>
                  <a:cubicBezTo>
                    <a:pt x="457" y="674"/>
                    <a:pt x="457" y="674"/>
                    <a:pt x="457" y="674"/>
                  </a:cubicBezTo>
                  <a:cubicBezTo>
                    <a:pt x="453" y="676"/>
                    <a:pt x="450" y="679"/>
                    <a:pt x="450" y="684"/>
                  </a:cubicBezTo>
                  <a:cubicBezTo>
                    <a:pt x="450" y="690"/>
                    <a:pt x="449" y="697"/>
                    <a:pt x="450" y="704"/>
                  </a:cubicBezTo>
                  <a:cubicBezTo>
                    <a:pt x="450" y="712"/>
                    <a:pt x="448" y="720"/>
                    <a:pt x="445" y="728"/>
                  </a:cubicBezTo>
                  <a:cubicBezTo>
                    <a:pt x="442" y="737"/>
                    <a:pt x="438" y="745"/>
                    <a:pt x="436" y="753"/>
                  </a:cubicBezTo>
                  <a:cubicBezTo>
                    <a:pt x="434" y="761"/>
                    <a:pt x="431" y="769"/>
                    <a:pt x="426" y="776"/>
                  </a:cubicBezTo>
                  <a:cubicBezTo>
                    <a:pt x="421" y="783"/>
                    <a:pt x="420" y="790"/>
                    <a:pt x="420" y="797"/>
                  </a:cubicBezTo>
                  <a:cubicBezTo>
                    <a:pt x="420" y="799"/>
                    <a:pt x="420" y="800"/>
                    <a:pt x="420" y="802"/>
                  </a:cubicBezTo>
                  <a:cubicBezTo>
                    <a:pt x="420" y="810"/>
                    <a:pt x="419" y="818"/>
                    <a:pt x="414" y="826"/>
                  </a:cubicBezTo>
                  <a:cubicBezTo>
                    <a:pt x="412" y="828"/>
                    <a:pt x="412" y="831"/>
                    <a:pt x="413" y="833"/>
                  </a:cubicBezTo>
                  <a:cubicBezTo>
                    <a:pt x="416" y="838"/>
                    <a:pt x="417" y="844"/>
                    <a:pt x="415" y="850"/>
                  </a:cubicBezTo>
                  <a:cubicBezTo>
                    <a:pt x="414" y="852"/>
                    <a:pt x="415" y="855"/>
                    <a:pt x="415" y="858"/>
                  </a:cubicBezTo>
                  <a:cubicBezTo>
                    <a:pt x="415" y="859"/>
                    <a:pt x="415" y="861"/>
                    <a:pt x="416" y="862"/>
                  </a:cubicBezTo>
                  <a:cubicBezTo>
                    <a:pt x="418" y="866"/>
                    <a:pt x="420" y="871"/>
                    <a:pt x="422" y="875"/>
                  </a:cubicBezTo>
                  <a:cubicBezTo>
                    <a:pt x="422" y="876"/>
                    <a:pt x="424" y="877"/>
                    <a:pt x="425" y="878"/>
                  </a:cubicBezTo>
                  <a:cubicBezTo>
                    <a:pt x="428" y="880"/>
                    <a:pt x="428" y="880"/>
                    <a:pt x="428" y="882"/>
                  </a:cubicBezTo>
                  <a:cubicBezTo>
                    <a:pt x="427" y="883"/>
                    <a:pt x="426" y="885"/>
                    <a:pt x="426" y="886"/>
                  </a:cubicBezTo>
                  <a:cubicBezTo>
                    <a:pt x="425" y="888"/>
                    <a:pt x="425" y="890"/>
                    <a:pt x="426" y="891"/>
                  </a:cubicBezTo>
                  <a:cubicBezTo>
                    <a:pt x="427" y="895"/>
                    <a:pt x="430" y="899"/>
                    <a:pt x="428" y="904"/>
                  </a:cubicBezTo>
                  <a:cubicBezTo>
                    <a:pt x="427" y="906"/>
                    <a:pt x="428" y="907"/>
                    <a:pt x="429" y="909"/>
                  </a:cubicBezTo>
                  <a:cubicBezTo>
                    <a:pt x="431" y="915"/>
                    <a:pt x="434" y="920"/>
                    <a:pt x="437" y="926"/>
                  </a:cubicBezTo>
                  <a:cubicBezTo>
                    <a:pt x="438" y="929"/>
                    <a:pt x="439" y="932"/>
                    <a:pt x="439" y="935"/>
                  </a:cubicBezTo>
                  <a:cubicBezTo>
                    <a:pt x="438" y="939"/>
                    <a:pt x="440" y="940"/>
                    <a:pt x="442" y="941"/>
                  </a:cubicBezTo>
                  <a:cubicBezTo>
                    <a:pt x="452" y="942"/>
                    <a:pt x="459" y="948"/>
                    <a:pt x="467" y="953"/>
                  </a:cubicBezTo>
                  <a:cubicBezTo>
                    <a:pt x="474" y="957"/>
                    <a:pt x="478" y="962"/>
                    <a:pt x="478" y="969"/>
                  </a:cubicBezTo>
                  <a:cubicBezTo>
                    <a:pt x="478" y="975"/>
                    <a:pt x="480" y="980"/>
                    <a:pt x="482" y="986"/>
                  </a:cubicBezTo>
                  <a:cubicBezTo>
                    <a:pt x="485" y="996"/>
                    <a:pt x="489" y="1004"/>
                    <a:pt x="491" y="1014"/>
                  </a:cubicBezTo>
                  <a:cubicBezTo>
                    <a:pt x="491" y="1018"/>
                    <a:pt x="493" y="1020"/>
                    <a:pt x="496" y="1022"/>
                  </a:cubicBezTo>
                  <a:cubicBezTo>
                    <a:pt x="501" y="1026"/>
                    <a:pt x="504" y="1032"/>
                    <a:pt x="507" y="1037"/>
                  </a:cubicBezTo>
                  <a:cubicBezTo>
                    <a:pt x="509" y="1040"/>
                    <a:pt x="509" y="1043"/>
                    <a:pt x="507" y="1046"/>
                  </a:cubicBezTo>
                  <a:cubicBezTo>
                    <a:pt x="506" y="1048"/>
                    <a:pt x="504" y="1049"/>
                    <a:pt x="501" y="1049"/>
                  </a:cubicBezTo>
                  <a:cubicBezTo>
                    <a:pt x="501" y="1049"/>
                    <a:pt x="500" y="1049"/>
                    <a:pt x="500" y="1049"/>
                  </a:cubicBezTo>
                  <a:cubicBezTo>
                    <a:pt x="498" y="1049"/>
                    <a:pt x="497" y="1051"/>
                    <a:pt x="498" y="1053"/>
                  </a:cubicBezTo>
                  <a:cubicBezTo>
                    <a:pt x="501" y="1057"/>
                    <a:pt x="504" y="1061"/>
                    <a:pt x="509" y="1064"/>
                  </a:cubicBezTo>
                  <a:cubicBezTo>
                    <a:pt x="516" y="1066"/>
                    <a:pt x="521" y="1071"/>
                    <a:pt x="526" y="1076"/>
                  </a:cubicBezTo>
                  <a:cubicBezTo>
                    <a:pt x="528" y="1078"/>
                    <a:pt x="529" y="1080"/>
                    <a:pt x="529" y="1083"/>
                  </a:cubicBezTo>
                  <a:cubicBezTo>
                    <a:pt x="529" y="1086"/>
                    <a:pt x="529" y="1088"/>
                    <a:pt x="528" y="1091"/>
                  </a:cubicBezTo>
                  <a:cubicBezTo>
                    <a:pt x="527" y="1094"/>
                    <a:pt x="529" y="1097"/>
                    <a:pt x="531" y="1099"/>
                  </a:cubicBezTo>
                  <a:cubicBezTo>
                    <a:pt x="539" y="1107"/>
                    <a:pt x="549" y="1113"/>
                    <a:pt x="554" y="1123"/>
                  </a:cubicBezTo>
                  <a:cubicBezTo>
                    <a:pt x="555" y="1125"/>
                    <a:pt x="558" y="1125"/>
                    <a:pt x="560" y="1124"/>
                  </a:cubicBezTo>
                  <a:cubicBezTo>
                    <a:pt x="562" y="1122"/>
                    <a:pt x="564" y="1119"/>
                    <a:pt x="563" y="1117"/>
                  </a:cubicBezTo>
                  <a:cubicBezTo>
                    <a:pt x="562" y="1113"/>
                    <a:pt x="560" y="1110"/>
                    <a:pt x="557" y="1107"/>
                  </a:cubicBezTo>
                  <a:cubicBezTo>
                    <a:pt x="555" y="1105"/>
                    <a:pt x="548" y="1094"/>
                    <a:pt x="547" y="1091"/>
                  </a:cubicBezTo>
                  <a:cubicBezTo>
                    <a:pt x="547" y="1089"/>
                    <a:pt x="545" y="1086"/>
                    <a:pt x="545" y="1084"/>
                  </a:cubicBezTo>
                  <a:cubicBezTo>
                    <a:pt x="544" y="1080"/>
                    <a:pt x="544" y="1075"/>
                    <a:pt x="543" y="1071"/>
                  </a:cubicBezTo>
                  <a:cubicBezTo>
                    <a:pt x="542" y="1067"/>
                    <a:pt x="537" y="1064"/>
                    <a:pt x="535" y="1060"/>
                  </a:cubicBezTo>
                  <a:cubicBezTo>
                    <a:pt x="532" y="1053"/>
                    <a:pt x="529" y="1046"/>
                    <a:pt x="525" y="1040"/>
                  </a:cubicBezTo>
                  <a:cubicBezTo>
                    <a:pt x="521" y="1033"/>
                    <a:pt x="518" y="1026"/>
                    <a:pt x="512" y="1020"/>
                  </a:cubicBezTo>
                  <a:cubicBezTo>
                    <a:pt x="511" y="1019"/>
                    <a:pt x="511" y="1017"/>
                    <a:pt x="510" y="1016"/>
                  </a:cubicBezTo>
                  <a:cubicBezTo>
                    <a:pt x="509" y="1008"/>
                    <a:pt x="508" y="1000"/>
                    <a:pt x="510" y="992"/>
                  </a:cubicBezTo>
                  <a:cubicBezTo>
                    <a:pt x="511" y="991"/>
                    <a:pt x="512" y="990"/>
                    <a:pt x="513" y="991"/>
                  </a:cubicBezTo>
                  <a:cubicBezTo>
                    <a:pt x="516" y="992"/>
                    <a:pt x="519" y="993"/>
                    <a:pt x="522" y="995"/>
                  </a:cubicBezTo>
                  <a:cubicBezTo>
                    <a:pt x="525" y="996"/>
                    <a:pt x="527" y="998"/>
                    <a:pt x="528" y="1002"/>
                  </a:cubicBezTo>
                  <a:cubicBezTo>
                    <a:pt x="529" y="1008"/>
                    <a:pt x="530" y="1015"/>
                    <a:pt x="532" y="1022"/>
                  </a:cubicBezTo>
                  <a:cubicBezTo>
                    <a:pt x="536" y="1031"/>
                    <a:pt x="542" y="1040"/>
                    <a:pt x="549" y="1049"/>
                  </a:cubicBezTo>
                  <a:cubicBezTo>
                    <a:pt x="550" y="1050"/>
                    <a:pt x="552" y="1052"/>
                    <a:pt x="552" y="1054"/>
                  </a:cubicBezTo>
                  <a:cubicBezTo>
                    <a:pt x="554" y="1059"/>
                    <a:pt x="557" y="1062"/>
                    <a:pt x="561" y="1065"/>
                  </a:cubicBezTo>
                  <a:cubicBezTo>
                    <a:pt x="564" y="1067"/>
                    <a:pt x="566" y="1069"/>
                    <a:pt x="568" y="1071"/>
                  </a:cubicBezTo>
                  <a:cubicBezTo>
                    <a:pt x="570" y="1072"/>
                    <a:pt x="570" y="1074"/>
                    <a:pt x="569" y="1075"/>
                  </a:cubicBezTo>
                  <a:cubicBezTo>
                    <a:pt x="568" y="1076"/>
                    <a:pt x="568" y="1077"/>
                    <a:pt x="567" y="1078"/>
                  </a:cubicBezTo>
                  <a:cubicBezTo>
                    <a:pt x="566" y="1080"/>
                    <a:pt x="566" y="1083"/>
                    <a:pt x="568" y="1085"/>
                  </a:cubicBezTo>
                  <a:cubicBezTo>
                    <a:pt x="571" y="1087"/>
                    <a:pt x="574" y="1089"/>
                    <a:pt x="578" y="1091"/>
                  </a:cubicBezTo>
                  <a:cubicBezTo>
                    <a:pt x="582" y="1093"/>
                    <a:pt x="584" y="1095"/>
                    <a:pt x="584" y="1099"/>
                  </a:cubicBezTo>
                  <a:cubicBezTo>
                    <a:pt x="584" y="1101"/>
                    <a:pt x="586" y="1103"/>
                    <a:pt x="588" y="1104"/>
                  </a:cubicBezTo>
                  <a:cubicBezTo>
                    <a:pt x="605" y="1121"/>
                    <a:pt x="609" y="1129"/>
                    <a:pt x="614" y="1148"/>
                  </a:cubicBezTo>
                  <a:cubicBezTo>
                    <a:pt x="615" y="1150"/>
                    <a:pt x="615" y="1151"/>
                    <a:pt x="614" y="1153"/>
                  </a:cubicBezTo>
                  <a:cubicBezTo>
                    <a:pt x="614" y="1155"/>
                    <a:pt x="613" y="1157"/>
                    <a:pt x="611" y="1158"/>
                  </a:cubicBezTo>
                  <a:cubicBezTo>
                    <a:pt x="608" y="1164"/>
                    <a:pt x="609" y="1168"/>
                    <a:pt x="612" y="1173"/>
                  </a:cubicBezTo>
                  <a:cubicBezTo>
                    <a:pt x="614" y="1177"/>
                    <a:pt x="618" y="1181"/>
                    <a:pt x="623" y="1182"/>
                  </a:cubicBezTo>
                  <a:cubicBezTo>
                    <a:pt x="628" y="1184"/>
                    <a:pt x="631" y="1187"/>
                    <a:pt x="634" y="1191"/>
                  </a:cubicBezTo>
                  <a:cubicBezTo>
                    <a:pt x="637" y="1195"/>
                    <a:pt x="642" y="1197"/>
                    <a:pt x="647" y="1198"/>
                  </a:cubicBezTo>
                  <a:cubicBezTo>
                    <a:pt x="649" y="1198"/>
                    <a:pt x="651" y="1199"/>
                    <a:pt x="653" y="1199"/>
                  </a:cubicBezTo>
                  <a:cubicBezTo>
                    <a:pt x="655" y="1200"/>
                    <a:pt x="657" y="1200"/>
                    <a:pt x="659" y="1202"/>
                  </a:cubicBezTo>
                  <a:cubicBezTo>
                    <a:pt x="666" y="1208"/>
                    <a:pt x="674" y="1212"/>
                    <a:pt x="683" y="1215"/>
                  </a:cubicBezTo>
                  <a:cubicBezTo>
                    <a:pt x="688" y="1216"/>
                    <a:pt x="692" y="1218"/>
                    <a:pt x="697" y="1220"/>
                  </a:cubicBezTo>
                  <a:cubicBezTo>
                    <a:pt x="701" y="1223"/>
                    <a:pt x="707" y="1225"/>
                    <a:pt x="712" y="1226"/>
                  </a:cubicBezTo>
                  <a:cubicBezTo>
                    <a:pt x="730" y="1231"/>
                    <a:pt x="730" y="1231"/>
                    <a:pt x="748" y="1225"/>
                  </a:cubicBezTo>
                  <a:cubicBezTo>
                    <a:pt x="754" y="1223"/>
                    <a:pt x="759" y="1224"/>
                    <a:pt x="762" y="1227"/>
                  </a:cubicBezTo>
                  <a:cubicBezTo>
                    <a:pt x="771" y="1235"/>
                    <a:pt x="781" y="1240"/>
                    <a:pt x="788" y="1249"/>
                  </a:cubicBezTo>
                  <a:cubicBezTo>
                    <a:pt x="791" y="1253"/>
                    <a:pt x="796" y="1255"/>
                    <a:pt x="801" y="1255"/>
                  </a:cubicBezTo>
                  <a:cubicBezTo>
                    <a:pt x="808" y="1256"/>
                    <a:pt x="815" y="1258"/>
                    <a:pt x="822" y="1260"/>
                  </a:cubicBezTo>
                  <a:cubicBezTo>
                    <a:pt x="829" y="1263"/>
                    <a:pt x="837" y="1266"/>
                    <a:pt x="846" y="1265"/>
                  </a:cubicBezTo>
                  <a:cubicBezTo>
                    <a:pt x="847" y="1265"/>
                    <a:pt x="849" y="1266"/>
                    <a:pt x="849" y="1268"/>
                  </a:cubicBezTo>
                  <a:cubicBezTo>
                    <a:pt x="851" y="1272"/>
                    <a:pt x="855" y="1275"/>
                    <a:pt x="858" y="1279"/>
                  </a:cubicBezTo>
                  <a:cubicBezTo>
                    <a:pt x="862" y="1283"/>
                    <a:pt x="866" y="1287"/>
                    <a:pt x="869" y="1291"/>
                  </a:cubicBezTo>
                  <a:cubicBezTo>
                    <a:pt x="871" y="1293"/>
                    <a:pt x="872" y="1296"/>
                    <a:pt x="871" y="1300"/>
                  </a:cubicBezTo>
                  <a:cubicBezTo>
                    <a:pt x="869" y="1305"/>
                    <a:pt x="872" y="1308"/>
                    <a:pt x="877" y="1309"/>
                  </a:cubicBezTo>
                  <a:cubicBezTo>
                    <a:pt x="879" y="1309"/>
                    <a:pt x="881" y="1310"/>
                    <a:pt x="883" y="1310"/>
                  </a:cubicBezTo>
                  <a:cubicBezTo>
                    <a:pt x="885" y="1310"/>
                    <a:pt x="887" y="1310"/>
                    <a:pt x="888" y="1311"/>
                  </a:cubicBezTo>
                  <a:cubicBezTo>
                    <a:pt x="892" y="1314"/>
                    <a:pt x="896" y="1317"/>
                    <a:pt x="897" y="1322"/>
                  </a:cubicBezTo>
                  <a:cubicBezTo>
                    <a:pt x="899" y="1327"/>
                    <a:pt x="903" y="1329"/>
                    <a:pt x="908" y="1330"/>
                  </a:cubicBezTo>
                  <a:cubicBezTo>
                    <a:pt x="910" y="1330"/>
                    <a:pt x="912" y="1330"/>
                    <a:pt x="913" y="1329"/>
                  </a:cubicBezTo>
                  <a:cubicBezTo>
                    <a:pt x="919" y="1327"/>
                    <a:pt x="923" y="1329"/>
                    <a:pt x="927" y="1333"/>
                  </a:cubicBezTo>
                  <a:cubicBezTo>
                    <a:pt x="930" y="1336"/>
                    <a:pt x="934" y="1337"/>
                    <a:pt x="937" y="1340"/>
                  </a:cubicBezTo>
                  <a:cubicBezTo>
                    <a:pt x="941" y="1343"/>
                    <a:pt x="943" y="1343"/>
                    <a:pt x="947" y="1339"/>
                  </a:cubicBezTo>
                  <a:cubicBezTo>
                    <a:pt x="949" y="1338"/>
                    <a:pt x="950" y="1336"/>
                    <a:pt x="949" y="1334"/>
                  </a:cubicBezTo>
                  <a:cubicBezTo>
                    <a:pt x="948" y="1333"/>
                    <a:pt x="947" y="1331"/>
                    <a:pt x="949" y="1330"/>
                  </a:cubicBezTo>
                  <a:cubicBezTo>
                    <a:pt x="953" y="1327"/>
                    <a:pt x="955" y="1323"/>
                    <a:pt x="959" y="1319"/>
                  </a:cubicBezTo>
                  <a:cubicBezTo>
                    <a:pt x="959" y="1319"/>
                    <a:pt x="962" y="1319"/>
                    <a:pt x="963" y="1319"/>
                  </a:cubicBezTo>
                  <a:cubicBezTo>
                    <a:pt x="968" y="1321"/>
                    <a:pt x="971" y="1325"/>
                    <a:pt x="972" y="1330"/>
                  </a:cubicBezTo>
                  <a:cubicBezTo>
                    <a:pt x="972" y="1334"/>
                    <a:pt x="973" y="1337"/>
                    <a:pt x="976" y="1340"/>
                  </a:cubicBezTo>
                  <a:cubicBezTo>
                    <a:pt x="979" y="1344"/>
                    <a:pt x="979" y="1349"/>
                    <a:pt x="983" y="1352"/>
                  </a:cubicBezTo>
                  <a:cubicBezTo>
                    <a:pt x="984" y="1353"/>
                    <a:pt x="984" y="1355"/>
                    <a:pt x="984" y="1356"/>
                  </a:cubicBezTo>
                  <a:cubicBezTo>
                    <a:pt x="984" y="1363"/>
                    <a:pt x="985" y="1370"/>
                    <a:pt x="984" y="1377"/>
                  </a:cubicBezTo>
                  <a:cubicBezTo>
                    <a:pt x="984" y="1381"/>
                    <a:pt x="984" y="1384"/>
                    <a:pt x="986" y="1387"/>
                  </a:cubicBezTo>
                  <a:cubicBezTo>
                    <a:pt x="988" y="1388"/>
                    <a:pt x="987" y="1390"/>
                    <a:pt x="986" y="1391"/>
                  </a:cubicBezTo>
                  <a:cubicBezTo>
                    <a:pt x="983" y="1396"/>
                    <a:pt x="980" y="1401"/>
                    <a:pt x="974" y="1403"/>
                  </a:cubicBezTo>
                  <a:cubicBezTo>
                    <a:pt x="968" y="1406"/>
                    <a:pt x="964" y="1410"/>
                    <a:pt x="963" y="1416"/>
                  </a:cubicBezTo>
                  <a:cubicBezTo>
                    <a:pt x="962" y="1419"/>
                    <a:pt x="960" y="1422"/>
                    <a:pt x="957" y="1423"/>
                  </a:cubicBezTo>
                  <a:cubicBezTo>
                    <a:pt x="954" y="1425"/>
                    <a:pt x="951" y="1426"/>
                    <a:pt x="948" y="1428"/>
                  </a:cubicBezTo>
                  <a:cubicBezTo>
                    <a:pt x="947" y="1428"/>
                    <a:pt x="946" y="1429"/>
                    <a:pt x="946" y="1430"/>
                  </a:cubicBezTo>
                  <a:cubicBezTo>
                    <a:pt x="943" y="1443"/>
                    <a:pt x="943" y="1443"/>
                    <a:pt x="938" y="1452"/>
                  </a:cubicBezTo>
                  <a:cubicBezTo>
                    <a:pt x="937" y="1453"/>
                    <a:pt x="936" y="1454"/>
                    <a:pt x="936" y="1454"/>
                  </a:cubicBezTo>
                  <a:cubicBezTo>
                    <a:pt x="936" y="1460"/>
                    <a:pt x="935" y="1465"/>
                    <a:pt x="936" y="1470"/>
                  </a:cubicBezTo>
                  <a:cubicBezTo>
                    <a:pt x="936" y="1474"/>
                    <a:pt x="941" y="1476"/>
                    <a:pt x="945" y="1478"/>
                  </a:cubicBezTo>
                  <a:cubicBezTo>
                    <a:pt x="945" y="1478"/>
                    <a:pt x="946" y="1478"/>
                    <a:pt x="946" y="1477"/>
                  </a:cubicBezTo>
                  <a:cubicBezTo>
                    <a:pt x="947" y="1477"/>
                    <a:pt x="947" y="1476"/>
                    <a:pt x="948" y="1475"/>
                  </a:cubicBezTo>
                  <a:cubicBezTo>
                    <a:pt x="948" y="1476"/>
                    <a:pt x="949" y="1477"/>
                    <a:pt x="949" y="1477"/>
                  </a:cubicBezTo>
                  <a:cubicBezTo>
                    <a:pt x="949" y="1480"/>
                    <a:pt x="948" y="1483"/>
                    <a:pt x="945" y="1484"/>
                  </a:cubicBezTo>
                  <a:cubicBezTo>
                    <a:pt x="942" y="1487"/>
                    <a:pt x="939" y="1488"/>
                    <a:pt x="936" y="1491"/>
                  </a:cubicBezTo>
                  <a:cubicBezTo>
                    <a:pt x="932" y="1494"/>
                    <a:pt x="929" y="1499"/>
                    <a:pt x="931" y="1504"/>
                  </a:cubicBezTo>
                  <a:cubicBezTo>
                    <a:pt x="932" y="1507"/>
                    <a:pt x="932" y="1509"/>
                    <a:pt x="933" y="1512"/>
                  </a:cubicBezTo>
                  <a:cubicBezTo>
                    <a:pt x="933" y="1513"/>
                    <a:pt x="933" y="1515"/>
                    <a:pt x="932" y="1517"/>
                  </a:cubicBezTo>
                  <a:cubicBezTo>
                    <a:pt x="931" y="1520"/>
                    <a:pt x="932" y="1522"/>
                    <a:pt x="935" y="1523"/>
                  </a:cubicBezTo>
                  <a:cubicBezTo>
                    <a:pt x="938" y="1525"/>
                    <a:pt x="941" y="1527"/>
                    <a:pt x="945" y="1528"/>
                  </a:cubicBezTo>
                  <a:cubicBezTo>
                    <a:pt x="949" y="1530"/>
                    <a:pt x="952" y="1533"/>
                    <a:pt x="954" y="1537"/>
                  </a:cubicBezTo>
                  <a:cubicBezTo>
                    <a:pt x="955" y="1541"/>
                    <a:pt x="958" y="1543"/>
                    <a:pt x="961" y="1546"/>
                  </a:cubicBezTo>
                  <a:cubicBezTo>
                    <a:pt x="962" y="1547"/>
                    <a:pt x="964" y="1549"/>
                    <a:pt x="964" y="1551"/>
                  </a:cubicBezTo>
                  <a:cubicBezTo>
                    <a:pt x="966" y="1557"/>
                    <a:pt x="971" y="1563"/>
                    <a:pt x="973" y="1569"/>
                  </a:cubicBezTo>
                  <a:cubicBezTo>
                    <a:pt x="976" y="1578"/>
                    <a:pt x="981" y="1585"/>
                    <a:pt x="986" y="1593"/>
                  </a:cubicBezTo>
                  <a:cubicBezTo>
                    <a:pt x="992" y="1600"/>
                    <a:pt x="997" y="1609"/>
                    <a:pt x="1002" y="1617"/>
                  </a:cubicBezTo>
                  <a:cubicBezTo>
                    <a:pt x="1003" y="1618"/>
                    <a:pt x="1003" y="1620"/>
                    <a:pt x="1003" y="1621"/>
                  </a:cubicBezTo>
                  <a:cubicBezTo>
                    <a:pt x="1002" y="1626"/>
                    <a:pt x="1005" y="1629"/>
                    <a:pt x="1008" y="1632"/>
                  </a:cubicBezTo>
                  <a:cubicBezTo>
                    <a:pt x="1017" y="1642"/>
                    <a:pt x="1030" y="1648"/>
                    <a:pt x="1041" y="1656"/>
                  </a:cubicBezTo>
                  <a:cubicBezTo>
                    <a:pt x="1043" y="1657"/>
                    <a:pt x="1046" y="1657"/>
                    <a:pt x="1048" y="1658"/>
                  </a:cubicBezTo>
                  <a:cubicBezTo>
                    <a:pt x="1054" y="1661"/>
                    <a:pt x="1060" y="1664"/>
                    <a:pt x="1065" y="1668"/>
                  </a:cubicBezTo>
                  <a:cubicBezTo>
                    <a:pt x="1071" y="1674"/>
                    <a:pt x="1078" y="1679"/>
                    <a:pt x="1085" y="1685"/>
                  </a:cubicBezTo>
                  <a:cubicBezTo>
                    <a:pt x="1087" y="1686"/>
                    <a:pt x="1087" y="1688"/>
                    <a:pt x="1088" y="1690"/>
                  </a:cubicBezTo>
                  <a:cubicBezTo>
                    <a:pt x="1088" y="1693"/>
                    <a:pt x="1088" y="1695"/>
                    <a:pt x="1089" y="1698"/>
                  </a:cubicBezTo>
                  <a:cubicBezTo>
                    <a:pt x="1090" y="1703"/>
                    <a:pt x="1091" y="1708"/>
                    <a:pt x="1089" y="1713"/>
                  </a:cubicBezTo>
                  <a:cubicBezTo>
                    <a:pt x="1088" y="1715"/>
                    <a:pt x="1089" y="1718"/>
                    <a:pt x="1090" y="1719"/>
                  </a:cubicBezTo>
                  <a:cubicBezTo>
                    <a:pt x="1093" y="1730"/>
                    <a:pt x="1092" y="1740"/>
                    <a:pt x="1089" y="1750"/>
                  </a:cubicBezTo>
                  <a:cubicBezTo>
                    <a:pt x="1089" y="1752"/>
                    <a:pt x="1089" y="1753"/>
                    <a:pt x="1089" y="1755"/>
                  </a:cubicBezTo>
                  <a:cubicBezTo>
                    <a:pt x="1093" y="1770"/>
                    <a:pt x="1091" y="1786"/>
                    <a:pt x="1091" y="1802"/>
                  </a:cubicBezTo>
                  <a:cubicBezTo>
                    <a:pt x="1092" y="1806"/>
                    <a:pt x="1091" y="1810"/>
                    <a:pt x="1090" y="1814"/>
                  </a:cubicBezTo>
                  <a:cubicBezTo>
                    <a:pt x="1089" y="1819"/>
                    <a:pt x="1088" y="1824"/>
                    <a:pt x="1087" y="1829"/>
                  </a:cubicBezTo>
                  <a:cubicBezTo>
                    <a:pt x="1086" y="1832"/>
                    <a:pt x="1085" y="1835"/>
                    <a:pt x="1087" y="1838"/>
                  </a:cubicBezTo>
                  <a:cubicBezTo>
                    <a:pt x="1089" y="1843"/>
                    <a:pt x="1088" y="1848"/>
                    <a:pt x="1086" y="1852"/>
                  </a:cubicBezTo>
                  <a:cubicBezTo>
                    <a:pt x="1085" y="1857"/>
                    <a:pt x="1084" y="1861"/>
                    <a:pt x="1086" y="1866"/>
                  </a:cubicBezTo>
                  <a:cubicBezTo>
                    <a:pt x="1089" y="1872"/>
                    <a:pt x="1087" y="1878"/>
                    <a:pt x="1090" y="1884"/>
                  </a:cubicBezTo>
                  <a:cubicBezTo>
                    <a:pt x="1091" y="1887"/>
                    <a:pt x="1090" y="1891"/>
                    <a:pt x="1090" y="1894"/>
                  </a:cubicBezTo>
                  <a:cubicBezTo>
                    <a:pt x="1090" y="1896"/>
                    <a:pt x="1090" y="1899"/>
                    <a:pt x="1091" y="1901"/>
                  </a:cubicBezTo>
                  <a:cubicBezTo>
                    <a:pt x="1092" y="1904"/>
                    <a:pt x="1092" y="1906"/>
                    <a:pt x="1091" y="1909"/>
                  </a:cubicBezTo>
                  <a:cubicBezTo>
                    <a:pt x="1089" y="1912"/>
                    <a:pt x="1088" y="1916"/>
                    <a:pt x="1088" y="1919"/>
                  </a:cubicBezTo>
                  <a:cubicBezTo>
                    <a:pt x="1085" y="1931"/>
                    <a:pt x="1082" y="1943"/>
                    <a:pt x="1079" y="1955"/>
                  </a:cubicBezTo>
                  <a:cubicBezTo>
                    <a:pt x="1078" y="1957"/>
                    <a:pt x="1078" y="1959"/>
                    <a:pt x="1076" y="1960"/>
                  </a:cubicBezTo>
                  <a:cubicBezTo>
                    <a:pt x="1072" y="1963"/>
                    <a:pt x="1072" y="1967"/>
                    <a:pt x="1075" y="1970"/>
                  </a:cubicBezTo>
                  <a:cubicBezTo>
                    <a:pt x="1078" y="1975"/>
                    <a:pt x="1078" y="1982"/>
                    <a:pt x="1082" y="1987"/>
                  </a:cubicBezTo>
                  <a:cubicBezTo>
                    <a:pt x="1085" y="1992"/>
                    <a:pt x="1085" y="1997"/>
                    <a:pt x="1082" y="2002"/>
                  </a:cubicBezTo>
                  <a:cubicBezTo>
                    <a:pt x="1080" y="2005"/>
                    <a:pt x="1080" y="2008"/>
                    <a:pt x="1080" y="2011"/>
                  </a:cubicBezTo>
                  <a:cubicBezTo>
                    <a:pt x="1081" y="2014"/>
                    <a:pt x="1081" y="2017"/>
                    <a:pt x="1081" y="2020"/>
                  </a:cubicBezTo>
                  <a:cubicBezTo>
                    <a:pt x="1081" y="2024"/>
                    <a:pt x="1082" y="2028"/>
                    <a:pt x="1084" y="2031"/>
                  </a:cubicBezTo>
                  <a:cubicBezTo>
                    <a:pt x="1086" y="2032"/>
                    <a:pt x="1087" y="2034"/>
                    <a:pt x="1088" y="2036"/>
                  </a:cubicBezTo>
                  <a:cubicBezTo>
                    <a:pt x="1083" y="2035"/>
                    <a:pt x="1082" y="2036"/>
                    <a:pt x="1080" y="2040"/>
                  </a:cubicBezTo>
                  <a:cubicBezTo>
                    <a:pt x="1080" y="2042"/>
                    <a:pt x="1079" y="2043"/>
                    <a:pt x="1079" y="2045"/>
                  </a:cubicBezTo>
                  <a:cubicBezTo>
                    <a:pt x="1080" y="2050"/>
                    <a:pt x="1081" y="2055"/>
                    <a:pt x="1082" y="2060"/>
                  </a:cubicBezTo>
                  <a:cubicBezTo>
                    <a:pt x="1082" y="2061"/>
                    <a:pt x="1086" y="2062"/>
                    <a:pt x="1088" y="2061"/>
                  </a:cubicBezTo>
                  <a:cubicBezTo>
                    <a:pt x="1090" y="2059"/>
                    <a:pt x="1091" y="2057"/>
                    <a:pt x="1091" y="2055"/>
                  </a:cubicBezTo>
                  <a:cubicBezTo>
                    <a:pt x="1091" y="2051"/>
                    <a:pt x="1091" y="2048"/>
                    <a:pt x="1092" y="2044"/>
                  </a:cubicBezTo>
                  <a:cubicBezTo>
                    <a:pt x="1092" y="2041"/>
                    <a:pt x="1091" y="2038"/>
                    <a:pt x="1089" y="2036"/>
                  </a:cubicBezTo>
                  <a:cubicBezTo>
                    <a:pt x="1091" y="2036"/>
                    <a:pt x="1094" y="2036"/>
                    <a:pt x="1096" y="2034"/>
                  </a:cubicBezTo>
                  <a:cubicBezTo>
                    <a:pt x="1098" y="2033"/>
                    <a:pt x="1099" y="2034"/>
                    <a:pt x="1099" y="2036"/>
                  </a:cubicBezTo>
                  <a:cubicBezTo>
                    <a:pt x="1100" y="2038"/>
                    <a:pt x="1101" y="2039"/>
                    <a:pt x="1101" y="2041"/>
                  </a:cubicBezTo>
                  <a:cubicBezTo>
                    <a:pt x="1100" y="2047"/>
                    <a:pt x="1099" y="2054"/>
                    <a:pt x="1099" y="2061"/>
                  </a:cubicBezTo>
                  <a:cubicBezTo>
                    <a:pt x="1100" y="2067"/>
                    <a:pt x="1099" y="2074"/>
                    <a:pt x="1098" y="2080"/>
                  </a:cubicBezTo>
                  <a:cubicBezTo>
                    <a:pt x="1097" y="2082"/>
                    <a:pt x="1097" y="2084"/>
                    <a:pt x="1098" y="2086"/>
                  </a:cubicBezTo>
                  <a:cubicBezTo>
                    <a:pt x="1102" y="2092"/>
                    <a:pt x="1101" y="2098"/>
                    <a:pt x="1098" y="2104"/>
                  </a:cubicBezTo>
                  <a:cubicBezTo>
                    <a:pt x="1097" y="2105"/>
                    <a:pt x="1096" y="2106"/>
                    <a:pt x="1095" y="2105"/>
                  </a:cubicBezTo>
                  <a:cubicBezTo>
                    <a:pt x="1095" y="2105"/>
                    <a:pt x="1094" y="2105"/>
                    <a:pt x="1094" y="2104"/>
                  </a:cubicBezTo>
                  <a:cubicBezTo>
                    <a:pt x="1093" y="2102"/>
                    <a:pt x="1093" y="2101"/>
                    <a:pt x="1092" y="2099"/>
                  </a:cubicBezTo>
                  <a:cubicBezTo>
                    <a:pt x="1087" y="2099"/>
                    <a:pt x="1083" y="2101"/>
                    <a:pt x="1082" y="2105"/>
                  </a:cubicBezTo>
                  <a:cubicBezTo>
                    <a:pt x="1081" y="2110"/>
                    <a:pt x="1078" y="2114"/>
                    <a:pt x="1076" y="2119"/>
                  </a:cubicBezTo>
                  <a:cubicBezTo>
                    <a:pt x="1076" y="2120"/>
                    <a:pt x="1076" y="2121"/>
                    <a:pt x="1077" y="2122"/>
                  </a:cubicBezTo>
                  <a:cubicBezTo>
                    <a:pt x="1077" y="2122"/>
                    <a:pt x="1079" y="2123"/>
                    <a:pt x="1080" y="2123"/>
                  </a:cubicBezTo>
                  <a:cubicBezTo>
                    <a:pt x="1081" y="2122"/>
                    <a:pt x="1082" y="2120"/>
                    <a:pt x="1084" y="2120"/>
                  </a:cubicBezTo>
                  <a:cubicBezTo>
                    <a:pt x="1087" y="2121"/>
                    <a:pt x="1090" y="2121"/>
                    <a:pt x="1093" y="2122"/>
                  </a:cubicBezTo>
                  <a:cubicBezTo>
                    <a:pt x="1095" y="2122"/>
                    <a:pt x="1096" y="2125"/>
                    <a:pt x="1096" y="2127"/>
                  </a:cubicBezTo>
                  <a:cubicBezTo>
                    <a:pt x="1095" y="2131"/>
                    <a:pt x="1094" y="2135"/>
                    <a:pt x="1095" y="2139"/>
                  </a:cubicBezTo>
                  <a:cubicBezTo>
                    <a:pt x="1095" y="2139"/>
                    <a:pt x="1095" y="2139"/>
                    <a:pt x="1095" y="2139"/>
                  </a:cubicBezTo>
                  <a:cubicBezTo>
                    <a:pt x="1095" y="2139"/>
                    <a:pt x="1095" y="2139"/>
                    <a:pt x="1095" y="2139"/>
                  </a:cubicBezTo>
                  <a:cubicBezTo>
                    <a:pt x="1096" y="2140"/>
                    <a:pt x="1096" y="2140"/>
                    <a:pt x="1096" y="2140"/>
                  </a:cubicBezTo>
                  <a:cubicBezTo>
                    <a:pt x="1096" y="2140"/>
                    <a:pt x="1096" y="2140"/>
                    <a:pt x="1095" y="2139"/>
                  </a:cubicBezTo>
                  <a:cubicBezTo>
                    <a:pt x="1095" y="2139"/>
                    <a:pt x="1095" y="2139"/>
                    <a:pt x="1095" y="2139"/>
                  </a:cubicBezTo>
                  <a:cubicBezTo>
                    <a:pt x="1095" y="2139"/>
                    <a:pt x="1095" y="2139"/>
                    <a:pt x="1095" y="2139"/>
                  </a:cubicBezTo>
                  <a:cubicBezTo>
                    <a:pt x="1092" y="2139"/>
                    <a:pt x="1089" y="2140"/>
                    <a:pt x="1086" y="2142"/>
                  </a:cubicBezTo>
                  <a:cubicBezTo>
                    <a:pt x="1085" y="2144"/>
                    <a:pt x="1084" y="2145"/>
                    <a:pt x="1084" y="2147"/>
                  </a:cubicBezTo>
                  <a:cubicBezTo>
                    <a:pt x="1084" y="2149"/>
                    <a:pt x="1085" y="2151"/>
                    <a:pt x="1086" y="2153"/>
                  </a:cubicBezTo>
                  <a:cubicBezTo>
                    <a:pt x="1086" y="2154"/>
                    <a:pt x="1088" y="2156"/>
                    <a:pt x="1088" y="2157"/>
                  </a:cubicBezTo>
                  <a:cubicBezTo>
                    <a:pt x="1088" y="2159"/>
                    <a:pt x="1088" y="2161"/>
                    <a:pt x="1089" y="2163"/>
                  </a:cubicBezTo>
                  <a:cubicBezTo>
                    <a:pt x="1090" y="2163"/>
                    <a:pt x="1091" y="2164"/>
                    <a:pt x="1091" y="2164"/>
                  </a:cubicBezTo>
                  <a:cubicBezTo>
                    <a:pt x="1091" y="2164"/>
                    <a:pt x="1091" y="2164"/>
                    <a:pt x="1091" y="2164"/>
                  </a:cubicBezTo>
                  <a:cubicBezTo>
                    <a:pt x="1092" y="2164"/>
                    <a:pt x="1092" y="2164"/>
                    <a:pt x="1092" y="2164"/>
                  </a:cubicBezTo>
                  <a:cubicBezTo>
                    <a:pt x="1092" y="2164"/>
                    <a:pt x="1092" y="2164"/>
                    <a:pt x="1092" y="2164"/>
                  </a:cubicBezTo>
                  <a:cubicBezTo>
                    <a:pt x="1092" y="2164"/>
                    <a:pt x="1092" y="2164"/>
                    <a:pt x="1091" y="2164"/>
                  </a:cubicBezTo>
                  <a:cubicBezTo>
                    <a:pt x="1091" y="2166"/>
                    <a:pt x="1091" y="2167"/>
                    <a:pt x="1091" y="2169"/>
                  </a:cubicBezTo>
                  <a:cubicBezTo>
                    <a:pt x="1090" y="2173"/>
                    <a:pt x="1090" y="2173"/>
                    <a:pt x="1094" y="2175"/>
                  </a:cubicBezTo>
                  <a:cubicBezTo>
                    <a:pt x="1097" y="2177"/>
                    <a:pt x="1099" y="2178"/>
                    <a:pt x="1102" y="2180"/>
                  </a:cubicBezTo>
                  <a:cubicBezTo>
                    <a:pt x="1102" y="2180"/>
                    <a:pt x="1102" y="2180"/>
                    <a:pt x="1102" y="2180"/>
                  </a:cubicBezTo>
                  <a:cubicBezTo>
                    <a:pt x="1102" y="2180"/>
                    <a:pt x="1102" y="2180"/>
                    <a:pt x="1102" y="2180"/>
                  </a:cubicBezTo>
                  <a:cubicBezTo>
                    <a:pt x="1104" y="2183"/>
                    <a:pt x="1104" y="2184"/>
                    <a:pt x="1102" y="2186"/>
                  </a:cubicBezTo>
                  <a:cubicBezTo>
                    <a:pt x="1102" y="2186"/>
                    <a:pt x="1102" y="2186"/>
                    <a:pt x="1102" y="2186"/>
                  </a:cubicBezTo>
                  <a:cubicBezTo>
                    <a:pt x="1102" y="2186"/>
                    <a:pt x="1102" y="2186"/>
                    <a:pt x="1102" y="2186"/>
                  </a:cubicBezTo>
                  <a:cubicBezTo>
                    <a:pt x="1102" y="2186"/>
                    <a:pt x="1102" y="2186"/>
                    <a:pt x="1102" y="2186"/>
                  </a:cubicBezTo>
                  <a:cubicBezTo>
                    <a:pt x="1102" y="2191"/>
                    <a:pt x="1104" y="2196"/>
                    <a:pt x="1102" y="2201"/>
                  </a:cubicBezTo>
                  <a:cubicBezTo>
                    <a:pt x="1102" y="2203"/>
                    <a:pt x="1104" y="2205"/>
                    <a:pt x="1106" y="2205"/>
                  </a:cubicBezTo>
                  <a:cubicBezTo>
                    <a:pt x="1108" y="2205"/>
                    <a:pt x="1110" y="2204"/>
                    <a:pt x="1110" y="2201"/>
                  </a:cubicBezTo>
                  <a:cubicBezTo>
                    <a:pt x="1110" y="2197"/>
                    <a:pt x="1110" y="2193"/>
                    <a:pt x="1112" y="2190"/>
                  </a:cubicBezTo>
                  <a:cubicBezTo>
                    <a:pt x="1112" y="2190"/>
                    <a:pt x="1112" y="2190"/>
                    <a:pt x="1112" y="2190"/>
                  </a:cubicBezTo>
                  <a:cubicBezTo>
                    <a:pt x="1111" y="2189"/>
                    <a:pt x="1111" y="2189"/>
                    <a:pt x="1111" y="2189"/>
                  </a:cubicBezTo>
                  <a:cubicBezTo>
                    <a:pt x="1112" y="2189"/>
                    <a:pt x="1112" y="2189"/>
                    <a:pt x="1112" y="2189"/>
                  </a:cubicBezTo>
                  <a:cubicBezTo>
                    <a:pt x="1112" y="2189"/>
                    <a:pt x="1112" y="2190"/>
                    <a:pt x="1112" y="2190"/>
                  </a:cubicBezTo>
                  <a:cubicBezTo>
                    <a:pt x="1113" y="2191"/>
                    <a:pt x="1114" y="2193"/>
                    <a:pt x="1114" y="2195"/>
                  </a:cubicBezTo>
                  <a:cubicBezTo>
                    <a:pt x="1114" y="2197"/>
                    <a:pt x="1115" y="2199"/>
                    <a:pt x="1117" y="2201"/>
                  </a:cubicBezTo>
                  <a:cubicBezTo>
                    <a:pt x="1118" y="2202"/>
                    <a:pt x="1119" y="2204"/>
                    <a:pt x="1117" y="2206"/>
                  </a:cubicBezTo>
                  <a:cubicBezTo>
                    <a:pt x="1116" y="2208"/>
                    <a:pt x="1115" y="2209"/>
                    <a:pt x="1112" y="2209"/>
                  </a:cubicBezTo>
                  <a:cubicBezTo>
                    <a:pt x="1111" y="2209"/>
                    <a:pt x="1110" y="2209"/>
                    <a:pt x="1109" y="2209"/>
                  </a:cubicBezTo>
                  <a:cubicBezTo>
                    <a:pt x="1108" y="2210"/>
                    <a:pt x="1107" y="2210"/>
                    <a:pt x="1107" y="2211"/>
                  </a:cubicBezTo>
                  <a:cubicBezTo>
                    <a:pt x="1106" y="2212"/>
                    <a:pt x="1107" y="2213"/>
                    <a:pt x="1108" y="2214"/>
                  </a:cubicBezTo>
                  <a:cubicBezTo>
                    <a:pt x="1109" y="2214"/>
                    <a:pt x="1111" y="2215"/>
                    <a:pt x="1112" y="2215"/>
                  </a:cubicBezTo>
                  <a:cubicBezTo>
                    <a:pt x="1118" y="2215"/>
                    <a:pt x="1119" y="2219"/>
                    <a:pt x="1121" y="2223"/>
                  </a:cubicBezTo>
                  <a:cubicBezTo>
                    <a:pt x="1120" y="2226"/>
                    <a:pt x="1122" y="2227"/>
                    <a:pt x="1124" y="2229"/>
                  </a:cubicBezTo>
                  <a:cubicBezTo>
                    <a:pt x="1128" y="2231"/>
                    <a:pt x="1131" y="2234"/>
                    <a:pt x="1134" y="2236"/>
                  </a:cubicBezTo>
                  <a:cubicBezTo>
                    <a:pt x="1134" y="2236"/>
                    <a:pt x="1135" y="2236"/>
                    <a:pt x="1135" y="2236"/>
                  </a:cubicBezTo>
                  <a:cubicBezTo>
                    <a:pt x="1135" y="2236"/>
                    <a:pt x="1135" y="2236"/>
                    <a:pt x="1135" y="2237"/>
                  </a:cubicBezTo>
                  <a:cubicBezTo>
                    <a:pt x="1136" y="2237"/>
                    <a:pt x="1137" y="2238"/>
                    <a:pt x="1137" y="2239"/>
                  </a:cubicBezTo>
                  <a:cubicBezTo>
                    <a:pt x="1138" y="2239"/>
                    <a:pt x="1138" y="2239"/>
                    <a:pt x="1138" y="2239"/>
                  </a:cubicBezTo>
                  <a:cubicBezTo>
                    <a:pt x="1139" y="2240"/>
                    <a:pt x="1139" y="2240"/>
                    <a:pt x="1139" y="2240"/>
                  </a:cubicBezTo>
                  <a:cubicBezTo>
                    <a:pt x="1138" y="2239"/>
                    <a:pt x="1138" y="2239"/>
                    <a:pt x="1138" y="2239"/>
                  </a:cubicBezTo>
                  <a:cubicBezTo>
                    <a:pt x="1138" y="2239"/>
                    <a:pt x="1138" y="2239"/>
                    <a:pt x="1137" y="2239"/>
                  </a:cubicBezTo>
                  <a:cubicBezTo>
                    <a:pt x="1136" y="2238"/>
                    <a:pt x="1136" y="2238"/>
                    <a:pt x="1135" y="2237"/>
                  </a:cubicBezTo>
                  <a:cubicBezTo>
                    <a:pt x="1135" y="2237"/>
                    <a:pt x="1135" y="2236"/>
                    <a:pt x="1135" y="2236"/>
                  </a:cubicBezTo>
                  <a:cubicBezTo>
                    <a:pt x="1135" y="2236"/>
                    <a:pt x="1134" y="2236"/>
                    <a:pt x="1134" y="2236"/>
                  </a:cubicBezTo>
                  <a:cubicBezTo>
                    <a:pt x="1130" y="2237"/>
                    <a:pt x="1125" y="2236"/>
                    <a:pt x="1121" y="2233"/>
                  </a:cubicBezTo>
                  <a:cubicBezTo>
                    <a:pt x="1120" y="2233"/>
                    <a:pt x="1119" y="2233"/>
                    <a:pt x="1118" y="2233"/>
                  </a:cubicBezTo>
                  <a:cubicBezTo>
                    <a:pt x="1118" y="2233"/>
                    <a:pt x="1117" y="2233"/>
                    <a:pt x="1117" y="2234"/>
                  </a:cubicBezTo>
                  <a:cubicBezTo>
                    <a:pt x="1117" y="2235"/>
                    <a:pt x="1117" y="2236"/>
                    <a:pt x="1118" y="2236"/>
                  </a:cubicBezTo>
                  <a:cubicBezTo>
                    <a:pt x="1124" y="2241"/>
                    <a:pt x="1131" y="2245"/>
                    <a:pt x="1137" y="2251"/>
                  </a:cubicBezTo>
                  <a:cubicBezTo>
                    <a:pt x="1139" y="2253"/>
                    <a:pt x="1142" y="2254"/>
                    <a:pt x="1145" y="2255"/>
                  </a:cubicBezTo>
                  <a:cubicBezTo>
                    <a:pt x="1147" y="2256"/>
                    <a:pt x="1149" y="2255"/>
                    <a:pt x="1151" y="2255"/>
                  </a:cubicBezTo>
                  <a:cubicBezTo>
                    <a:pt x="1152" y="2254"/>
                    <a:pt x="1152" y="2253"/>
                    <a:pt x="1153" y="2251"/>
                  </a:cubicBezTo>
                  <a:cubicBezTo>
                    <a:pt x="1153" y="2251"/>
                    <a:pt x="1154" y="2251"/>
                    <a:pt x="1154" y="2251"/>
                  </a:cubicBezTo>
                  <a:cubicBezTo>
                    <a:pt x="1155" y="2251"/>
                    <a:pt x="1156" y="2251"/>
                    <a:pt x="1155" y="2253"/>
                  </a:cubicBezTo>
                  <a:cubicBezTo>
                    <a:pt x="1155" y="2253"/>
                    <a:pt x="1155" y="2254"/>
                    <a:pt x="1155" y="2255"/>
                  </a:cubicBezTo>
                  <a:cubicBezTo>
                    <a:pt x="1156" y="2255"/>
                    <a:pt x="1157" y="2256"/>
                    <a:pt x="1158" y="2256"/>
                  </a:cubicBezTo>
                  <a:cubicBezTo>
                    <a:pt x="1161" y="2257"/>
                    <a:pt x="1164" y="2258"/>
                    <a:pt x="1163" y="2262"/>
                  </a:cubicBezTo>
                  <a:cubicBezTo>
                    <a:pt x="1162" y="2263"/>
                    <a:pt x="1163" y="2264"/>
                    <a:pt x="1164" y="2265"/>
                  </a:cubicBezTo>
                  <a:cubicBezTo>
                    <a:pt x="1168" y="2265"/>
                    <a:pt x="1171" y="2268"/>
                    <a:pt x="1172" y="2271"/>
                  </a:cubicBezTo>
                  <a:cubicBezTo>
                    <a:pt x="1173" y="2273"/>
                    <a:pt x="1175" y="2274"/>
                    <a:pt x="1178" y="2274"/>
                  </a:cubicBezTo>
                  <a:cubicBezTo>
                    <a:pt x="1180" y="2272"/>
                    <a:pt x="1181" y="2269"/>
                    <a:pt x="1184" y="2268"/>
                  </a:cubicBezTo>
                  <a:cubicBezTo>
                    <a:pt x="1185" y="2267"/>
                    <a:pt x="1186" y="2267"/>
                    <a:pt x="1187" y="2268"/>
                  </a:cubicBezTo>
                  <a:cubicBezTo>
                    <a:pt x="1187" y="2269"/>
                    <a:pt x="1187" y="2270"/>
                    <a:pt x="1187" y="2271"/>
                  </a:cubicBezTo>
                  <a:cubicBezTo>
                    <a:pt x="1187" y="2273"/>
                    <a:pt x="1186" y="2276"/>
                    <a:pt x="1188" y="2277"/>
                  </a:cubicBezTo>
                  <a:cubicBezTo>
                    <a:pt x="1190" y="2278"/>
                    <a:pt x="1192" y="2279"/>
                    <a:pt x="1194" y="2279"/>
                  </a:cubicBezTo>
                  <a:cubicBezTo>
                    <a:pt x="1196" y="2279"/>
                    <a:pt x="1197" y="2278"/>
                    <a:pt x="1199" y="2278"/>
                  </a:cubicBezTo>
                  <a:cubicBezTo>
                    <a:pt x="1201" y="2278"/>
                    <a:pt x="1203" y="2279"/>
                    <a:pt x="1205" y="2279"/>
                  </a:cubicBezTo>
                  <a:cubicBezTo>
                    <a:pt x="1209" y="2279"/>
                    <a:pt x="1209" y="2279"/>
                    <a:pt x="1208" y="2274"/>
                  </a:cubicBezTo>
                  <a:cubicBezTo>
                    <a:pt x="1208" y="2274"/>
                    <a:pt x="1207" y="2274"/>
                    <a:pt x="1207" y="2274"/>
                  </a:cubicBezTo>
                  <a:cubicBezTo>
                    <a:pt x="1207" y="2274"/>
                    <a:pt x="1207" y="2274"/>
                    <a:pt x="1207" y="2274"/>
                  </a:cubicBezTo>
                  <a:cubicBezTo>
                    <a:pt x="1207" y="2274"/>
                    <a:pt x="1207" y="2273"/>
                    <a:pt x="1207" y="2273"/>
                  </a:cubicBezTo>
                  <a:cubicBezTo>
                    <a:pt x="1207" y="2273"/>
                    <a:pt x="1207" y="2273"/>
                    <a:pt x="1207" y="2274"/>
                  </a:cubicBezTo>
                  <a:cubicBezTo>
                    <a:pt x="1207" y="2274"/>
                    <a:pt x="1208" y="2274"/>
                    <a:pt x="1208" y="2274"/>
                  </a:cubicBezTo>
                  <a:cubicBezTo>
                    <a:pt x="1208" y="2274"/>
                    <a:pt x="1208" y="2274"/>
                    <a:pt x="1208" y="2274"/>
                  </a:cubicBezTo>
                  <a:cubicBezTo>
                    <a:pt x="1211" y="2274"/>
                    <a:pt x="1214" y="2273"/>
                    <a:pt x="1217" y="2272"/>
                  </a:cubicBezTo>
                  <a:cubicBezTo>
                    <a:pt x="1219" y="2271"/>
                    <a:pt x="1220" y="2270"/>
                    <a:pt x="1221" y="2268"/>
                  </a:cubicBezTo>
                  <a:cubicBezTo>
                    <a:pt x="1221" y="2266"/>
                    <a:pt x="1222" y="2266"/>
                    <a:pt x="1223" y="2266"/>
                  </a:cubicBezTo>
                  <a:cubicBezTo>
                    <a:pt x="1225" y="2267"/>
                    <a:pt x="1228" y="2268"/>
                    <a:pt x="1229" y="2267"/>
                  </a:cubicBezTo>
                  <a:cubicBezTo>
                    <a:pt x="1233" y="2265"/>
                    <a:pt x="1236" y="2262"/>
                    <a:pt x="1240" y="2260"/>
                  </a:cubicBezTo>
                  <a:cubicBezTo>
                    <a:pt x="1240" y="2260"/>
                    <a:pt x="1240" y="2259"/>
                    <a:pt x="1240" y="2259"/>
                  </a:cubicBezTo>
                  <a:cubicBezTo>
                    <a:pt x="1238" y="2257"/>
                    <a:pt x="1236" y="2258"/>
                    <a:pt x="1234" y="2257"/>
                  </a:cubicBezTo>
                  <a:cubicBezTo>
                    <a:pt x="1227" y="2254"/>
                    <a:pt x="1220" y="2251"/>
                    <a:pt x="1213" y="2248"/>
                  </a:cubicBezTo>
                  <a:cubicBezTo>
                    <a:pt x="1212" y="2248"/>
                    <a:pt x="1211" y="2247"/>
                    <a:pt x="1210" y="2246"/>
                  </a:cubicBezTo>
                  <a:cubicBezTo>
                    <a:pt x="1207" y="2243"/>
                    <a:pt x="1203" y="2241"/>
                    <a:pt x="1200" y="2237"/>
                  </a:cubicBezTo>
                  <a:cubicBezTo>
                    <a:pt x="1198" y="2235"/>
                    <a:pt x="1197" y="2233"/>
                    <a:pt x="1196" y="2230"/>
                  </a:cubicBezTo>
                  <a:cubicBezTo>
                    <a:pt x="1195" y="2223"/>
                    <a:pt x="1191" y="2220"/>
                    <a:pt x="1184" y="2220"/>
                  </a:cubicBezTo>
                  <a:cubicBezTo>
                    <a:pt x="1182" y="2220"/>
                    <a:pt x="1180" y="2220"/>
                    <a:pt x="1178" y="2220"/>
                  </a:cubicBezTo>
                  <a:cubicBezTo>
                    <a:pt x="1178" y="2220"/>
                    <a:pt x="1178" y="2221"/>
                    <a:pt x="1178" y="2221"/>
                  </a:cubicBezTo>
                  <a:cubicBezTo>
                    <a:pt x="1178" y="2221"/>
                    <a:pt x="1178" y="2221"/>
                    <a:pt x="1178" y="2221"/>
                  </a:cubicBezTo>
                  <a:cubicBezTo>
                    <a:pt x="1177" y="2222"/>
                    <a:pt x="1177" y="2224"/>
                    <a:pt x="1176" y="2225"/>
                  </a:cubicBezTo>
                  <a:cubicBezTo>
                    <a:pt x="1171" y="2227"/>
                    <a:pt x="1171" y="2232"/>
                    <a:pt x="1170" y="2236"/>
                  </a:cubicBezTo>
                  <a:cubicBezTo>
                    <a:pt x="1170" y="2237"/>
                    <a:pt x="1170" y="2237"/>
                    <a:pt x="1170" y="2238"/>
                  </a:cubicBezTo>
                  <a:cubicBezTo>
                    <a:pt x="1170" y="2238"/>
                    <a:pt x="1169" y="2239"/>
                    <a:pt x="1169" y="2239"/>
                  </a:cubicBezTo>
                  <a:cubicBezTo>
                    <a:pt x="1169" y="2238"/>
                    <a:pt x="1168" y="2238"/>
                    <a:pt x="1168" y="2237"/>
                  </a:cubicBezTo>
                  <a:cubicBezTo>
                    <a:pt x="1168" y="2235"/>
                    <a:pt x="1168" y="2233"/>
                    <a:pt x="1168" y="2231"/>
                  </a:cubicBezTo>
                  <a:cubicBezTo>
                    <a:pt x="1169" y="2226"/>
                    <a:pt x="1172" y="2222"/>
                    <a:pt x="1178" y="2221"/>
                  </a:cubicBezTo>
                  <a:cubicBezTo>
                    <a:pt x="1178" y="2221"/>
                    <a:pt x="1178" y="2220"/>
                    <a:pt x="1178" y="2220"/>
                  </a:cubicBezTo>
                  <a:cubicBezTo>
                    <a:pt x="1178" y="2220"/>
                    <a:pt x="1178" y="2220"/>
                    <a:pt x="1178" y="2220"/>
                  </a:cubicBezTo>
                  <a:cubicBezTo>
                    <a:pt x="1180" y="2217"/>
                    <a:pt x="1181" y="2215"/>
                    <a:pt x="1185" y="2216"/>
                  </a:cubicBezTo>
                  <a:cubicBezTo>
                    <a:pt x="1186" y="2216"/>
                    <a:pt x="1186" y="2216"/>
                    <a:pt x="1187" y="2216"/>
                  </a:cubicBezTo>
                  <a:cubicBezTo>
                    <a:pt x="1188" y="2216"/>
                    <a:pt x="1189" y="2216"/>
                    <a:pt x="1190" y="2215"/>
                  </a:cubicBezTo>
                  <a:cubicBezTo>
                    <a:pt x="1190" y="2214"/>
                    <a:pt x="1190" y="2213"/>
                    <a:pt x="1190" y="2212"/>
                  </a:cubicBezTo>
                  <a:cubicBezTo>
                    <a:pt x="1187" y="2209"/>
                    <a:pt x="1184" y="2206"/>
                    <a:pt x="1182" y="2202"/>
                  </a:cubicBezTo>
                  <a:cubicBezTo>
                    <a:pt x="1180" y="2198"/>
                    <a:pt x="1180" y="2194"/>
                    <a:pt x="1178" y="2190"/>
                  </a:cubicBezTo>
                  <a:cubicBezTo>
                    <a:pt x="1177" y="2186"/>
                    <a:pt x="1178" y="2182"/>
                    <a:pt x="1181" y="2179"/>
                  </a:cubicBezTo>
                  <a:cubicBezTo>
                    <a:pt x="1182" y="2177"/>
                    <a:pt x="1184" y="2176"/>
                    <a:pt x="1185" y="2174"/>
                  </a:cubicBezTo>
                  <a:cubicBezTo>
                    <a:pt x="1190" y="2171"/>
                    <a:pt x="1192" y="2167"/>
                    <a:pt x="1191" y="2162"/>
                  </a:cubicBezTo>
                  <a:cubicBezTo>
                    <a:pt x="1191" y="2158"/>
                    <a:pt x="1192" y="2154"/>
                    <a:pt x="1196" y="2151"/>
                  </a:cubicBezTo>
                  <a:cubicBezTo>
                    <a:pt x="1199" y="2148"/>
                    <a:pt x="1202" y="2144"/>
                    <a:pt x="1205" y="2140"/>
                  </a:cubicBezTo>
                  <a:cubicBezTo>
                    <a:pt x="1207" y="2138"/>
                    <a:pt x="1208" y="2136"/>
                    <a:pt x="1207" y="2133"/>
                  </a:cubicBezTo>
                  <a:cubicBezTo>
                    <a:pt x="1207" y="2131"/>
                    <a:pt x="1207" y="2130"/>
                    <a:pt x="1207" y="2128"/>
                  </a:cubicBezTo>
                  <a:cubicBezTo>
                    <a:pt x="1206" y="2124"/>
                    <a:pt x="1204" y="2120"/>
                    <a:pt x="1198" y="2120"/>
                  </a:cubicBezTo>
                  <a:cubicBezTo>
                    <a:pt x="1195" y="2120"/>
                    <a:pt x="1193" y="2119"/>
                    <a:pt x="1191" y="2117"/>
                  </a:cubicBezTo>
                  <a:cubicBezTo>
                    <a:pt x="1188" y="2115"/>
                    <a:pt x="1186" y="2113"/>
                    <a:pt x="1183" y="2111"/>
                  </a:cubicBezTo>
                  <a:cubicBezTo>
                    <a:pt x="1178" y="2107"/>
                    <a:pt x="1177" y="2102"/>
                    <a:pt x="1182" y="2096"/>
                  </a:cubicBezTo>
                  <a:cubicBezTo>
                    <a:pt x="1183" y="2094"/>
                    <a:pt x="1185" y="2092"/>
                    <a:pt x="1187" y="2091"/>
                  </a:cubicBezTo>
                  <a:cubicBezTo>
                    <a:pt x="1191" y="2089"/>
                    <a:pt x="1194" y="2088"/>
                    <a:pt x="1198" y="2086"/>
                  </a:cubicBezTo>
                  <a:cubicBezTo>
                    <a:pt x="1199" y="2086"/>
                    <a:pt x="1200" y="2085"/>
                    <a:pt x="1200" y="2084"/>
                  </a:cubicBezTo>
                  <a:cubicBezTo>
                    <a:pt x="1201" y="2080"/>
                    <a:pt x="1205" y="2076"/>
                    <a:pt x="1202" y="2071"/>
                  </a:cubicBezTo>
                  <a:cubicBezTo>
                    <a:pt x="1202" y="2069"/>
                    <a:pt x="1202" y="2068"/>
                    <a:pt x="1201" y="2066"/>
                  </a:cubicBezTo>
                  <a:cubicBezTo>
                    <a:pt x="1201" y="2062"/>
                    <a:pt x="1202" y="2058"/>
                    <a:pt x="1205" y="2055"/>
                  </a:cubicBezTo>
                  <a:cubicBezTo>
                    <a:pt x="1208" y="2053"/>
                    <a:pt x="1209" y="2050"/>
                    <a:pt x="1211" y="2048"/>
                  </a:cubicBezTo>
                  <a:cubicBezTo>
                    <a:pt x="1211" y="2048"/>
                    <a:pt x="1211" y="2048"/>
                    <a:pt x="1211" y="2048"/>
                  </a:cubicBezTo>
                  <a:cubicBezTo>
                    <a:pt x="1211" y="2048"/>
                    <a:pt x="1211" y="2048"/>
                    <a:pt x="1211" y="2048"/>
                  </a:cubicBezTo>
                  <a:cubicBezTo>
                    <a:pt x="1209" y="2048"/>
                    <a:pt x="1208" y="2048"/>
                    <a:pt x="1207" y="2047"/>
                  </a:cubicBezTo>
                  <a:cubicBezTo>
                    <a:pt x="1206" y="2047"/>
                    <a:pt x="1206" y="2045"/>
                    <a:pt x="1207" y="2045"/>
                  </a:cubicBezTo>
                  <a:cubicBezTo>
                    <a:pt x="1207" y="2045"/>
                    <a:pt x="1208" y="2044"/>
                    <a:pt x="1208" y="2045"/>
                  </a:cubicBezTo>
                  <a:cubicBezTo>
                    <a:pt x="1209" y="2045"/>
                    <a:pt x="1210" y="2047"/>
                    <a:pt x="1211" y="2048"/>
                  </a:cubicBezTo>
                  <a:cubicBezTo>
                    <a:pt x="1211" y="2048"/>
                    <a:pt x="1211" y="2048"/>
                    <a:pt x="1212" y="2048"/>
                  </a:cubicBezTo>
                  <a:cubicBezTo>
                    <a:pt x="1211" y="2048"/>
                    <a:pt x="1211" y="2048"/>
                    <a:pt x="1211" y="2048"/>
                  </a:cubicBezTo>
                  <a:cubicBezTo>
                    <a:pt x="1212" y="2048"/>
                    <a:pt x="1213" y="2049"/>
                    <a:pt x="1214" y="2049"/>
                  </a:cubicBezTo>
                  <a:cubicBezTo>
                    <a:pt x="1218" y="2048"/>
                    <a:pt x="1221" y="2046"/>
                    <a:pt x="1220" y="2043"/>
                  </a:cubicBezTo>
                  <a:cubicBezTo>
                    <a:pt x="1220" y="2040"/>
                    <a:pt x="1219" y="2038"/>
                    <a:pt x="1218" y="2035"/>
                  </a:cubicBezTo>
                  <a:cubicBezTo>
                    <a:pt x="1218" y="2034"/>
                    <a:pt x="1215" y="2033"/>
                    <a:pt x="1214" y="2034"/>
                  </a:cubicBezTo>
                  <a:cubicBezTo>
                    <a:pt x="1213" y="2034"/>
                    <a:pt x="1212" y="2035"/>
                    <a:pt x="1211" y="2035"/>
                  </a:cubicBezTo>
                  <a:cubicBezTo>
                    <a:pt x="1206" y="2037"/>
                    <a:pt x="1201" y="2035"/>
                    <a:pt x="1199" y="2030"/>
                  </a:cubicBezTo>
                  <a:cubicBezTo>
                    <a:pt x="1199" y="2027"/>
                    <a:pt x="1198" y="2024"/>
                    <a:pt x="1197" y="2021"/>
                  </a:cubicBezTo>
                  <a:cubicBezTo>
                    <a:pt x="1197" y="2020"/>
                    <a:pt x="1197" y="2019"/>
                    <a:pt x="1196" y="2018"/>
                  </a:cubicBezTo>
                  <a:cubicBezTo>
                    <a:pt x="1196" y="2016"/>
                    <a:pt x="1199" y="2014"/>
                    <a:pt x="1201" y="2015"/>
                  </a:cubicBezTo>
                  <a:cubicBezTo>
                    <a:pt x="1204" y="2016"/>
                    <a:pt x="1207" y="2017"/>
                    <a:pt x="1210" y="2018"/>
                  </a:cubicBezTo>
                  <a:cubicBezTo>
                    <a:pt x="1214" y="2021"/>
                    <a:pt x="1218" y="2021"/>
                    <a:pt x="1223" y="2020"/>
                  </a:cubicBezTo>
                  <a:cubicBezTo>
                    <a:pt x="1227" y="2020"/>
                    <a:pt x="1232" y="2015"/>
                    <a:pt x="1232" y="2011"/>
                  </a:cubicBezTo>
                  <a:cubicBezTo>
                    <a:pt x="1232" y="2008"/>
                    <a:pt x="1231" y="2005"/>
                    <a:pt x="1231" y="2002"/>
                  </a:cubicBezTo>
                  <a:cubicBezTo>
                    <a:pt x="1231" y="1998"/>
                    <a:pt x="1232" y="1995"/>
                    <a:pt x="1233" y="1991"/>
                  </a:cubicBezTo>
                  <a:cubicBezTo>
                    <a:pt x="1233" y="1990"/>
                    <a:pt x="1232" y="1990"/>
                    <a:pt x="1232" y="1989"/>
                  </a:cubicBezTo>
                  <a:cubicBezTo>
                    <a:pt x="1232" y="1988"/>
                    <a:pt x="1232" y="1987"/>
                    <a:pt x="1231" y="1986"/>
                  </a:cubicBezTo>
                  <a:cubicBezTo>
                    <a:pt x="1231" y="1983"/>
                    <a:pt x="1232" y="1981"/>
                    <a:pt x="1235" y="1982"/>
                  </a:cubicBezTo>
                  <a:cubicBezTo>
                    <a:pt x="1248" y="1984"/>
                    <a:pt x="1260" y="1983"/>
                    <a:pt x="1271" y="1979"/>
                  </a:cubicBezTo>
                  <a:cubicBezTo>
                    <a:pt x="1274" y="1978"/>
                    <a:pt x="1277" y="1977"/>
                    <a:pt x="1280" y="1975"/>
                  </a:cubicBezTo>
                  <a:cubicBezTo>
                    <a:pt x="1286" y="1973"/>
                    <a:pt x="1290" y="1971"/>
                    <a:pt x="1291" y="1965"/>
                  </a:cubicBezTo>
                  <a:cubicBezTo>
                    <a:pt x="1292" y="1961"/>
                    <a:pt x="1294" y="1958"/>
                    <a:pt x="1296" y="1955"/>
                  </a:cubicBezTo>
                  <a:cubicBezTo>
                    <a:pt x="1297" y="1953"/>
                    <a:pt x="1297" y="1951"/>
                    <a:pt x="1298" y="1949"/>
                  </a:cubicBezTo>
                  <a:cubicBezTo>
                    <a:pt x="1298" y="1946"/>
                    <a:pt x="1297" y="1943"/>
                    <a:pt x="1294" y="1942"/>
                  </a:cubicBezTo>
                  <a:cubicBezTo>
                    <a:pt x="1293" y="1941"/>
                    <a:pt x="1291" y="1941"/>
                    <a:pt x="1290" y="1940"/>
                  </a:cubicBezTo>
                  <a:cubicBezTo>
                    <a:pt x="1288" y="1939"/>
                    <a:pt x="1288" y="1937"/>
                    <a:pt x="1288" y="1936"/>
                  </a:cubicBezTo>
                  <a:cubicBezTo>
                    <a:pt x="1288" y="1934"/>
                    <a:pt x="1288" y="1933"/>
                    <a:pt x="1289" y="1931"/>
                  </a:cubicBezTo>
                  <a:cubicBezTo>
                    <a:pt x="1291" y="1927"/>
                    <a:pt x="1289" y="1924"/>
                    <a:pt x="1286" y="1922"/>
                  </a:cubicBezTo>
                  <a:cubicBezTo>
                    <a:pt x="1282" y="1919"/>
                    <a:pt x="1278" y="1917"/>
                    <a:pt x="1274" y="1914"/>
                  </a:cubicBezTo>
                  <a:cubicBezTo>
                    <a:pt x="1274" y="1914"/>
                    <a:pt x="1274" y="1914"/>
                    <a:pt x="1274" y="1914"/>
                  </a:cubicBezTo>
                  <a:cubicBezTo>
                    <a:pt x="1274" y="1913"/>
                    <a:pt x="1273" y="1913"/>
                    <a:pt x="1273" y="1913"/>
                  </a:cubicBezTo>
                  <a:cubicBezTo>
                    <a:pt x="1273" y="1913"/>
                    <a:pt x="1273" y="1912"/>
                    <a:pt x="1273" y="1912"/>
                  </a:cubicBezTo>
                  <a:cubicBezTo>
                    <a:pt x="1273" y="1912"/>
                    <a:pt x="1273" y="1912"/>
                    <a:pt x="1273" y="1912"/>
                  </a:cubicBezTo>
                  <a:cubicBezTo>
                    <a:pt x="1273" y="1913"/>
                    <a:pt x="1273" y="1913"/>
                    <a:pt x="1273" y="1913"/>
                  </a:cubicBezTo>
                  <a:cubicBezTo>
                    <a:pt x="1274" y="1913"/>
                    <a:pt x="1274" y="1913"/>
                    <a:pt x="1274" y="1913"/>
                  </a:cubicBezTo>
                  <a:cubicBezTo>
                    <a:pt x="1274" y="1913"/>
                    <a:pt x="1274" y="1914"/>
                    <a:pt x="1274" y="1914"/>
                  </a:cubicBezTo>
                  <a:cubicBezTo>
                    <a:pt x="1282" y="1915"/>
                    <a:pt x="1290" y="1914"/>
                    <a:pt x="1297" y="1919"/>
                  </a:cubicBezTo>
                  <a:cubicBezTo>
                    <a:pt x="1299" y="1919"/>
                    <a:pt x="1301" y="1919"/>
                    <a:pt x="1302" y="1919"/>
                  </a:cubicBezTo>
                  <a:cubicBezTo>
                    <a:pt x="1305" y="1920"/>
                    <a:pt x="1309" y="1920"/>
                    <a:pt x="1312" y="1920"/>
                  </a:cubicBezTo>
                  <a:cubicBezTo>
                    <a:pt x="1320" y="1920"/>
                    <a:pt x="1327" y="1917"/>
                    <a:pt x="1331" y="1910"/>
                  </a:cubicBezTo>
                  <a:cubicBezTo>
                    <a:pt x="1334" y="1906"/>
                    <a:pt x="1335" y="1902"/>
                    <a:pt x="1338" y="1899"/>
                  </a:cubicBezTo>
                  <a:cubicBezTo>
                    <a:pt x="1342" y="1896"/>
                    <a:pt x="1344" y="1892"/>
                    <a:pt x="1346" y="1887"/>
                  </a:cubicBezTo>
                  <a:cubicBezTo>
                    <a:pt x="1347" y="1882"/>
                    <a:pt x="1348" y="1877"/>
                    <a:pt x="1350" y="1872"/>
                  </a:cubicBezTo>
                  <a:cubicBezTo>
                    <a:pt x="1350" y="1873"/>
                    <a:pt x="1350" y="1873"/>
                    <a:pt x="1350" y="1873"/>
                  </a:cubicBezTo>
                  <a:cubicBezTo>
                    <a:pt x="1350" y="1873"/>
                    <a:pt x="1350" y="1872"/>
                    <a:pt x="1350" y="1872"/>
                  </a:cubicBezTo>
                  <a:cubicBezTo>
                    <a:pt x="1350" y="1872"/>
                    <a:pt x="1350" y="1872"/>
                    <a:pt x="1350" y="1872"/>
                  </a:cubicBezTo>
                  <a:cubicBezTo>
                    <a:pt x="1349" y="1868"/>
                    <a:pt x="1349" y="1866"/>
                    <a:pt x="1352" y="1864"/>
                  </a:cubicBezTo>
                  <a:cubicBezTo>
                    <a:pt x="1354" y="1863"/>
                    <a:pt x="1355" y="1863"/>
                    <a:pt x="1356" y="1863"/>
                  </a:cubicBezTo>
                  <a:cubicBezTo>
                    <a:pt x="1357" y="1859"/>
                    <a:pt x="1359" y="1855"/>
                    <a:pt x="1361" y="1852"/>
                  </a:cubicBezTo>
                  <a:cubicBezTo>
                    <a:pt x="1362" y="1851"/>
                    <a:pt x="1363" y="1850"/>
                    <a:pt x="1364" y="1850"/>
                  </a:cubicBezTo>
                  <a:cubicBezTo>
                    <a:pt x="1364" y="1850"/>
                    <a:pt x="1365" y="1852"/>
                    <a:pt x="1365" y="1852"/>
                  </a:cubicBezTo>
                  <a:cubicBezTo>
                    <a:pt x="1366" y="1854"/>
                    <a:pt x="1366" y="1855"/>
                    <a:pt x="1366" y="1857"/>
                  </a:cubicBezTo>
                  <a:cubicBezTo>
                    <a:pt x="1370" y="1856"/>
                    <a:pt x="1371" y="1854"/>
                    <a:pt x="1372" y="1852"/>
                  </a:cubicBezTo>
                  <a:cubicBezTo>
                    <a:pt x="1377" y="1842"/>
                    <a:pt x="1381" y="1832"/>
                    <a:pt x="1388" y="1823"/>
                  </a:cubicBezTo>
                  <a:cubicBezTo>
                    <a:pt x="1393" y="1817"/>
                    <a:pt x="1395" y="1810"/>
                    <a:pt x="1391" y="1802"/>
                  </a:cubicBezTo>
                  <a:cubicBezTo>
                    <a:pt x="1391" y="1801"/>
                    <a:pt x="1390" y="1800"/>
                    <a:pt x="1390" y="1799"/>
                  </a:cubicBezTo>
                  <a:cubicBezTo>
                    <a:pt x="1389" y="1790"/>
                    <a:pt x="1390" y="1781"/>
                    <a:pt x="1398" y="1775"/>
                  </a:cubicBezTo>
                  <a:cubicBezTo>
                    <a:pt x="1402" y="1772"/>
                    <a:pt x="1405" y="1769"/>
                    <a:pt x="1408" y="1766"/>
                  </a:cubicBezTo>
                  <a:cubicBezTo>
                    <a:pt x="1413" y="1761"/>
                    <a:pt x="1420" y="1758"/>
                    <a:pt x="1426" y="1756"/>
                  </a:cubicBezTo>
                  <a:cubicBezTo>
                    <a:pt x="1430" y="1755"/>
                    <a:pt x="1433" y="1753"/>
                    <a:pt x="1436" y="1751"/>
                  </a:cubicBezTo>
                  <a:cubicBezTo>
                    <a:pt x="1438" y="1749"/>
                    <a:pt x="1441" y="1747"/>
                    <a:pt x="1442" y="1744"/>
                  </a:cubicBezTo>
                  <a:cubicBezTo>
                    <a:pt x="1442" y="1743"/>
                    <a:pt x="1444" y="1742"/>
                    <a:pt x="1445" y="1742"/>
                  </a:cubicBezTo>
                  <a:cubicBezTo>
                    <a:pt x="1448" y="1743"/>
                    <a:pt x="1451" y="1742"/>
                    <a:pt x="1454" y="1742"/>
                  </a:cubicBezTo>
                  <a:cubicBezTo>
                    <a:pt x="1458" y="1742"/>
                    <a:pt x="1461" y="1742"/>
                    <a:pt x="1464" y="1742"/>
                  </a:cubicBezTo>
                  <a:cubicBezTo>
                    <a:pt x="1470" y="1742"/>
                    <a:pt x="1476" y="1741"/>
                    <a:pt x="1480" y="1736"/>
                  </a:cubicBezTo>
                  <a:cubicBezTo>
                    <a:pt x="1482" y="1733"/>
                    <a:pt x="1486" y="1733"/>
                    <a:pt x="1488" y="1731"/>
                  </a:cubicBezTo>
                  <a:cubicBezTo>
                    <a:pt x="1490" y="1729"/>
                    <a:pt x="1491" y="1728"/>
                    <a:pt x="1491" y="1725"/>
                  </a:cubicBezTo>
                  <a:cubicBezTo>
                    <a:pt x="1490" y="1723"/>
                    <a:pt x="1490" y="1720"/>
                    <a:pt x="1492" y="1718"/>
                  </a:cubicBezTo>
                  <a:cubicBezTo>
                    <a:pt x="1495" y="1712"/>
                    <a:pt x="1498" y="1707"/>
                    <a:pt x="1501" y="1701"/>
                  </a:cubicBezTo>
                  <a:cubicBezTo>
                    <a:pt x="1504" y="1697"/>
                    <a:pt x="1506" y="1693"/>
                    <a:pt x="1505" y="1688"/>
                  </a:cubicBezTo>
                  <a:cubicBezTo>
                    <a:pt x="1505" y="1684"/>
                    <a:pt x="1504" y="1681"/>
                    <a:pt x="1507" y="1677"/>
                  </a:cubicBezTo>
                  <a:cubicBezTo>
                    <a:pt x="1511" y="1672"/>
                    <a:pt x="1512" y="1665"/>
                    <a:pt x="1512" y="1658"/>
                  </a:cubicBezTo>
                  <a:cubicBezTo>
                    <a:pt x="1513" y="1650"/>
                    <a:pt x="1513" y="1641"/>
                    <a:pt x="1513" y="1633"/>
                  </a:cubicBezTo>
                  <a:cubicBezTo>
                    <a:pt x="1513" y="1627"/>
                    <a:pt x="1512" y="1622"/>
                    <a:pt x="1512" y="1616"/>
                  </a:cubicBezTo>
                  <a:cubicBezTo>
                    <a:pt x="1512" y="1613"/>
                    <a:pt x="1513" y="1610"/>
                    <a:pt x="1516" y="1609"/>
                  </a:cubicBezTo>
                  <a:cubicBezTo>
                    <a:pt x="1523" y="1606"/>
                    <a:pt x="1528" y="1600"/>
                    <a:pt x="1530" y="1593"/>
                  </a:cubicBezTo>
                  <a:cubicBezTo>
                    <a:pt x="1531" y="1592"/>
                    <a:pt x="1532" y="1590"/>
                    <a:pt x="1532" y="1589"/>
                  </a:cubicBezTo>
                  <a:cubicBezTo>
                    <a:pt x="1535" y="1585"/>
                    <a:pt x="1537" y="1581"/>
                    <a:pt x="1541" y="1578"/>
                  </a:cubicBezTo>
                  <a:cubicBezTo>
                    <a:pt x="1546" y="1574"/>
                    <a:pt x="1550" y="1570"/>
                    <a:pt x="1554" y="1565"/>
                  </a:cubicBezTo>
                  <a:cubicBezTo>
                    <a:pt x="1558" y="1561"/>
                    <a:pt x="1561" y="1556"/>
                    <a:pt x="1564" y="1551"/>
                  </a:cubicBezTo>
                  <a:cubicBezTo>
                    <a:pt x="1566" y="1546"/>
                    <a:pt x="1567" y="1534"/>
                    <a:pt x="1566" y="1530"/>
                  </a:cubicBezTo>
                  <a:cubicBezTo>
                    <a:pt x="1564" y="1523"/>
                    <a:pt x="1561" y="1516"/>
                    <a:pt x="1558" y="1509"/>
                  </a:cubicBezTo>
                  <a:close/>
                  <a:moveTo>
                    <a:pt x="1016" y="807"/>
                  </a:moveTo>
                  <a:cubicBezTo>
                    <a:pt x="1016" y="807"/>
                    <a:pt x="1017" y="807"/>
                    <a:pt x="1017" y="806"/>
                  </a:cubicBezTo>
                  <a:cubicBezTo>
                    <a:pt x="1020" y="805"/>
                    <a:pt x="1022" y="804"/>
                    <a:pt x="1025" y="804"/>
                  </a:cubicBezTo>
                  <a:cubicBezTo>
                    <a:pt x="1030" y="803"/>
                    <a:pt x="1036" y="803"/>
                    <a:pt x="1041" y="803"/>
                  </a:cubicBezTo>
                  <a:cubicBezTo>
                    <a:pt x="1045" y="803"/>
                    <a:pt x="1048" y="802"/>
                    <a:pt x="1050" y="799"/>
                  </a:cubicBezTo>
                  <a:cubicBezTo>
                    <a:pt x="1051" y="799"/>
                    <a:pt x="1052" y="799"/>
                    <a:pt x="1053" y="798"/>
                  </a:cubicBezTo>
                  <a:cubicBezTo>
                    <a:pt x="1053" y="799"/>
                    <a:pt x="1054" y="799"/>
                    <a:pt x="1054" y="799"/>
                  </a:cubicBezTo>
                  <a:cubicBezTo>
                    <a:pt x="1056" y="802"/>
                    <a:pt x="1056" y="806"/>
                    <a:pt x="1054" y="808"/>
                  </a:cubicBezTo>
                  <a:cubicBezTo>
                    <a:pt x="1050" y="812"/>
                    <a:pt x="1046" y="816"/>
                    <a:pt x="1040" y="813"/>
                  </a:cubicBezTo>
                  <a:cubicBezTo>
                    <a:pt x="1032" y="811"/>
                    <a:pt x="1024" y="813"/>
                    <a:pt x="1017" y="812"/>
                  </a:cubicBezTo>
                  <a:cubicBezTo>
                    <a:pt x="1016" y="812"/>
                    <a:pt x="1015" y="811"/>
                    <a:pt x="1015" y="810"/>
                  </a:cubicBezTo>
                  <a:cubicBezTo>
                    <a:pt x="1015" y="809"/>
                    <a:pt x="1015" y="808"/>
                    <a:pt x="1016" y="807"/>
                  </a:cubicBezTo>
                  <a:close/>
                  <a:moveTo>
                    <a:pt x="1013" y="822"/>
                  </a:moveTo>
                  <a:cubicBezTo>
                    <a:pt x="1013" y="823"/>
                    <a:pt x="1013" y="824"/>
                    <a:pt x="1012" y="824"/>
                  </a:cubicBezTo>
                  <a:cubicBezTo>
                    <a:pt x="1006" y="827"/>
                    <a:pt x="1001" y="830"/>
                    <a:pt x="995" y="833"/>
                  </a:cubicBezTo>
                  <a:cubicBezTo>
                    <a:pt x="990" y="834"/>
                    <a:pt x="986" y="836"/>
                    <a:pt x="981" y="838"/>
                  </a:cubicBezTo>
                  <a:cubicBezTo>
                    <a:pt x="977" y="841"/>
                    <a:pt x="972" y="842"/>
                    <a:pt x="967" y="842"/>
                  </a:cubicBezTo>
                  <a:cubicBezTo>
                    <a:pt x="965" y="841"/>
                    <a:pt x="963" y="840"/>
                    <a:pt x="962" y="839"/>
                  </a:cubicBezTo>
                  <a:cubicBezTo>
                    <a:pt x="960" y="838"/>
                    <a:pt x="961" y="834"/>
                    <a:pt x="962" y="833"/>
                  </a:cubicBezTo>
                  <a:cubicBezTo>
                    <a:pt x="963" y="833"/>
                    <a:pt x="963" y="833"/>
                    <a:pt x="964" y="833"/>
                  </a:cubicBezTo>
                  <a:cubicBezTo>
                    <a:pt x="972" y="832"/>
                    <a:pt x="978" y="828"/>
                    <a:pt x="985" y="824"/>
                  </a:cubicBezTo>
                  <a:cubicBezTo>
                    <a:pt x="987" y="823"/>
                    <a:pt x="990" y="823"/>
                    <a:pt x="992" y="823"/>
                  </a:cubicBezTo>
                  <a:cubicBezTo>
                    <a:pt x="996" y="825"/>
                    <a:pt x="999" y="824"/>
                    <a:pt x="1002" y="823"/>
                  </a:cubicBezTo>
                  <a:cubicBezTo>
                    <a:pt x="1004" y="822"/>
                    <a:pt x="1007" y="821"/>
                    <a:pt x="1009" y="820"/>
                  </a:cubicBezTo>
                  <a:cubicBezTo>
                    <a:pt x="1011" y="820"/>
                    <a:pt x="1014" y="821"/>
                    <a:pt x="1013" y="822"/>
                  </a:cubicBezTo>
                  <a:close/>
                  <a:moveTo>
                    <a:pt x="966" y="758"/>
                  </a:moveTo>
                  <a:cubicBezTo>
                    <a:pt x="978" y="759"/>
                    <a:pt x="989" y="762"/>
                    <a:pt x="1000" y="766"/>
                  </a:cubicBezTo>
                  <a:cubicBezTo>
                    <a:pt x="1001" y="766"/>
                    <a:pt x="1003" y="767"/>
                    <a:pt x="1004" y="768"/>
                  </a:cubicBezTo>
                  <a:cubicBezTo>
                    <a:pt x="1006" y="772"/>
                    <a:pt x="1008" y="777"/>
                    <a:pt x="1010" y="781"/>
                  </a:cubicBezTo>
                  <a:cubicBezTo>
                    <a:pt x="1012" y="783"/>
                    <a:pt x="1010" y="785"/>
                    <a:pt x="1009" y="787"/>
                  </a:cubicBezTo>
                  <a:cubicBezTo>
                    <a:pt x="1008" y="788"/>
                    <a:pt x="1006" y="788"/>
                    <a:pt x="1005" y="788"/>
                  </a:cubicBezTo>
                  <a:cubicBezTo>
                    <a:pt x="1001" y="786"/>
                    <a:pt x="999" y="783"/>
                    <a:pt x="996" y="781"/>
                  </a:cubicBezTo>
                  <a:cubicBezTo>
                    <a:pt x="996" y="780"/>
                    <a:pt x="994" y="780"/>
                    <a:pt x="994" y="780"/>
                  </a:cubicBezTo>
                  <a:cubicBezTo>
                    <a:pt x="993" y="780"/>
                    <a:pt x="993" y="781"/>
                    <a:pt x="993" y="781"/>
                  </a:cubicBezTo>
                  <a:cubicBezTo>
                    <a:pt x="992" y="783"/>
                    <a:pt x="993" y="785"/>
                    <a:pt x="992" y="786"/>
                  </a:cubicBezTo>
                  <a:cubicBezTo>
                    <a:pt x="988" y="793"/>
                    <a:pt x="985" y="800"/>
                    <a:pt x="983" y="808"/>
                  </a:cubicBezTo>
                  <a:cubicBezTo>
                    <a:pt x="983" y="809"/>
                    <a:pt x="981" y="809"/>
                    <a:pt x="981" y="810"/>
                  </a:cubicBezTo>
                  <a:cubicBezTo>
                    <a:pt x="980" y="811"/>
                    <a:pt x="977" y="810"/>
                    <a:pt x="977" y="809"/>
                  </a:cubicBezTo>
                  <a:cubicBezTo>
                    <a:pt x="976" y="806"/>
                    <a:pt x="976" y="803"/>
                    <a:pt x="975" y="800"/>
                  </a:cubicBezTo>
                  <a:cubicBezTo>
                    <a:pt x="974" y="797"/>
                    <a:pt x="971" y="796"/>
                    <a:pt x="968" y="797"/>
                  </a:cubicBezTo>
                  <a:cubicBezTo>
                    <a:pt x="967" y="798"/>
                    <a:pt x="965" y="798"/>
                    <a:pt x="964" y="799"/>
                  </a:cubicBezTo>
                  <a:cubicBezTo>
                    <a:pt x="963" y="800"/>
                    <a:pt x="962" y="800"/>
                    <a:pt x="961" y="799"/>
                  </a:cubicBezTo>
                  <a:cubicBezTo>
                    <a:pt x="961" y="799"/>
                    <a:pt x="961" y="798"/>
                    <a:pt x="961" y="798"/>
                  </a:cubicBezTo>
                  <a:cubicBezTo>
                    <a:pt x="963" y="796"/>
                    <a:pt x="965" y="794"/>
                    <a:pt x="966" y="792"/>
                  </a:cubicBezTo>
                  <a:cubicBezTo>
                    <a:pt x="969" y="788"/>
                    <a:pt x="970" y="783"/>
                    <a:pt x="968" y="778"/>
                  </a:cubicBezTo>
                  <a:cubicBezTo>
                    <a:pt x="967" y="777"/>
                    <a:pt x="966" y="775"/>
                    <a:pt x="964" y="773"/>
                  </a:cubicBezTo>
                  <a:cubicBezTo>
                    <a:pt x="962" y="771"/>
                    <a:pt x="959" y="770"/>
                    <a:pt x="956" y="768"/>
                  </a:cubicBezTo>
                  <a:cubicBezTo>
                    <a:pt x="955" y="767"/>
                    <a:pt x="955" y="766"/>
                    <a:pt x="954" y="765"/>
                  </a:cubicBezTo>
                  <a:cubicBezTo>
                    <a:pt x="954" y="765"/>
                    <a:pt x="953" y="765"/>
                    <a:pt x="953" y="765"/>
                  </a:cubicBezTo>
                  <a:cubicBezTo>
                    <a:pt x="953" y="765"/>
                    <a:pt x="953" y="765"/>
                    <a:pt x="953" y="765"/>
                  </a:cubicBezTo>
                  <a:cubicBezTo>
                    <a:pt x="950" y="767"/>
                    <a:pt x="948" y="769"/>
                    <a:pt x="946" y="772"/>
                  </a:cubicBezTo>
                  <a:cubicBezTo>
                    <a:pt x="944" y="774"/>
                    <a:pt x="942" y="776"/>
                    <a:pt x="939" y="776"/>
                  </a:cubicBezTo>
                  <a:cubicBezTo>
                    <a:pt x="935" y="777"/>
                    <a:pt x="933" y="779"/>
                    <a:pt x="931" y="782"/>
                  </a:cubicBezTo>
                  <a:cubicBezTo>
                    <a:pt x="927" y="790"/>
                    <a:pt x="923" y="800"/>
                    <a:pt x="923" y="810"/>
                  </a:cubicBezTo>
                  <a:cubicBezTo>
                    <a:pt x="924" y="820"/>
                    <a:pt x="918" y="826"/>
                    <a:pt x="910" y="832"/>
                  </a:cubicBezTo>
                  <a:cubicBezTo>
                    <a:pt x="908" y="833"/>
                    <a:pt x="905" y="832"/>
                    <a:pt x="904" y="829"/>
                  </a:cubicBezTo>
                  <a:cubicBezTo>
                    <a:pt x="903" y="820"/>
                    <a:pt x="902" y="812"/>
                    <a:pt x="907" y="804"/>
                  </a:cubicBezTo>
                  <a:cubicBezTo>
                    <a:pt x="910" y="799"/>
                    <a:pt x="911" y="793"/>
                    <a:pt x="914" y="788"/>
                  </a:cubicBezTo>
                  <a:cubicBezTo>
                    <a:pt x="915" y="785"/>
                    <a:pt x="914" y="783"/>
                    <a:pt x="913" y="780"/>
                  </a:cubicBezTo>
                  <a:cubicBezTo>
                    <a:pt x="913" y="779"/>
                    <a:pt x="913" y="778"/>
                    <a:pt x="913" y="777"/>
                  </a:cubicBezTo>
                  <a:cubicBezTo>
                    <a:pt x="913" y="777"/>
                    <a:pt x="914" y="776"/>
                    <a:pt x="914" y="776"/>
                  </a:cubicBezTo>
                  <a:cubicBezTo>
                    <a:pt x="928" y="762"/>
                    <a:pt x="924" y="763"/>
                    <a:pt x="943" y="761"/>
                  </a:cubicBezTo>
                  <a:cubicBezTo>
                    <a:pt x="948" y="760"/>
                    <a:pt x="950" y="762"/>
                    <a:pt x="953" y="765"/>
                  </a:cubicBezTo>
                  <a:cubicBezTo>
                    <a:pt x="953" y="765"/>
                    <a:pt x="953" y="764"/>
                    <a:pt x="954" y="764"/>
                  </a:cubicBezTo>
                  <a:cubicBezTo>
                    <a:pt x="954" y="764"/>
                    <a:pt x="954" y="765"/>
                    <a:pt x="954" y="765"/>
                  </a:cubicBezTo>
                  <a:cubicBezTo>
                    <a:pt x="957" y="764"/>
                    <a:pt x="960" y="763"/>
                    <a:pt x="963" y="762"/>
                  </a:cubicBezTo>
                  <a:cubicBezTo>
                    <a:pt x="963" y="762"/>
                    <a:pt x="964" y="760"/>
                    <a:pt x="964" y="760"/>
                  </a:cubicBezTo>
                  <a:cubicBezTo>
                    <a:pt x="965" y="759"/>
                    <a:pt x="966" y="757"/>
                    <a:pt x="966" y="758"/>
                  </a:cubicBezTo>
                  <a:close/>
                  <a:moveTo>
                    <a:pt x="887" y="728"/>
                  </a:moveTo>
                  <a:cubicBezTo>
                    <a:pt x="894" y="726"/>
                    <a:pt x="901" y="724"/>
                    <a:pt x="906" y="719"/>
                  </a:cubicBezTo>
                  <a:cubicBezTo>
                    <a:pt x="912" y="716"/>
                    <a:pt x="919" y="715"/>
                    <a:pt x="924" y="710"/>
                  </a:cubicBezTo>
                  <a:cubicBezTo>
                    <a:pt x="925" y="709"/>
                    <a:pt x="928" y="709"/>
                    <a:pt x="930" y="710"/>
                  </a:cubicBezTo>
                  <a:cubicBezTo>
                    <a:pt x="931" y="710"/>
                    <a:pt x="933" y="711"/>
                    <a:pt x="934" y="711"/>
                  </a:cubicBezTo>
                  <a:cubicBezTo>
                    <a:pt x="940" y="712"/>
                    <a:pt x="944" y="715"/>
                    <a:pt x="946" y="721"/>
                  </a:cubicBezTo>
                  <a:cubicBezTo>
                    <a:pt x="946" y="724"/>
                    <a:pt x="949" y="727"/>
                    <a:pt x="952" y="727"/>
                  </a:cubicBezTo>
                  <a:cubicBezTo>
                    <a:pt x="956" y="728"/>
                    <a:pt x="957" y="730"/>
                    <a:pt x="957" y="734"/>
                  </a:cubicBezTo>
                  <a:cubicBezTo>
                    <a:pt x="957" y="738"/>
                    <a:pt x="958" y="743"/>
                    <a:pt x="959" y="748"/>
                  </a:cubicBezTo>
                  <a:cubicBezTo>
                    <a:pt x="959" y="750"/>
                    <a:pt x="957" y="751"/>
                    <a:pt x="954" y="750"/>
                  </a:cubicBezTo>
                  <a:cubicBezTo>
                    <a:pt x="952" y="749"/>
                    <a:pt x="951" y="748"/>
                    <a:pt x="948" y="748"/>
                  </a:cubicBezTo>
                  <a:cubicBezTo>
                    <a:pt x="944" y="749"/>
                    <a:pt x="939" y="748"/>
                    <a:pt x="935" y="749"/>
                  </a:cubicBezTo>
                  <a:cubicBezTo>
                    <a:pt x="930" y="751"/>
                    <a:pt x="926" y="749"/>
                    <a:pt x="922" y="745"/>
                  </a:cubicBezTo>
                  <a:cubicBezTo>
                    <a:pt x="922" y="744"/>
                    <a:pt x="921" y="744"/>
                    <a:pt x="920" y="743"/>
                  </a:cubicBezTo>
                  <a:cubicBezTo>
                    <a:pt x="919" y="742"/>
                    <a:pt x="916" y="742"/>
                    <a:pt x="917" y="740"/>
                  </a:cubicBezTo>
                  <a:cubicBezTo>
                    <a:pt x="917" y="739"/>
                    <a:pt x="919" y="738"/>
                    <a:pt x="919" y="737"/>
                  </a:cubicBezTo>
                  <a:cubicBezTo>
                    <a:pt x="920" y="736"/>
                    <a:pt x="920" y="735"/>
                    <a:pt x="919" y="734"/>
                  </a:cubicBezTo>
                  <a:cubicBezTo>
                    <a:pt x="919" y="734"/>
                    <a:pt x="918" y="734"/>
                    <a:pt x="918" y="734"/>
                  </a:cubicBezTo>
                  <a:cubicBezTo>
                    <a:pt x="917" y="734"/>
                    <a:pt x="916" y="733"/>
                    <a:pt x="914" y="734"/>
                  </a:cubicBezTo>
                  <a:cubicBezTo>
                    <a:pt x="913" y="734"/>
                    <a:pt x="912" y="734"/>
                    <a:pt x="912" y="735"/>
                  </a:cubicBezTo>
                  <a:cubicBezTo>
                    <a:pt x="905" y="740"/>
                    <a:pt x="898" y="742"/>
                    <a:pt x="891" y="744"/>
                  </a:cubicBezTo>
                  <a:cubicBezTo>
                    <a:pt x="886" y="746"/>
                    <a:pt x="883" y="747"/>
                    <a:pt x="879" y="742"/>
                  </a:cubicBezTo>
                  <a:cubicBezTo>
                    <a:pt x="877" y="739"/>
                    <a:pt x="874" y="740"/>
                    <a:pt x="871" y="740"/>
                  </a:cubicBezTo>
                  <a:cubicBezTo>
                    <a:pt x="871" y="740"/>
                    <a:pt x="871" y="740"/>
                    <a:pt x="871" y="740"/>
                  </a:cubicBezTo>
                  <a:cubicBezTo>
                    <a:pt x="870" y="740"/>
                    <a:pt x="870" y="740"/>
                    <a:pt x="870" y="740"/>
                  </a:cubicBezTo>
                  <a:cubicBezTo>
                    <a:pt x="869" y="740"/>
                    <a:pt x="869" y="741"/>
                    <a:pt x="869" y="741"/>
                  </a:cubicBezTo>
                  <a:cubicBezTo>
                    <a:pt x="869" y="741"/>
                    <a:pt x="869" y="740"/>
                    <a:pt x="869" y="740"/>
                  </a:cubicBezTo>
                  <a:cubicBezTo>
                    <a:pt x="869" y="740"/>
                    <a:pt x="870" y="740"/>
                    <a:pt x="870" y="740"/>
                  </a:cubicBezTo>
                  <a:cubicBezTo>
                    <a:pt x="870" y="740"/>
                    <a:pt x="870" y="740"/>
                    <a:pt x="870" y="740"/>
                  </a:cubicBezTo>
                  <a:cubicBezTo>
                    <a:pt x="870" y="740"/>
                    <a:pt x="871" y="740"/>
                    <a:pt x="871" y="740"/>
                  </a:cubicBezTo>
                  <a:cubicBezTo>
                    <a:pt x="875" y="734"/>
                    <a:pt x="880" y="730"/>
                    <a:pt x="887" y="728"/>
                  </a:cubicBezTo>
                  <a:close/>
                  <a:moveTo>
                    <a:pt x="817" y="604"/>
                  </a:moveTo>
                  <a:cubicBezTo>
                    <a:pt x="817" y="603"/>
                    <a:pt x="819" y="603"/>
                    <a:pt x="820" y="603"/>
                  </a:cubicBezTo>
                  <a:cubicBezTo>
                    <a:pt x="823" y="604"/>
                    <a:pt x="826" y="606"/>
                    <a:pt x="827" y="609"/>
                  </a:cubicBezTo>
                  <a:cubicBezTo>
                    <a:pt x="828" y="612"/>
                    <a:pt x="829" y="616"/>
                    <a:pt x="828" y="620"/>
                  </a:cubicBezTo>
                  <a:cubicBezTo>
                    <a:pt x="828" y="625"/>
                    <a:pt x="828" y="630"/>
                    <a:pt x="828" y="634"/>
                  </a:cubicBezTo>
                  <a:cubicBezTo>
                    <a:pt x="828" y="637"/>
                    <a:pt x="829" y="638"/>
                    <a:pt x="829" y="640"/>
                  </a:cubicBezTo>
                  <a:cubicBezTo>
                    <a:pt x="829" y="641"/>
                    <a:pt x="829" y="643"/>
                    <a:pt x="828" y="644"/>
                  </a:cubicBezTo>
                  <a:cubicBezTo>
                    <a:pt x="826" y="645"/>
                    <a:pt x="826" y="643"/>
                    <a:pt x="825" y="642"/>
                  </a:cubicBezTo>
                  <a:cubicBezTo>
                    <a:pt x="824" y="640"/>
                    <a:pt x="823" y="639"/>
                    <a:pt x="822" y="638"/>
                  </a:cubicBezTo>
                  <a:cubicBezTo>
                    <a:pt x="818" y="638"/>
                    <a:pt x="817" y="636"/>
                    <a:pt x="816" y="633"/>
                  </a:cubicBezTo>
                  <a:cubicBezTo>
                    <a:pt x="816" y="632"/>
                    <a:pt x="815" y="630"/>
                    <a:pt x="815" y="629"/>
                  </a:cubicBezTo>
                  <a:cubicBezTo>
                    <a:pt x="814" y="625"/>
                    <a:pt x="812" y="621"/>
                    <a:pt x="815" y="617"/>
                  </a:cubicBezTo>
                  <a:cubicBezTo>
                    <a:pt x="814" y="615"/>
                    <a:pt x="813" y="614"/>
                    <a:pt x="812" y="612"/>
                  </a:cubicBezTo>
                  <a:cubicBezTo>
                    <a:pt x="814" y="609"/>
                    <a:pt x="815" y="606"/>
                    <a:pt x="817" y="604"/>
                  </a:cubicBezTo>
                  <a:close/>
                  <a:moveTo>
                    <a:pt x="649" y="398"/>
                  </a:moveTo>
                  <a:cubicBezTo>
                    <a:pt x="648" y="398"/>
                    <a:pt x="648" y="398"/>
                    <a:pt x="648" y="397"/>
                  </a:cubicBezTo>
                  <a:cubicBezTo>
                    <a:pt x="648" y="398"/>
                    <a:pt x="649" y="398"/>
                    <a:pt x="649" y="398"/>
                  </a:cubicBezTo>
                  <a:cubicBezTo>
                    <a:pt x="649" y="399"/>
                    <a:pt x="649" y="399"/>
                    <a:pt x="649" y="399"/>
                  </a:cubicBezTo>
                  <a:lnTo>
                    <a:pt x="649" y="398"/>
                  </a:lnTo>
                  <a:close/>
                  <a:moveTo>
                    <a:pt x="652" y="292"/>
                  </a:moveTo>
                  <a:cubicBezTo>
                    <a:pt x="647" y="295"/>
                    <a:pt x="643" y="295"/>
                    <a:pt x="638" y="292"/>
                  </a:cubicBezTo>
                  <a:cubicBezTo>
                    <a:pt x="636" y="291"/>
                    <a:pt x="635" y="290"/>
                    <a:pt x="637" y="289"/>
                  </a:cubicBezTo>
                  <a:cubicBezTo>
                    <a:pt x="639" y="287"/>
                    <a:pt x="642" y="286"/>
                    <a:pt x="643" y="284"/>
                  </a:cubicBezTo>
                  <a:cubicBezTo>
                    <a:pt x="646" y="281"/>
                    <a:pt x="649" y="279"/>
                    <a:pt x="652" y="278"/>
                  </a:cubicBezTo>
                  <a:cubicBezTo>
                    <a:pt x="655" y="277"/>
                    <a:pt x="656" y="275"/>
                    <a:pt x="657" y="272"/>
                  </a:cubicBezTo>
                  <a:cubicBezTo>
                    <a:pt x="658" y="271"/>
                    <a:pt x="659" y="271"/>
                    <a:pt x="660" y="271"/>
                  </a:cubicBezTo>
                  <a:cubicBezTo>
                    <a:pt x="663" y="271"/>
                    <a:pt x="665" y="273"/>
                    <a:pt x="668" y="272"/>
                  </a:cubicBezTo>
                  <a:cubicBezTo>
                    <a:pt x="670" y="271"/>
                    <a:pt x="672" y="269"/>
                    <a:pt x="670" y="267"/>
                  </a:cubicBezTo>
                  <a:cubicBezTo>
                    <a:pt x="669" y="266"/>
                    <a:pt x="667" y="264"/>
                    <a:pt x="666" y="263"/>
                  </a:cubicBezTo>
                  <a:cubicBezTo>
                    <a:pt x="662" y="261"/>
                    <a:pt x="658" y="260"/>
                    <a:pt x="655" y="260"/>
                  </a:cubicBezTo>
                  <a:cubicBezTo>
                    <a:pt x="647" y="260"/>
                    <a:pt x="640" y="260"/>
                    <a:pt x="633" y="259"/>
                  </a:cubicBezTo>
                  <a:cubicBezTo>
                    <a:pt x="633" y="259"/>
                    <a:pt x="632" y="258"/>
                    <a:pt x="632" y="258"/>
                  </a:cubicBezTo>
                  <a:cubicBezTo>
                    <a:pt x="633" y="257"/>
                    <a:pt x="633" y="256"/>
                    <a:pt x="634" y="255"/>
                  </a:cubicBezTo>
                  <a:cubicBezTo>
                    <a:pt x="635" y="255"/>
                    <a:pt x="636" y="255"/>
                    <a:pt x="637" y="255"/>
                  </a:cubicBezTo>
                  <a:cubicBezTo>
                    <a:pt x="645" y="254"/>
                    <a:pt x="653" y="254"/>
                    <a:pt x="662" y="254"/>
                  </a:cubicBezTo>
                  <a:cubicBezTo>
                    <a:pt x="668" y="254"/>
                    <a:pt x="674" y="253"/>
                    <a:pt x="679" y="251"/>
                  </a:cubicBezTo>
                  <a:cubicBezTo>
                    <a:pt x="685" y="250"/>
                    <a:pt x="690" y="249"/>
                    <a:pt x="696" y="248"/>
                  </a:cubicBezTo>
                  <a:cubicBezTo>
                    <a:pt x="697" y="247"/>
                    <a:pt x="699" y="248"/>
                    <a:pt x="700" y="248"/>
                  </a:cubicBezTo>
                  <a:cubicBezTo>
                    <a:pt x="701" y="248"/>
                    <a:pt x="703" y="249"/>
                    <a:pt x="703" y="249"/>
                  </a:cubicBezTo>
                  <a:cubicBezTo>
                    <a:pt x="703" y="250"/>
                    <a:pt x="702" y="252"/>
                    <a:pt x="702" y="252"/>
                  </a:cubicBezTo>
                  <a:cubicBezTo>
                    <a:pt x="697" y="254"/>
                    <a:pt x="693" y="256"/>
                    <a:pt x="688" y="257"/>
                  </a:cubicBezTo>
                  <a:cubicBezTo>
                    <a:pt x="687" y="258"/>
                    <a:pt x="686" y="260"/>
                    <a:pt x="687" y="261"/>
                  </a:cubicBezTo>
                  <a:cubicBezTo>
                    <a:pt x="687" y="262"/>
                    <a:pt x="687" y="262"/>
                    <a:pt x="688" y="263"/>
                  </a:cubicBezTo>
                  <a:cubicBezTo>
                    <a:pt x="689" y="263"/>
                    <a:pt x="690" y="264"/>
                    <a:pt x="691" y="264"/>
                  </a:cubicBezTo>
                  <a:cubicBezTo>
                    <a:pt x="698" y="270"/>
                    <a:pt x="705" y="272"/>
                    <a:pt x="713" y="265"/>
                  </a:cubicBezTo>
                  <a:cubicBezTo>
                    <a:pt x="713" y="265"/>
                    <a:pt x="714" y="265"/>
                    <a:pt x="714" y="265"/>
                  </a:cubicBezTo>
                  <a:cubicBezTo>
                    <a:pt x="716" y="265"/>
                    <a:pt x="716" y="266"/>
                    <a:pt x="715" y="268"/>
                  </a:cubicBezTo>
                  <a:cubicBezTo>
                    <a:pt x="715" y="270"/>
                    <a:pt x="714" y="272"/>
                    <a:pt x="712" y="273"/>
                  </a:cubicBezTo>
                  <a:cubicBezTo>
                    <a:pt x="710" y="275"/>
                    <a:pt x="708" y="276"/>
                    <a:pt x="706" y="278"/>
                  </a:cubicBezTo>
                  <a:cubicBezTo>
                    <a:pt x="705" y="279"/>
                    <a:pt x="704" y="280"/>
                    <a:pt x="703" y="282"/>
                  </a:cubicBezTo>
                  <a:cubicBezTo>
                    <a:pt x="701" y="287"/>
                    <a:pt x="700" y="288"/>
                    <a:pt x="696" y="284"/>
                  </a:cubicBezTo>
                  <a:cubicBezTo>
                    <a:pt x="691" y="281"/>
                    <a:pt x="687" y="280"/>
                    <a:pt x="682" y="283"/>
                  </a:cubicBezTo>
                  <a:cubicBezTo>
                    <a:pt x="681" y="283"/>
                    <a:pt x="679" y="285"/>
                    <a:pt x="679" y="286"/>
                  </a:cubicBezTo>
                  <a:cubicBezTo>
                    <a:pt x="678" y="291"/>
                    <a:pt x="674" y="293"/>
                    <a:pt x="669" y="294"/>
                  </a:cubicBezTo>
                  <a:cubicBezTo>
                    <a:pt x="669" y="295"/>
                    <a:pt x="669" y="295"/>
                    <a:pt x="669" y="295"/>
                  </a:cubicBezTo>
                  <a:cubicBezTo>
                    <a:pt x="669" y="295"/>
                    <a:pt x="668" y="295"/>
                    <a:pt x="668" y="295"/>
                  </a:cubicBezTo>
                  <a:cubicBezTo>
                    <a:pt x="666" y="296"/>
                    <a:pt x="665" y="297"/>
                    <a:pt x="663" y="297"/>
                  </a:cubicBezTo>
                  <a:cubicBezTo>
                    <a:pt x="663" y="297"/>
                    <a:pt x="662" y="298"/>
                    <a:pt x="662" y="298"/>
                  </a:cubicBezTo>
                  <a:cubicBezTo>
                    <a:pt x="662" y="298"/>
                    <a:pt x="662" y="298"/>
                    <a:pt x="661" y="298"/>
                  </a:cubicBezTo>
                  <a:cubicBezTo>
                    <a:pt x="661" y="298"/>
                    <a:pt x="661" y="299"/>
                    <a:pt x="660" y="299"/>
                  </a:cubicBezTo>
                  <a:cubicBezTo>
                    <a:pt x="660" y="300"/>
                    <a:pt x="659" y="299"/>
                    <a:pt x="659" y="299"/>
                  </a:cubicBezTo>
                  <a:cubicBezTo>
                    <a:pt x="659" y="298"/>
                    <a:pt x="660" y="298"/>
                    <a:pt x="661" y="298"/>
                  </a:cubicBezTo>
                  <a:cubicBezTo>
                    <a:pt x="662" y="298"/>
                    <a:pt x="662" y="298"/>
                    <a:pt x="662" y="297"/>
                  </a:cubicBezTo>
                  <a:cubicBezTo>
                    <a:pt x="662" y="297"/>
                    <a:pt x="662" y="297"/>
                    <a:pt x="663" y="297"/>
                  </a:cubicBezTo>
                  <a:cubicBezTo>
                    <a:pt x="664" y="296"/>
                    <a:pt x="666" y="295"/>
                    <a:pt x="668" y="295"/>
                  </a:cubicBezTo>
                  <a:cubicBezTo>
                    <a:pt x="668" y="295"/>
                    <a:pt x="669" y="295"/>
                    <a:pt x="669" y="295"/>
                  </a:cubicBezTo>
                  <a:cubicBezTo>
                    <a:pt x="669" y="295"/>
                    <a:pt x="669" y="294"/>
                    <a:pt x="669" y="294"/>
                  </a:cubicBezTo>
                  <a:cubicBezTo>
                    <a:pt x="670" y="292"/>
                    <a:pt x="671" y="290"/>
                    <a:pt x="672" y="288"/>
                  </a:cubicBezTo>
                  <a:cubicBezTo>
                    <a:pt x="672" y="285"/>
                    <a:pt x="669" y="282"/>
                    <a:pt x="667" y="283"/>
                  </a:cubicBezTo>
                  <a:cubicBezTo>
                    <a:pt x="664" y="284"/>
                    <a:pt x="661" y="285"/>
                    <a:pt x="658" y="287"/>
                  </a:cubicBezTo>
                  <a:cubicBezTo>
                    <a:pt x="656" y="288"/>
                    <a:pt x="654" y="290"/>
                    <a:pt x="652" y="292"/>
                  </a:cubicBezTo>
                  <a:close/>
                  <a:moveTo>
                    <a:pt x="697" y="409"/>
                  </a:moveTo>
                  <a:cubicBezTo>
                    <a:pt x="695" y="412"/>
                    <a:pt x="692" y="413"/>
                    <a:pt x="689" y="414"/>
                  </a:cubicBezTo>
                  <a:cubicBezTo>
                    <a:pt x="684" y="414"/>
                    <a:pt x="679" y="416"/>
                    <a:pt x="674" y="416"/>
                  </a:cubicBezTo>
                  <a:cubicBezTo>
                    <a:pt x="670" y="417"/>
                    <a:pt x="667" y="416"/>
                    <a:pt x="664" y="412"/>
                  </a:cubicBezTo>
                  <a:cubicBezTo>
                    <a:pt x="662" y="410"/>
                    <a:pt x="661" y="408"/>
                    <a:pt x="659" y="406"/>
                  </a:cubicBezTo>
                  <a:cubicBezTo>
                    <a:pt x="659" y="406"/>
                    <a:pt x="659" y="406"/>
                    <a:pt x="659" y="405"/>
                  </a:cubicBezTo>
                  <a:cubicBezTo>
                    <a:pt x="660" y="405"/>
                    <a:pt x="660" y="405"/>
                    <a:pt x="661" y="405"/>
                  </a:cubicBezTo>
                  <a:cubicBezTo>
                    <a:pt x="663" y="406"/>
                    <a:pt x="665" y="407"/>
                    <a:pt x="667" y="407"/>
                  </a:cubicBezTo>
                  <a:cubicBezTo>
                    <a:pt x="669" y="407"/>
                    <a:pt x="671" y="407"/>
                    <a:pt x="672" y="406"/>
                  </a:cubicBezTo>
                  <a:cubicBezTo>
                    <a:pt x="674" y="404"/>
                    <a:pt x="676" y="401"/>
                    <a:pt x="678" y="399"/>
                  </a:cubicBezTo>
                  <a:cubicBezTo>
                    <a:pt x="681" y="396"/>
                    <a:pt x="683" y="395"/>
                    <a:pt x="687" y="396"/>
                  </a:cubicBezTo>
                  <a:cubicBezTo>
                    <a:pt x="688" y="396"/>
                    <a:pt x="689" y="396"/>
                    <a:pt x="690" y="395"/>
                  </a:cubicBezTo>
                  <a:cubicBezTo>
                    <a:pt x="692" y="395"/>
                    <a:pt x="694" y="393"/>
                    <a:pt x="694" y="391"/>
                  </a:cubicBezTo>
                  <a:cubicBezTo>
                    <a:pt x="694" y="389"/>
                    <a:pt x="694" y="388"/>
                    <a:pt x="693" y="386"/>
                  </a:cubicBezTo>
                  <a:cubicBezTo>
                    <a:pt x="693" y="383"/>
                    <a:pt x="692" y="380"/>
                    <a:pt x="692" y="377"/>
                  </a:cubicBezTo>
                  <a:cubicBezTo>
                    <a:pt x="691" y="376"/>
                    <a:pt x="691" y="375"/>
                    <a:pt x="693" y="375"/>
                  </a:cubicBezTo>
                  <a:cubicBezTo>
                    <a:pt x="693" y="375"/>
                    <a:pt x="694" y="375"/>
                    <a:pt x="694" y="375"/>
                  </a:cubicBezTo>
                  <a:cubicBezTo>
                    <a:pt x="699" y="379"/>
                    <a:pt x="702" y="384"/>
                    <a:pt x="705" y="389"/>
                  </a:cubicBezTo>
                  <a:cubicBezTo>
                    <a:pt x="707" y="391"/>
                    <a:pt x="709" y="392"/>
                    <a:pt x="712" y="393"/>
                  </a:cubicBezTo>
                  <a:cubicBezTo>
                    <a:pt x="719" y="393"/>
                    <a:pt x="726" y="391"/>
                    <a:pt x="732" y="387"/>
                  </a:cubicBezTo>
                  <a:cubicBezTo>
                    <a:pt x="737" y="383"/>
                    <a:pt x="743" y="381"/>
                    <a:pt x="750" y="380"/>
                  </a:cubicBezTo>
                  <a:cubicBezTo>
                    <a:pt x="752" y="379"/>
                    <a:pt x="755" y="380"/>
                    <a:pt x="758" y="380"/>
                  </a:cubicBezTo>
                  <a:cubicBezTo>
                    <a:pt x="758" y="380"/>
                    <a:pt x="758" y="380"/>
                    <a:pt x="758" y="380"/>
                  </a:cubicBezTo>
                  <a:cubicBezTo>
                    <a:pt x="758" y="379"/>
                    <a:pt x="758" y="378"/>
                    <a:pt x="759" y="379"/>
                  </a:cubicBezTo>
                  <a:cubicBezTo>
                    <a:pt x="759" y="379"/>
                    <a:pt x="758" y="380"/>
                    <a:pt x="758" y="380"/>
                  </a:cubicBezTo>
                  <a:cubicBezTo>
                    <a:pt x="758" y="380"/>
                    <a:pt x="758" y="380"/>
                    <a:pt x="758" y="380"/>
                  </a:cubicBezTo>
                  <a:cubicBezTo>
                    <a:pt x="756" y="381"/>
                    <a:pt x="755" y="383"/>
                    <a:pt x="754" y="384"/>
                  </a:cubicBezTo>
                  <a:cubicBezTo>
                    <a:pt x="752" y="386"/>
                    <a:pt x="749" y="387"/>
                    <a:pt x="746" y="388"/>
                  </a:cubicBezTo>
                  <a:cubicBezTo>
                    <a:pt x="741" y="390"/>
                    <a:pt x="736" y="393"/>
                    <a:pt x="731" y="396"/>
                  </a:cubicBezTo>
                  <a:cubicBezTo>
                    <a:pt x="725" y="400"/>
                    <a:pt x="718" y="403"/>
                    <a:pt x="712" y="406"/>
                  </a:cubicBezTo>
                  <a:cubicBezTo>
                    <a:pt x="711" y="406"/>
                    <a:pt x="710" y="406"/>
                    <a:pt x="709" y="406"/>
                  </a:cubicBezTo>
                  <a:cubicBezTo>
                    <a:pt x="704" y="404"/>
                    <a:pt x="700" y="406"/>
                    <a:pt x="697" y="409"/>
                  </a:cubicBezTo>
                  <a:close/>
                  <a:moveTo>
                    <a:pt x="882" y="1287"/>
                  </a:moveTo>
                  <a:cubicBezTo>
                    <a:pt x="882" y="1287"/>
                    <a:pt x="882" y="1288"/>
                    <a:pt x="881" y="1288"/>
                  </a:cubicBezTo>
                  <a:cubicBezTo>
                    <a:pt x="878" y="1289"/>
                    <a:pt x="874" y="1286"/>
                    <a:pt x="875" y="1283"/>
                  </a:cubicBezTo>
                  <a:cubicBezTo>
                    <a:pt x="875" y="1282"/>
                    <a:pt x="876" y="1282"/>
                    <a:pt x="876" y="1282"/>
                  </a:cubicBezTo>
                  <a:cubicBezTo>
                    <a:pt x="879" y="1282"/>
                    <a:pt x="881" y="1283"/>
                    <a:pt x="882" y="1285"/>
                  </a:cubicBezTo>
                  <a:cubicBezTo>
                    <a:pt x="883" y="1286"/>
                    <a:pt x="882" y="1286"/>
                    <a:pt x="882" y="1287"/>
                  </a:cubicBezTo>
                  <a:close/>
                  <a:moveTo>
                    <a:pt x="1147" y="2245"/>
                  </a:moveTo>
                  <a:cubicBezTo>
                    <a:pt x="1147" y="2245"/>
                    <a:pt x="1147" y="2244"/>
                    <a:pt x="1147" y="2244"/>
                  </a:cubicBezTo>
                  <a:cubicBezTo>
                    <a:pt x="1147" y="2244"/>
                    <a:pt x="1147" y="2244"/>
                    <a:pt x="1148" y="2244"/>
                  </a:cubicBezTo>
                  <a:cubicBezTo>
                    <a:pt x="1148" y="2244"/>
                    <a:pt x="1148" y="2244"/>
                    <a:pt x="1148" y="2245"/>
                  </a:cubicBezTo>
                  <a:cubicBezTo>
                    <a:pt x="1148" y="2245"/>
                    <a:pt x="1147" y="2245"/>
                    <a:pt x="1147" y="2245"/>
                  </a:cubicBezTo>
                  <a:close/>
                  <a:moveTo>
                    <a:pt x="1348" y="1446"/>
                  </a:moveTo>
                  <a:cubicBezTo>
                    <a:pt x="1346" y="1448"/>
                    <a:pt x="1344" y="1448"/>
                    <a:pt x="1342" y="1447"/>
                  </a:cubicBezTo>
                  <a:cubicBezTo>
                    <a:pt x="1341" y="1446"/>
                    <a:pt x="1341" y="1445"/>
                    <a:pt x="1341" y="1443"/>
                  </a:cubicBezTo>
                  <a:cubicBezTo>
                    <a:pt x="1342" y="1442"/>
                    <a:pt x="1342" y="1441"/>
                    <a:pt x="1343" y="1440"/>
                  </a:cubicBezTo>
                  <a:cubicBezTo>
                    <a:pt x="1343" y="1441"/>
                    <a:pt x="1343" y="1442"/>
                    <a:pt x="1344" y="1442"/>
                  </a:cubicBezTo>
                  <a:cubicBezTo>
                    <a:pt x="1344" y="1444"/>
                    <a:pt x="1346" y="1444"/>
                    <a:pt x="1347" y="1444"/>
                  </a:cubicBezTo>
                  <a:cubicBezTo>
                    <a:pt x="1348" y="1444"/>
                    <a:pt x="1349" y="1444"/>
                    <a:pt x="1349" y="1443"/>
                  </a:cubicBezTo>
                  <a:cubicBezTo>
                    <a:pt x="1349" y="1444"/>
                    <a:pt x="1348" y="1445"/>
                    <a:pt x="1348" y="144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7" name="Text Placeholder 2">
            <a:extLst>
              <a:ext uri="{FF2B5EF4-FFF2-40B4-BE49-F238E27FC236}">
                <a16:creationId xmlns:a16="http://schemas.microsoft.com/office/drawing/2014/main" id="{B8E3713C-BED7-4D55-ACBE-830946ACE748}"/>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8CAD007E-9709-4E13-B7A7-69C5CE274F2B}"/>
              </a:ext>
            </a:extLst>
          </p:cNvPr>
          <p:cNvSpPr>
            <a:spLocks noGrp="1"/>
          </p:cNvSpPr>
          <p:nvPr>
            <p:ph type="sldNum" sz="quarter" idx="18"/>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41040441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cxnSp>
        <p:nvCxnSpPr>
          <p:cNvPr id="5" name="Straight Connector 4"/>
          <p:cNvCxnSpPr>
            <a:cxnSpLocks/>
            <a:stCxn id="6" idx="0"/>
          </p:cNvCxnSpPr>
          <p:nvPr userDrawn="1"/>
        </p:nvCxnSpPr>
        <p:spPr>
          <a:xfrm>
            <a:off x="2155766" y="4804368"/>
            <a:ext cx="9585384" cy="0"/>
          </a:xfrm>
          <a:prstGeom prst="line">
            <a:avLst/>
          </a:pr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6" name="Freeform 5"/>
          <p:cNvSpPr>
            <a:spLocks noChangeAspect="1"/>
          </p:cNvSpPr>
          <p:nvPr userDrawn="1"/>
        </p:nvSpPr>
        <p:spPr bwMode="auto">
          <a:xfrm>
            <a:off x="1808294" y="4804368"/>
            <a:ext cx="347472" cy="347472"/>
          </a:xfrm>
          <a:custGeom>
            <a:avLst/>
            <a:gdLst>
              <a:gd name="T0" fmla="*/ 2794 w 2794"/>
              <a:gd name="T1" fmla="*/ 0 h 2723"/>
              <a:gd name="T2" fmla="*/ 0 w 2794"/>
              <a:gd name="T3" fmla="*/ 2723 h 2723"/>
              <a:gd name="T4" fmla="*/ 0 w 2794"/>
              <a:gd name="T5" fmla="*/ 0 h 2723"/>
            </a:gdLst>
            <a:ahLst/>
            <a:cxnLst>
              <a:cxn ang="0">
                <a:pos x="T0" y="T1"/>
              </a:cxn>
              <a:cxn ang="0">
                <a:pos x="T2" y="T3"/>
              </a:cxn>
              <a:cxn ang="0">
                <a:pos x="T4" y="T5"/>
              </a:cxn>
            </a:cxnLst>
            <a:rect l="0" t="0" r="r" b="b"/>
            <a:pathLst>
              <a:path w="2794" h="2723">
                <a:moveTo>
                  <a:pt x="2794" y="0"/>
                </a:moveTo>
                <a:lnTo>
                  <a:pt x="0" y="2723"/>
                </a:lnTo>
                <a:lnTo>
                  <a:pt x="0" y="0"/>
                </a:lnTo>
              </a:path>
            </a:pathLst>
          </a:cu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cxnSp>
        <p:nvCxnSpPr>
          <p:cNvPr id="7" name="Straight Connector 6"/>
          <p:cNvCxnSpPr>
            <a:cxnSpLocks/>
          </p:cNvCxnSpPr>
          <p:nvPr userDrawn="1"/>
        </p:nvCxnSpPr>
        <p:spPr>
          <a:xfrm>
            <a:off x="457200" y="4804368"/>
            <a:ext cx="1351094" cy="0"/>
          </a:xfrm>
          <a:prstGeom prst="line">
            <a:avLst/>
          </a:pr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9" name="Title 17"/>
          <p:cNvSpPr>
            <a:spLocks noGrp="1"/>
          </p:cNvSpPr>
          <p:nvPr>
            <p:ph type="title"/>
          </p:nvPr>
        </p:nvSpPr>
        <p:spPr>
          <a:xfrm>
            <a:off x="914400" y="3626438"/>
            <a:ext cx="10363200" cy="609398"/>
          </a:xfrm>
        </p:spPr>
        <p:txBody>
          <a:bodyPr anchor="b"/>
          <a:lstStyle>
            <a:lvl1pPr algn="l">
              <a:defRPr sz="4400"/>
            </a:lvl1pPr>
          </a:lstStyle>
          <a:p>
            <a:r>
              <a:rPr lang="en-US"/>
              <a:t>Click to edit Master title style</a:t>
            </a:r>
          </a:p>
        </p:txBody>
      </p:sp>
      <p:sp>
        <p:nvSpPr>
          <p:cNvPr id="13" name="Text Placeholder 2"/>
          <p:cNvSpPr>
            <a:spLocks noGrp="1"/>
          </p:cNvSpPr>
          <p:nvPr>
            <p:ph type="body" idx="1"/>
          </p:nvPr>
        </p:nvSpPr>
        <p:spPr>
          <a:xfrm>
            <a:off x="914400" y="5364529"/>
            <a:ext cx="10363200" cy="276999"/>
          </a:xfrm>
        </p:spPr>
        <p:txBody>
          <a:bodyPr wrap="square" anchor="t">
            <a:spAutoFit/>
          </a:bodyPr>
          <a:lstStyle>
            <a:lvl1pPr marL="0" indent="0">
              <a:buNone/>
              <a:defRPr sz="20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 name="Slide Number Placeholder 2">
            <a:extLst>
              <a:ext uri="{FF2B5EF4-FFF2-40B4-BE49-F238E27FC236}">
                <a16:creationId xmlns:a16="http://schemas.microsoft.com/office/drawing/2014/main" id="{7CE4516B-E619-4990-8BD8-C50CF97B7513}"/>
              </a:ext>
            </a:extLst>
          </p:cNvPr>
          <p:cNvSpPr>
            <a:spLocks noGrp="1"/>
          </p:cNvSpPr>
          <p:nvPr>
            <p:ph type="sldNum" sz="quarter" idx="11"/>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10824218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Red)">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a:cxnSpLocks/>
            <a:stCxn id="6" idx="0"/>
          </p:cNvCxnSpPr>
          <p:nvPr userDrawn="1"/>
        </p:nvCxnSpPr>
        <p:spPr>
          <a:xfrm>
            <a:off x="2155766" y="4804368"/>
            <a:ext cx="9585384" cy="0"/>
          </a:xfrm>
          <a:prstGeom prst="line">
            <a:avLst/>
          </a:prstGeom>
          <a:ln w="9525" cap="rnd">
            <a:solidFill>
              <a:schemeClr val="bg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6" name="Freeform 5"/>
          <p:cNvSpPr>
            <a:spLocks noChangeAspect="1"/>
          </p:cNvSpPr>
          <p:nvPr userDrawn="1"/>
        </p:nvSpPr>
        <p:spPr bwMode="auto">
          <a:xfrm>
            <a:off x="1808294" y="4804368"/>
            <a:ext cx="347472" cy="347472"/>
          </a:xfrm>
          <a:custGeom>
            <a:avLst/>
            <a:gdLst>
              <a:gd name="T0" fmla="*/ 2794 w 2794"/>
              <a:gd name="T1" fmla="*/ 0 h 2723"/>
              <a:gd name="T2" fmla="*/ 0 w 2794"/>
              <a:gd name="T3" fmla="*/ 2723 h 2723"/>
              <a:gd name="T4" fmla="*/ 0 w 2794"/>
              <a:gd name="T5" fmla="*/ 0 h 2723"/>
            </a:gdLst>
            <a:ahLst/>
            <a:cxnLst>
              <a:cxn ang="0">
                <a:pos x="T0" y="T1"/>
              </a:cxn>
              <a:cxn ang="0">
                <a:pos x="T2" y="T3"/>
              </a:cxn>
              <a:cxn ang="0">
                <a:pos x="T4" y="T5"/>
              </a:cxn>
            </a:cxnLst>
            <a:rect l="0" t="0" r="r" b="b"/>
            <a:pathLst>
              <a:path w="2794" h="2723">
                <a:moveTo>
                  <a:pt x="2794" y="0"/>
                </a:moveTo>
                <a:lnTo>
                  <a:pt x="0" y="2723"/>
                </a:lnTo>
                <a:lnTo>
                  <a:pt x="0" y="0"/>
                </a:lnTo>
              </a:path>
            </a:pathLst>
          </a:custGeom>
          <a:ln w="9525" cap="rnd">
            <a:solidFill>
              <a:schemeClr val="bg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cxnSp>
        <p:nvCxnSpPr>
          <p:cNvPr id="7" name="Straight Connector 6"/>
          <p:cNvCxnSpPr>
            <a:cxnSpLocks/>
          </p:cNvCxnSpPr>
          <p:nvPr userDrawn="1"/>
        </p:nvCxnSpPr>
        <p:spPr>
          <a:xfrm>
            <a:off x="457200" y="4804368"/>
            <a:ext cx="1351094" cy="0"/>
          </a:xfrm>
          <a:prstGeom prst="line">
            <a:avLst/>
          </a:prstGeom>
          <a:ln w="9525" cap="rnd">
            <a:solidFill>
              <a:schemeClr val="bg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9" name="Title 17"/>
          <p:cNvSpPr>
            <a:spLocks noGrp="1"/>
          </p:cNvSpPr>
          <p:nvPr>
            <p:ph type="title"/>
          </p:nvPr>
        </p:nvSpPr>
        <p:spPr>
          <a:xfrm>
            <a:off x="914400" y="3626438"/>
            <a:ext cx="10363200" cy="609398"/>
          </a:xfrm>
        </p:spPr>
        <p:txBody>
          <a:bodyPr anchor="b"/>
          <a:lstStyle>
            <a:lvl1pPr algn="l">
              <a:defRPr sz="4400">
                <a:ln w="3175">
                  <a:noFill/>
                </a:ln>
                <a:solidFill>
                  <a:schemeClr val="bg1"/>
                </a:solidFill>
              </a:defRPr>
            </a:lvl1pPr>
          </a:lstStyle>
          <a:p>
            <a:r>
              <a:rPr lang="en-US"/>
              <a:t>Click to edit Master title style</a:t>
            </a:r>
          </a:p>
        </p:txBody>
      </p:sp>
      <p:sp>
        <p:nvSpPr>
          <p:cNvPr id="13" name="Text Placeholder 2"/>
          <p:cNvSpPr>
            <a:spLocks noGrp="1"/>
          </p:cNvSpPr>
          <p:nvPr>
            <p:ph type="body" idx="1"/>
          </p:nvPr>
        </p:nvSpPr>
        <p:spPr>
          <a:xfrm>
            <a:off x="914400" y="5364529"/>
            <a:ext cx="10363200" cy="276999"/>
          </a:xfrm>
        </p:spPr>
        <p:txBody>
          <a:bodyPr wrap="square" anchor="t">
            <a:spAutoFit/>
          </a:bodyPr>
          <a:lstStyle>
            <a:lvl1pPr marL="0" indent="0">
              <a:buNone/>
              <a:defRPr sz="2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 name="Slide Number Placeholder 2">
            <a:extLst>
              <a:ext uri="{FF2B5EF4-FFF2-40B4-BE49-F238E27FC236}">
                <a16:creationId xmlns:a16="http://schemas.microsoft.com/office/drawing/2014/main" id="{058178CD-4143-4C66-925F-AC8FFA466347}"/>
              </a:ext>
            </a:extLst>
          </p:cNvPr>
          <p:cNvSpPr>
            <a:spLocks noGrp="1"/>
          </p:cNvSpPr>
          <p:nvPr>
            <p:ph type="sldNum" sz="quarter" idx="11"/>
          </p:nvPr>
        </p:nvSpPr>
        <p:spPr/>
        <p:txBody>
          <a:bodyPr/>
          <a:lstStyle>
            <a:lvl1pPr>
              <a:defRPr>
                <a:solidFill>
                  <a:schemeClr val="accent2">
                    <a:lumMod val="75000"/>
                  </a:schemeClr>
                </a:solidFill>
              </a:defRPr>
            </a:lvl1pPr>
          </a:lstStyle>
          <a:p>
            <a:fld id="{4C9EABC9-A6DF-4002-BA8F-FA0D4CABB02D}" type="slidenum">
              <a:rPr lang="en-US" smtClean="0"/>
              <a:pPr/>
              <a:t>‹#›</a:t>
            </a:fld>
            <a:endParaRPr lang="en-US"/>
          </a:p>
        </p:txBody>
      </p:sp>
      <p:grpSp>
        <p:nvGrpSpPr>
          <p:cNvPr id="14" name="Group 13">
            <a:extLst>
              <a:ext uri="{FF2B5EF4-FFF2-40B4-BE49-F238E27FC236}">
                <a16:creationId xmlns:a16="http://schemas.microsoft.com/office/drawing/2014/main" id="{42D9EC72-3059-4641-AE5F-FB0B767E077F}"/>
              </a:ext>
            </a:extLst>
          </p:cNvPr>
          <p:cNvGrpSpPr/>
          <p:nvPr userDrawn="1"/>
        </p:nvGrpSpPr>
        <p:grpSpPr>
          <a:xfrm>
            <a:off x="11410950" y="457200"/>
            <a:ext cx="323850" cy="324895"/>
            <a:chOff x="11693125" y="130630"/>
            <a:chExt cx="368246" cy="369434"/>
          </a:xfrm>
          <a:solidFill>
            <a:schemeClr val="bg1"/>
          </a:solidFill>
        </p:grpSpPr>
        <p:sp>
          <p:nvSpPr>
            <p:cNvPr id="16" name="Freeform 5">
              <a:extLst>
                <a:ext uri="{FF2B5EF4-FFF2-40B4-BE49-F238E27FC236}">
                  <a16:creationId xmlns:a16="http://schemas.microsoft.com/office/drawing/2014/main" id="{391CDA20-780B-4FE8-B1F6-389E39779D95}"/>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C55A5F01-D8A0-4A1A-9698-423051F673A4}"/>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EF4F30B-30A7-4ED8-95C3-984FC36D5132}"/>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48891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Black)">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3744FF6-E1D8-486B-837A-CB7C69F5E59C}"/>
              </a:ext>
            </a:extLst>
          </p:cNvPr>
          <p:cNvGrpSpPr/>
          <p:nvPr userDrawn="1"/>
        </p:nvGrpSpPr>
        <p:grpSpPr>
          <a:xfrm>
            <a:off x="457200" y="4804368"/>
            <a:ext cx="11283950" cy="347472"/>
            <a:chOff x="457200" y="4804368"/>
            <a:chExt cx="11283950" cy="347472"/>
          </a:xfrm>
        </p:grpSpPr>
        <p:cxnSp>
          <p:nvCxnSpPr>
            <p:cNvPr id="5" name="Straight Connector 4"/>
            <p:cNvCxnSpPr>
              <a:cxnSpLocks/>
              <a:stCxn id="6" idx="0"/>
            </p:cNvCxnSpPr>
            <p:nvPr userDrawn="1"/>
          </p:nvCxnSpPr>
          <p:spPr>
            <a:xfrm>
              <a:off x="2155766" y="4804368"/>
              <a:ext cx="9585384" cy="0"/>
            </a:xfrm>
            <a:prstGeom prst="line">
              <a:avLst/>
            </a:pr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6" name="Freeform 5"/>
            <p:cNvSpPr>
              <a:spLocks noChangeAspect="1"/>
            </p:cNvSpPr>
            <p:nvPr userDrawn="1"/>
          </p:nvSpPr>
          <p:spPr bwMode="auto">
            <a:xfrm>
              <a:off x="1808294" y="4804368"/>
              <a:ext cx="347472" cy="347472"/>
            </a:xfrm>
            <a:custGeom>
              <a:avLst/>
              <a:gdLst>
                <a:gd name="T0" fmla="*/ 2794 w 2794"/>
                <a:gd name="T1" fmla="*/ 0 h 2723"/>
                <a:gd name="T2" fmla="*/ 0 w 2794"/>
                <a:gd name="T3" fmla="*/ 2723 h 2723"/>
                <a:gd name="T4" fmla="*/ 0 w 2794"/>
                <a:gd name="T5" fmla="*/ 0 h 2723"/>
              </a:gdLst>
              <a:ahLst/>
              <a:cxnLst>
                <a:cxn ang="0">
                  <a:pos x="T0" y="T1"/>
                </a:cxn>
                <a:cxn ang="0">
                  <a:pos x="T2" y="T3"/>
                </a:cxn>
                <a:cxn ang="0">
                  <a:pos x="T4" y="T5"/>
                </a:cxn>
              </a:cxnLst>
              <a:rect l="0" t="0" r="r" b="b"/>
              <a:pathLst>
                <a:path w="2794" h="2723">
                  <a:moveTo>
                    <a:pt x="2794" y="0"/>
                  </a:moveTo>
                  <a:lnTo>
                    <a:pt x="0" y="2723"/>
                  </a:lnTo>
                  <a:lnTo>
                    <a:pt x="0" y="0"/>
                  </a:lnTo>
                </a:path>
              </a:pathLst>
            </a:cu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cxnSp>
          <p:nvCxnSpPr>
            <p:cNvPr id="7" name="Straight Connector 6"/>
            <p:cNvCxnSpPr>
              <a:cxnSpLocks/>
            </p:cNvCxnSpPr>
            <p:nvPr userDrawn="1"/>
          </p:nvCxnSpPr>
          <p:spPr>
            <a:xfrm>
              <a:off x="457200" y="4804368"/>
              <a:ext cx="1351094" cy="0"/>
            </a:xfrm>
            <a:prstGeom prst="line">
              <a:avLst/>
            </a:pr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
        <p:nvSpPr>
          <p:cNvPr id="9" name="Title 17"/>
          <p:cNvSpPr>
            <a:spLocks noGrp="1"/>
          </p:cNvSpPr>
          <p:nvPr>
            <p:ph type="title"/>
          </p:nvPr>
        </p:nvSpPr>
        <p:spPr>
          <a:xfrm>
            <a:off x="914400" y="3626438"/>
            <a:ext cx="10363200" cy="609398"/>
          </a:xfrm>
        </p:spPr>
        <p:txBody>
          <a:bodyPr anchor="b"/>
          <a:lstStyle>
            <a:lvl1pPr algn="l">
              <a:defRPr sz="4400">
                <a:ln w="3175">
                  <a:noFill/>
                </a:ln>
                <a:solidFill>
                  <a:schemeClr val="bg1"/>
                </a:solidFill>
              </a:defRPr>
            </a:lvl1pPr>
          </a:lstStyle>
          <a:p>
            <a:r>
              <a:rPr lang="en-US"/>
              <a:t>Click to edit Master title style</a:t>
            </a:r>
          </a:p>
        </p:txBody>
      </p:sp>
      <p:sp>
        <p:nvSpPr>
          <p:cNvPr id="13" name="Text Placeholder 2"/>
          <p:cNvSpPr>
            <a:spLocks noGrp="1"/>
          </p:cNvSpPr>
          <p:nvPr>
            <p:ph type="body" idx="1"/>
          </p:nvPr>
        </p:nvSpPr>
        <p:spPr>
          <a:xfrm>
            <a:off x="914400" y="5364529"/>
            <a:ext cx="10363200" cy="276999"/>
          </a:xfrm>
        </p:spPr>
        <p:txBody>
          <a:bodyPr wrap="square" anchor="t">
            <a:spAutoFit/>
          </a:bodyPr>
          <a:lstStyle>
            <a:lvl1pPr marL="0" indent="0">
              <a:buNone/>
              <a:defRPr sz="2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Slide Number Placeholder 3">
            <a:extLst>
              <a:ext uri="{FF2B5EF4-FFF2-40B4-BE49-F238E27FC236}">
                <a16:creationId xmlns:a16="http://schemas.microsoft.com/office/drawing/2014/main" id="{F7C32B61-0FEE-435D-A558-248296352D0B}"/>
              </a:ext>
            </a:extLst>
          </p:cNvPr>
          <p:cNvSpPr>
            <a:spLocks noGrp="1"/>
          </p:cNvSpPr>
          <p:nvPr>
            <p:ph type="sldNum" sz="quarter" idx="11"/>
          </p:nvPr>
        </p:nvSpPr>
        <p:spPr/>
        <p:txBody>
          <a:bodyPr/>
          <a:lstStyle/>
          <a:p>
            <a:fld id="{4C9EABC9-A6DF-4002-BA8F-FA0D4CABB02D}" type="slidenum">
              <a:rPr lang="en-US" smtClean="0"/>
              <a:pPr/>
              <a:t>‹#›</a:t>
            </a:fld>
            <a:endParaRPr lang="en-US"/>
          </a:p>
        </p:txBody>
      </p:sp>
      <p:sp>
        <p:nvSpPr>
          <p:cNvPr id="15" name="TextBox 14">
            <a:extLst>
              <a:ext uri="{FF2B5EF4-FFF2-40B4-BE49-F238E27FC236}">
                <a16:creationId xmlns:a16="http://schemas.microsoft.com/office/drawing/2014/main" id="{0636E184-8239-4217-AEED-A42591643203}"/>
              </a:ext>
            </a:extLst>
          </p:cNvPr>
          <p:cNvSpPr txBox="1"/>
          <p:nvPr userDrawn="1"/>
        </p:nvSpPr>
        <p:spPr>
          <a:xfrm>
            <a:off x="457200" y="6423496"/>
            <a:ext cx="1282700" cy="230832"/>
          </a:xfrm>
          <a:prstGeom prst="rect">
            <a:avLst/>
          </a:prstGeom>
          <a:noFill/>
        </p:spPr>
        <p:txBody>
          <a:bodyPr wrap="square" lIns="0" rtlCol="0">
            <a:spAutoFit/>
          </a:bodyPr>
          <a:lstStyle/>
          <a:p>
            <a:r>
              <a:rPr lang="en-US" sz="900">
                <a:solidFill>
                  <a:schemeClr val="bg2"/>
                </a:solidFill>
              </a:rPr>
              <a:t>© Trustwave 2018</a:t>
            </a:r>
          </a:p>
        </p:txBody>
      </p:sp>
      <p:grpSp>
        <p:nvGrpSpPr>
          <p:cNvPr id="14" name="Group 13">
            <a:extLst>
              <a:ext uri="{FF2B5EF4-FFF2-40B4-BE49-F238E27FC236}">
                <a16:creationId xmlns:a16="http://schemas.microsoft.com/office/drawing/2014/main" id="{C303A57C-682D-47D1-8055-6D8733D22409}"/>
              </a:ext>
            </a:extLst>
          </p:cNvPr>
          <p:cNvGrpSpPr/>
          <p:nvPr userDrawn="1"/>
        </p:nvGrpSpPr>
        <p:grpSpPr>
          <a:xfrm>
            <a:off x="11410950" y="457200"/>
            <a:ext cx="323850" cy="324895"/>
            <a:chOff x="11693125" y="130630"/>
            <a:chExt cx="368246" cy="369434"/>
          </a:xfrm>
          <a:solidFill>
            <a:schemeClr val="bg1"/>
          </a:solidFill>
        </p:grpSpPr>
        <p:sp>
          <p:nvSpPr>
            <p:cNvPr id="16" name="Freeform 5">
              <a:extLst>
                <a:ext uri="{FF2B5EF4-FFF2-40B4-BE49-F238E27FC236}">
                  <a16:creationId xmlns:a16="http://schemas.microsoft.com/office/drawing/2014/main" id="{8DD075C7-0C47-4EF2-943A-8A1D5645260D}"/>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D5CA915B-DEAC-44AA-8308-021C5D333D19}"/>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271287DC-67A9-4280-BD18-E1FCDE703103}"/>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154057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Statement">
    <p:spTree>
      <p:nvGrpSpPr>
        <p:cNvPr id="1" name=""/>
        <p:cNvGrpSpPr/>
        <p:nvPr/>
      </p:nvGrpSpPr>
      <p:grpSpPr>
        <a:xfrm>
          <a:off x="0" y="0"/>
          <a:ext cx="0" cy="0"/>
          <a:chOff x="0" y="0"/>
          <a:chExt cx="0" cy="0"/>
        </a:xfrm>
      </p:grpSpPr>
      <p:sp>
        <p:nvSpPr>
          <p:cNvPr id="18" name="Title 17"/>
          <p:cNvSpPr>
            <a:spLocks noGrp="1"/>
          </p:cNvSpPr>
          <p:nvPr>
            <p:ph type="title"/>
          </p:nvPr>
        </p:nvSpPr>
        <p:spPr>
          <a:xfrm>
            <a:off x="914400" y="3055053"/>
            <a:ext cx="10363200" cy="747897"/>
          </a:xfrm>
        </p:spPr>
        <p:txBody>
          <a:bodyPr anchor="ctr"/>
          <a:lstStyle>
            <a:lvl1pPr algn="ctr">
              <a:defRPr sz="5400"/>
            </a:lvl1pPr>
          </a:lstStyle>
          <a:p>
            <a:r>
              <a:rPr lang="en-US"/>
              <a:t>Click to edit Master title style</a:t>
            </a:r>
          </a:p>
        </p:txBody>
      </p:sp>
      <p:cxnSp>
        <p:nvCxnSpPr>
          <p:cNvPr id="6" name="Straight Connector 5">
            <a:extLst>
              <a:ext uri="{FF2B5EF4-FFF2-40B4-BE49-F238E27FC236}">
                <a16:creationId xmlns:a16="http://schemas.microsoft.com/office/drawing/2014/main" id="{0A592FB5-44CA-4B86-9ACA-1ED9B33122FD}"/>
              </a:ext>
            </a:extLst>
          </p:cNvPr>
          <p:cNvCxnSpPr>
            <a:cxnSpLocks/>
          </p:cNvCxnSpPr>
          <p:nvPr userDrawn="1"/>
        </p:nvCxnSpPr>
        <p:spPr>
          <a:xfrm>
            <a:off x="457200" y="5865060"/>
            <a:ext cx="11277600" cy="0"/>
          </a:xfrm>
          <a:prstGeom prst="line">
            <a:avLst/>
          </a:prstGeom>
          <a:noFill/>
          <a:ln w="95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4" name="Straight Connector 3">
            <a:extLst>
              <a:ext uri="{FF2B5EF4-FFF2-40B4-BE49-F238E27FC236}">
                <a16:creationId xmlns:a16="http://schemas.microsoft.com/office/drawing/2014/main" id="{4111E64C-E980-461A-8762-01387B6AE3ED}"/>
              </a:ext>
            </a:extLst>
          </p:cNvPr>
          <p:cNvCxnSpPr>
            <a:cxnSpLocks/>
          </p:cNvCxnSpPr>
          <p:nvPr userDrawn="1"/>
        </p:nvCxnSpPr>
        <p:spPr>
          <a:xfrm>
            <a:off x="457200" y="972885"/>
            <a:ext cx="11277600" cy="0"/>
          </a:xfrm>
          <a:prstGeom prst="line">
            <a:avLst/>
          </a:prstGeom>
          <a:noFill/>
          <a:ln w="95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cxnSp>
      <p:sp>
        <p:nvSpPr>
          <p:cNvPr id="5" name="Slide Number Placeholder 4">
            <a:extLst>
              <a:ext uri="{FF2B5EF4-FFF2-40B4-BE49-F238E27FC236}">
                <a16:creationId xmlns:a16="http://schemas.microsoft.com/office/drawing/2014/main" id="{9D151306-A9F7-422C-AFB0-0F6D6BB857EC}"/>
              </a:ext>
            </a:extLst>
          </p:cNvPr>
          <p:cNvSpPr>
            <a:spLocks noGrp="1"/>
          </p:cNvSpPr>
          <p:nvPr>
            <p:ph type="sldNum" sz="quarter" idx="11"/>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42398946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arge Statement - Blade">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3E28791-61E4-4A5E-BB6E-2B0DE9C5DD4F}"/>
              </a:ext>
            </a:extLst>
          </p:cNvPr>
          <p:cNvGrpSpPr/>
          <p:nvPr userDrawn="1"/>
        </p:nvGrpSpPr>
        <p:grpSpPr>
          <a:xfrm>
            <a:off x="1174282" y="0"/>
            <a:ext cx="11043118" cy="3673788"/>
            <a:chOff x="1174282" y="0"/>
            <a:chExt cx="11043118" cy="3673788"/>
          </a:xfrm>
        </p:grpSpPr>
        <p:sp>
          <p:nvSpPr>
            <p:cNvPr id="74" name="Freeform: Shape 73">
              <a:extLst>
                <a:ext uri="{FF2B5EF4-FFF2-40B4-BE49-F238E27FC236}">
                  <a16:creationId xmlns:a16="http://schemas.microsoft.com/office/drawing/2014/main" id="{B8B1BA97-209D-41D4-B65C-7E2A6B130D0F}"/>
                </a:ext>
              </a:extLst>
            </p:cNvPr>
            <p:cNvSpPr/>
            <p:nvPr userDrawn="1"/>
          </p:nvSpPr>
          <p:spPr>
            <a:xfrm>
              <a:off x="2497651" y="0"/>
              <a:ext cx="9719749" cy="3088446"/>
            </a:xfrm>
            <a:custGeom>
              <a:avLst/>
              <a:gdLst>
                <a:gd name="connsiteX0" fmla="*/ 0 w 7899400"/>
                <a:gd name="connsiteY0" fmla="*/ 0 h 3086100"/>
                <a:gd name="connsiteX1" fmla="*/ 7899400 w 7899400"/>
                <a:gd name="connsiteY1" fmla="*/ 0 h 3086100"/>
                <a:gd name="connsiteX2" fmla="*/ 7899400 w 7899400"/>
                <a:gd name="connsiteY2" fmla="*/ 3086100 h 3086100"/>
                <a:gd name="connsiteX3" fmla="*/ 0 w 7899400"/>
                <a:gd name="connsiteY3" fmla="*/ 0 h 3086100"/>
              </a:gdLst>
              <a:ahLst/>
              <a:cxnLst>
                <a:cxn ang="0">
                  <a:pos x="connsiteX0" y="connsiteY0"/>
                </a:cxn>
                <a:cxn ang="0">
                  <a:pos x="connsiteX1" y="connsiteY1"/>
                </a:cxn>
                <a:cxn ang="0">
                  <a:pos x="connsiteX2" y="connsiteY2"/>
                </a:cxn>
                <a:cxn ang="0">
                  <a:pos x="connsiteX3" y="connsiteY3"/>
                </a:cxn>
              </a:cxnLst>
              <a:rect l="l" t="t" r="r" b="b"/>
              <a:pathLst>
                <a:path w="7899400" h="3086100">
                  <a:moveTo>
                    <a:pt x="0" y="0"/>
                  </a:moveTo>
                  <a:lnTo>
                    <a:pt x="7899400" y="0"/>
                  </a:lnTo>
                  <a:lnTo>
                    <a:pt x="7899400" y="30861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Shape 62">
              <a:extLst>
                <a:ext uri="{FF2B5EF4-FFF2-40B4-BE49-F238E27FC236}">
                  <a16:creationId xmlns:a16="http://schemas.microsoft.com/office/drawing/2014/main" id="{0994C931-82A2-4D9B-80B4-A4FBE9EFBD17}"/>
                </a:ext>
              </a:extLst>
            </p:cNvPr>
            <p:cNvSpPr/>
            <p:nvPr userDrawn="1"/>
          </p:nvSpPr>
          <p:spPr>
            <a:xfrm>
              <a:off x="1174282" y="0"/>
              <a:ext cx="11036767" cy="3673788"/>
            </a:xfrm>
            <a:custGeom>
              <a:avLst/>
              <a:gdLst>
                <a:gd name="connsiteX0" fmla="*/ 0 w 7430445"/>
                <a:gd name="connsiteY0" fmla="*/ 0 h 4071206"/>
                <a:gd name="connsiteX1" fmla="*/ 788475 w 7430445"/>
                <a:gd name="connsiteY1" fmla="*/ 0 h 4071206"/>
                <a:gd name="connsiteX2" fmla="*/ 7430445 w 7430445"/>
                <a:gd name="connsiteY2" fmla="*/ 3639193 h 4071206"/>
                <a:gd name="connsiteX3" fmla="*/ 7430445 w 7430445"/>
                <a:gd name="connsiteY3" fmla="*/ 4071206 h 4071206"/>
                <a:gd name="connsiteX4" fmla="*/ 0 w 7430445"/>
                <a:gd name="connsiteY4" fmla="*/ 0 h 4071206"/>
                <a:gd name="connsiteX0" fmla="*/ 0 w 7435741"/>
                <a:gd name="connsiteY0" fmla="*/ 0 h 4071206"/>
                <a:gd name="connsiteX1" fmla="*/ 788475 w 7435741"/>
                <a:gd name="connsiteY1" fmla="*/ 0 h 4071206"/>
                <a:gd name="connsiteX2" fmla="*/ 7435741 w 7435741"/>
                <a:gd name="connsiteY2" fmla="*/ 3066208 h 4071206"/>
                <a:gd name="connsiteX3" fmla="*/ 7430445 w 7435741"/>
                <a:gd name="connsiteY3" fmla="*/ 4071206 h 4071206"/>
                <a:gd name="connsiteX4" fmla="*/ 0 w 7435741"/>
                <a:gd name="connsiteY4" fmla="*/ 0 h 4071206"/>
                <a:gd name="connsiteX0" fmla="*/ 0 w 7435741"/>
                <a:gd name="connsiteY0" fmla="*/ 0 h 3528379"/>
                <a:gd name="connsiteX1" fmla="*/ 788475 w 7435741"/>
                <a:gd name="connsiteY1" fmla="*/ 0 h 3528379"/>
                <a:gd name="connsiteX2" fmla="*/ 7435741 w 7435741"/>
                <a:gd name="connsiteY2" fmla="*/ 3066208 h 3528379"/>
                <a:gd name="connsiteX3" fmla="*/ 7398668 w 7435741"/>
                <a:gd name="connsiteY3" fmla="*/ 3528379 h 3528379"/>
                <a:gd name="connsiteX4" fmla="*/ 0 w 7435741"/>
                <a:gd name="connsiteY4" fmla="*/ 0 h 3528379"/>
                <a:gd name="connsiteX0" fmla="*/ 0 w 7441271"/>
                <a:gd name="connsiteY0" fmla="*/ 0 h 3543458"/>
                <a:gd name="connsiteX1" fmla="*/ 788475 w 7441271"/>
                <a:gd name="connsiteY1" fmla="*/ 0 h 3543458"/>
                <a:gd name="connsiteX2" fmla="*/ 7435741 w 7441271"/>
                <a:gd name="connsiteY2" fmla="*/ 3066208 h 3543458"/>
                <a:gd name="connsiteX3" fmla="*/ 7441037 w 7441271"/>
                <a:gd name="connsiteY3" fmla="*/ 3543458 h 3543458"/>
                <a:gd name="connsiteX4" fmla="*/ 0 w 7441271"/>
                <a:gd name="connsiteY4" fmla="*/ 0 h 3543458"/>
                <a:gd name="connsiteX0" fmla="*/ 0 w 7504824"/>
                <a:gd name="connsiteY0" fmla="*/ 0 h 3543458"/>
                <a:gd name="connsiteX1" fmla="*/ 852028 w 7504824"/>
                <a:gd name="connsiteY1" fmla="*/ 0 h 3543458"/>
                <a:gd name="connsiteX2" fmla="*/ 7499294 w 7504824"/>
                <a:gd name="connsiteY2" fmla="*/ 3066208 h 3543458"/>
                <a:gd name="connsiteX3" fmla="*/ 7504590 w 7504824"/>
                <a:gd name="connsiteY3" fmla="*/ 3543458 h 3543458"/>
                <a:gd name="connsiteX4" fmla="*/ 0 w 7504824"/>
                <a:gd name="connsiteY4" fmla="*/ 0 h 3543458"/>
                <a:gd name="connsiteX0" fmla="*/ 0 w 7499803"/>
                <a:gd name="connsiteY0" fmla="*/ 0 h 3618851"/>
                <a:gd name="connsiteX1" fmla="*/ 852028 w 7499803"/>
                <a:gd name="connsiteY1" fmla="*/ 0 h 3618851"/>
                <a:gd name="connsiteX2" fmla="*/ 7499294 w 7499803"/>
                <a:gd name="connsiteY2" fmla="*/ 3066208 h 3618851"/>
                <a:gd name="connsiteX3" fmla="*/ 7499294 w 7499803"/>
                <a:gd name="connsiteY3" fmla="*/ 3618851 h 3618851"/>
                <a:gd name="connsiteX4" fmla="*/ 0 w 7499803"/>
                <a:gd name="connsiteY4" fmla="*/ 0 h 3618851"/>
                <a:gd name="connsiteX0" fmla="*/ 0 w 7499447"/>
                <a:gd name="connsiteY0" fmla="*/ 0 h 3618851"/>
                <a:gd name="connsiteX1" fmla="*/ 852028 w 7499447"/>
                <a:gd name="connsiteY1" fmla="*/ 0 h 3618851"/>
                <a:gd name="connsiteX2" fmla="*/ 7488702 w 7499447"/>
                <a:gd name="connsiteY2" fmla="*/ 3005894 h 3618851"/>
                <a:gd name="connsiteX3" fmla="*/ 7499294 w 7499447"/>
                <a:gd name="connsiteY3" fmla="*/ 3618851 h 3618851"/>
                <a:gd name="connsiteX4" fmla="*/ 0 w 7499447"/>
                <a:gd name="connsiteY4" fmla="*/ 0 h 3618851"/>
                <a:gd name="connsiteX0" fmla="*/ 0 w 7488702"/>
                <a:gd name="connsiteY0" fmla="*/ 0 h 3596233"/>
                <a:gd name="connsiteX1" fmla="*/ 852028 w 7488702"/>
                <a:gd name="connsiteY1" fmla="*/ 0 h 3596233"/>
                <a:gd name="connsiteX2" fmla="*/ 7488702 w 7488702"/>
                <a:gd name="connsiteY2" fmla="*/ 3005894 h 3596233"/>
                <a:gd name="connsiteX3" fmla="*/ 7478110 w 7488702"/>
                <a:gd name="connsiteY3" fmla="*/ 3596233 h 3596233"/>
                <a:gd name="connsiteX4" fmla="*/ 0 w 7488702"/>
                <a:gd name="connsiteY4" fmla="*/ 0 h 3596233"/>
                <a:gd name="connsiteX0" fmla="*/ 0 w 7589328"/>
                <a:gd name="connsiteY0" fmla="*/ 0 h 3596233"/>
                <a:gd name="connsiteX1" fmla="*/ 952654 w 7589328"/>
                <a:gd name="connsiteY1" fmla="*/ 0 h 3596233"/>
                <a:gd name="connsiteX2" fmla="*/ 7589328 w 7589328"/>
                <a:gd name="connsiteY2" fmla="*/ 3005894 h 3596233"/>
                <a:gd name="connsiteX3" fmla="*/ 7578736 w 7589328"/>
                <a:gd name="connsiteY3" fmla="*/ 3596233 h 3596233"/>
                <a:gd name="connsiteX4" fmla="*/ 0 w 7589328"/>
                <a:gd name="connsiteY4" fmla="*/ 0 h 3596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328" h="3596233">
                  <a:moveTo>
                    <a:pt x="0" y="0"/>
                  </a:moveTo>
                  <a:lnTo>
                    <a:pt x="952654" y="0"/>
                  </a:lnTo>
                  <a:lnTo>
                    <a:pt x="7589328" y="3005894"/>
                  </a:lnTo>
                  <a:cubicBezTo>
                    <a:pt x="7587563" y="3340893"/>
                    <a:pt x="7580501" y="3261234"/>
                    <a:pt x="7578736" y="3596233"/>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itle 17">
            <a:extLst>
              <a:ext uri="{FF2B5EF4-FFF2-40B4-BE49-F238E27FC236}">
                <a16:creationId xmlns:a16="http://schemas.microsoft.com/office/drawing/2014/main" id="{9F7529C7-3F14-461E-AE5D-8E40FF7DAFE2}"/>
              </a:ext>
            </a:extLst>
          </p:cNvPr>
          <p:cNvSpPr>
            <a:spLocks noGrp="1"/>
          </p:cNvSpPr>
          <p:nvPr>
            <p:ph type="title" hasCustomPrompt="1"/>
          </p:nvPr>
        </p:nvSpPr>
        <p:spPr>
          <a:xfrm>
            <a:off x="457200" y="2278852"/>
            <a:ext cx="8343900" cy="4121948"/>
          </a:xfrm>
        </p:spPr>
        <p:txBody>
          <a:bodyPr anchor="ctr"/>
          <a:lstStyle>
            <a:lvl1pPr algn="l">
              <a:lnSpc>
                <a:spcPct val="80000"/>
              </a:lnSpc>
              <a:defRPr sz="6000">
                <a:ln w="3175">
                  <a:solidFill>
                    <a:schemeClr val="tx1"/>
                  </a:solidFill>
                </a:ln>
                <a:solidFill>
                  <a:schemeClr val="bg1"/>
                </a:solidFill>
              </a:defRPr>
            </a:lvl1pPr>
          </a:lstStyle>
          <a:p>
            <a:r>
              <a:rPr lang="en-US"/>
              <a:t>Large statement goes right here</a:t>
            </a:r>
          </a:p>
        </p:txBody>
      </p:sp>
      <p:sp>
        <p:nvSpPr>
          <p:cNvPr id="3" name="Slide Number Placeholder 2">
            <a:extLst>
              <a:ext uri="{FF2B5EF4-FFF2-40B4-BE49-F238E27FC236}">
                <a16:creationId xmlns:a16="http://schemas.microsoft.com/office/drawing/2014/main" id="{9899BDC3-FF00-4639-80A9-FC953212D222}"/>
              </a:ext>
            </a:extLst>
          </p:cNvPr>
          <p:cNvSpPr>
            <a:spLocks noGrp="1"/>
          </p:cNvSpPr>
          <p:nvPr>
            <p:ph type="sldNum" sz="quarter" idx="11"/>
          </p:nvPr>
        </p:nvSpPr>
        <p:spPr/>
        <p:txBody>
          <a:bodyPr/>
          <a:lstStyle/>
          <a:p>
            <a:fld id="{4C9EABC9-A6DF-4002-BA8F-FA0D4CABB02D}" type="slidenum">
              <a:rPr lang="en-US" smtClean="0"/>
              <a:pPr/>
              <a:t>‹#›</a:t>
            </a:fld>
            <a:endParaRPr lang="en-US"/>
          </a:p>
        </p:txBody>
      </p:sp>
      <p:grpSp>
        <p:nvGrpSpPr>
          <p:cNvPr id="13" name="Group 12">
            <a:extLst>
              <a:ext uri="{FF2B5EF4-FFF2-40B4-BE49-F238E27FC236}">
                <a16:creationId xmlns:a16="http://schemas.microsoft.com/office/drawing/2014/main" id="{80836FC9-EEE3-4124-A6D0-95AD808A429E}"/>
              </a:ext>
            </a:extLst>
          </p:cNvPr>
          <p:cNvGrpSpPr/>
          <p:nvPr userDrawn="1"/>
        </p:nvGrpSpPr>
        <p:grpSpPr>
          <a:xfrm>
            <a:off x="11410950" y="457200"/>
            <a:ext cx="323850" cy="324895"/>
            <a:chOff x="11693125" y="130630"/>
            <a:chExt cx="368246" cy="369434"/>
          </a:xfrm>
          <a:solidFill>
            <a:schemeClr val="bg1"/>
          </a:solidFill>
        </p:grpSpPr>
        <p:sp>
          <p:nvSpPr>
            <p:cNvPr id="14" name="Freeform 5">
              <a:extLst>
                <a:ext uri="{FF2B5EF4-FFF2-40B4-BE49-F238E27FC236}">
                  <a16:creationId xmlns:a16="http://schemas.microsoft.com/office/drawing/2014/main" id="{6CDF1FFC-4EBE-4ADE-B3A6-381E844BA11C}"/>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C7861B7A-B1A1-4665-8540-2BD577CF300A}"/>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65CC4DE-E8C3-424A-AB60-301FCA5EBC32}"/>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357174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llenges (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userDrawn="1"/>
        </p:nvSpPr>
        <p:spPr>
          <a:xfrm>
            <a:off x="6358467" y="0"/>
            <a:ext cx="583353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2">
            <a:extLst>
              <a:ext uri="{FF2B5EF4-FFF2-40B4-BE49-F238E27FC236}">
                <a16:creationId xmlns:a16="http://schemas.microsoft.com/office/drawing/2014/main" id="{F31C690D-2E33-4B5E-A758-51D5765E0AFF}"/>
              </a:ext>
            </a:extLst>
          </p:cNvPr>
          <p:cNvSpPr>
            <a:spLocks noGrp="1"/>
          </p:cNvSpPr>
          <p:nvPr>
            <p:ph type="title"/>
          </p:nvPr>
        </p:nvSpPr>
        <p:spPr>
          <a:xfrm>
            <a:off x="457200" y="463550"/>
            <a:ext cx="5410195" cy="1107996"/>
          </a:xfrm>
        </p:spPr>
        <p:txBody>
          <a:bodyPr/>
          <a:lstStyle>
            <a:lvl1pPr>
              <a:defRPr>
                <a:solidFill>
                  <a:schemeClr val="accent1"/>
                </a:solidFill>
              </a:defRPr>
            </a:lvl1pPr>
          </a:lstStyle>
          <a:p>
            <a:r>
              <a:rPr lang="en-US"/>
              <a:t>Click to edit Master title style</a:t>
            </a:r>
          </a:p>
        </p:txBody>
      </p:sp>
      <p:sp>
        <p:nvSpPr>
          <p:cNvPr id="12" name="Text Placeholder 4">
            <a:extLst>
              <a:ext uri="{FF2B5EF4-FFF2-40B4-BE49-F238E27FC236}">
                <a16:creationId xmlns:a16="http://schemas.microsoft.com/office/drawing/2014/main" id="{19820A29-569B-40F9-906D-FCB3E33A383A}"/>
              </a:ext>
            </a:extLst>
          </p:cNvPr>
          <p:cNvSpPr>
            <a:spLocks noGrp="1"/>
          </p:cNvSpPr>
          <p:nvPr>
            <p:ph type="body" sz="quarter" idx="10"/>
          </p:nvPr>
        </p:nvSpPr>
        <p:spPr>
          <a:xfrm>
            <a:off x="456672" y="1943100"/>
            <a:ext cx="5410728" cy="4457700"/>
          </a:xfrm>
        </p:spPr>
        <p:txBody>
          <a:bodyPr/>
          <a:lstStyle>
            <a:lvl1pPr>
              <a:defRPr>
                <a:solidFill>
                  <a:sysClr val="windowText" lastClr="000000"/>
                </a:solidFill>
              </a:defRPr>
            </a:lvl1pPr>
            <a:lvl2pPr>
              <a:defRPr>
                <a:solidFill>
                  <a:sysClr val="windowText" lastClr="000000"/>
                </a:solidFill>
              </a:defRPr>
            </a:lvl2pPr>
            <a:lvl3pPr>
              <a:defRPr>
                <a:solidFill>
                  <a:sysClr val="windowText" lastClr="000000"/>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A3640E85-4629-4999-A314-5E593BF6FED2}"/>
              </a:ext>
            </a:extLst>
          </p:cNvPr>
          <p:cNvSpPr>
            <a:spLocks noGrp="1"/>
          </p:cNvSpPr>
          <p:nvPr>
            <p:ph type="sldNum" sz="quarter" idx="12"/>
          </p:nvPr>
        </p:nvSpPr>
        <p:spPr/>
        <p:txBody>
          <a:bodyPr/>
          <a:lstStyle>
            <a:lvl1pPr>
              <a:defRPr>
                <a:solidFill>
                  <a:schemeClr val="accent2">
                    <a:lumMod val="75000"/>
                  </a:schemeClr>
                </a:solidFill>
              </a:defRPr>
            </a:lvl1pPr>
          </a:lstStyle>
          <a:p>
            <a:fld id="{4C9EABC9-A6DF-4002-BA8F-FA0D4CABB02D}" type="slidenum">
              <a:rPr lang="en-US" smtClean="0"/>
              <a:pPr/>
              <a:t>‹#›</a:t>
            </a:fld>
            <a:endParaRPr lang="en-US"/>
          </a:p>
        </p:txBody>
      </p:sp>
      <p:grpSp>
        <p:nvGrpSpPr>
          <p:cNvPr id="10" name="Group 9">
            <a:extLst>
              <a:ext uri="{FF2B5EF4-FFF2-40B4-BE49-F238E27FC236}">
                <a16:creationId xmlns:a16="http://schemas.microsoft.com/office/drawing/2014/main" id="{D05CB879-DA49-4703-9783-2B7DF764B570}"/>
              </a:ext>
            </a:extLst>
          </p:cNvPr>
          <p:cNvGrpSpPr/>
          <p:nvPr userDrawn="1"/>
        </p:nvGrpSpPr>
        <p:grpSpPr>
          <a:xfrm>
            <a:off x="11410950" y="457200"/>
            <a:ext cx="323850" cy="324895"/>
            <a:chOff x="11693125" y="130630"/>
            <a:chExt cx="368246" cy="369434"/>
          </a:xfrm>
          <a:solidFill>
            <a:schemeClr val="bg1"/>
          </a:solidFill>
        </p:grpSpPr>
        <p:sp>
          <p:nvSpPr>
            <p:cNvPr id="13" name="Freeform 5">
              <a:extLst>
                <a:ext uri="{FF2B5EF4-FFF2-40B4-BE49-F238E27FC236}">
                  <a16:creationId xmlns:a16="http://schemas.microsoft.com/office/drawing/2014/main" id="{6142AF86-85A2-4F12-A0FA-46EE06555915}"/>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E649EC1B-8FEF-49C4-8331-6AD8E780F523}"/>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3A322BAF-1858-41F5-9CB1-8F25EE103763}"/>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479748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llenges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userDrawn="1"/>
        </p:nvSpPr>
        <p:spPr>
          <a:xfrm>
            <a:off x="6358467" y="0"/>
            <a:ext cx="583353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itle 2">
            <a:extLst>
              <a:ext uri="{FF2B5EF4-FFF2-40B4-BE49-F238E27FC236}">
                <a16:creationId xmlns:a16="http://schemas.microsoft.com/office/drawing/2014/main" id="{C60EE54D-D418-4953-A5A3-8FFA8E839E5D}"/>
              </a:ext>
            </a:extLst>
          </p:cNvPr>
          <p:cNvSpPr>
            <a:spLocks noGrp="1"/>
          </p:cNvSpPr>
          <p:nvPr>
            <p:ph type="title"/>
          </p:nvPr>
        </p:nvSpPr>
        <p:spPr>
          <a:xfrm>
            <a:off x="457200" y="463550"/>
            <a:ext cx="5410195" cy="1107996"/>
          </a:xfrm>
        </p:spPr>
        <p:txBody>
          <a:bodyPr/>
          <a:lstStyle>
            <a:lvl1pPr>
              <a:defRPr>
                <a:solidFill>
                  <a:schemeClr val="accent1"/>
                </a:solidFill>
              </a:defRPr>
            </a:lvl1pPr>
          </a:lstStyle>
          <a:p>
            <a:r>
              <a:rPr lang="en-US"/>
              <a:t>Click to edit Master title style</a:t>
            </a:r>
          </a:p>
        </p:txBody>
      </p:sp>
      <p:sp>
        <p:nvSpPr>
          <p:cNvPr id="12" name="Text Placeholder 4">
            <a:extLst>
              <a:ext uri="{FF2B5EF4-FFF2-40B4-BE49-F238E27FC236}">
                <a16:creationId xmlns:a16="http://schemas.microsoft.com/office/drawing/2014/main" id="{B17A0437-ECA7-4866-8C2B-0DDE071FB9BA}"/>
              </a:ext>
            </a:extLst>
          </p:cNvPr>
          <p:cNvSpPr>
            <a:spLocks noGrp="1"/>
          </p:cNvSpPr>
          <p:nvPr>
            <p:ph type="body" sz="quarter" idx="10"/>
          </p:nvPr>
        </p:nvSpPr>
        <p:spPr>
          <a:xfrm>
            <a:off x="456672" y="1943100"/>
            <a:ext cx="5410728" cy="4457700"/>
          </a:xfrm>
        </p:spPr>
        <p:txBody>
          <a:bodyPr/>
          <a:lstStyle>
            <a:lvl1pPr>
              <a:defRPr>
                <a:solidFill>
                  <a:sysClr val="windowText" lastClr="000000"/>
                </a:solidFill>
              </a:defRPr>
            </a:lvl1pPr>
            <a:lvl2pPr>
              <a:defRPr>
                <a:solidFill>
                  <a:sysClr val="windowText" lastClr="000000"/>
                </a:solidFill>
              </a:defRPr>
            </a:lvl2pPr>
            <a:lvl3pPr>
              <a:defRPr>
                <a:solidFill>
                  <a:sysClr val="windowText" lastClr="000000"/>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74A7F3B-76B0-408B-BA03-3D70CC042705}"/>
              </a:ext>
            </a:extLst>
          </p:cNvPr>
          <p:cNvSpPr>
            <a:spLocks noGrp="1"/>
          </p:cNvSpPr>
          <p:nvPr>
            <p:ph type="sldNum" sz="quarter" idx="12"/>
          </p:nvPr>
        </p:nvSpPr>
        <p:spPr/>
        <p:txBody>
          <a:bodyPr/>
          <a:lstStyle/>
          <a:p>
            <a:fld id="{4C9EABC9-A6DF-4002-BA8F-FA0D4CABB02D}" type="slidenum">
              <a:rPr lang="en-US" smtClean="0"/>
              <a:pPr/>
              <a:t>‹#›</a:t>
            </a:fld>
            <a:endParaRPr lang="en-US"/>
          </a:p>
        </p:txBody>
      </p:sp>
      <p:grpSp>
        <p:nvGrpSpPr>
          <p:cNvPr id="10" name="Group 9">
            <a:extLst>
              <a:ext uri="{FF2B5EF4-FFF2-40B4-BE49-F238E27FC236}">
                <a16:creationId xmlns:a16="http://schemas.microsoft.com/office/drawing/2014/main" id="{148E51EF-2076-49A3-B3BA-2C35243FBE7C}"/>
              </a:ext>
            </a:extLst>
          </p:cNvPr>
          <p:cNvGrpSpPr/>
          <p:nvPr userDrawn="1"/>
        </p:nvGrpSpPr>
        <p:grpSpPr>
          <a:xfrm>
            <a:off x="11410950" y="457200"/>
            <a:ext cx="323850" cy="324895"/>
            <a:chOff x="11693125" y="130630"/>
            <a:chExt cx="368246" cy="369434"/>
          </a:xfrm>
          <a:solidFill>
            <a:schemeClr val="bg1"/>
          </a:solidFill>
        </p:grpSpPr>
        <p:sp>
          <p:nvSpPr>
            <p:cNvPr id="13" name="Freeform 5">
              <a:extLst>
                <a:ext uri="{FF2B5EF4-FFF2-40B4-BE49-F238E27FC236}">
                  <a16:creationId xmlns:a16="http://schemas.microsoft.com/office/drawing/2014/main" id="{81C4F264-583F-45E9-A922-9AE9592562D6}"/>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EE252FE5-DA2E-46A9-A7C9-2A3D7D7064A5}"/>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393B34AB-1B31-40EF-A677-90E05061BCA1}"/>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260068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llenges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userDrawn="1"/>
        </p:nvSpPr>
        <p:spPr>
          <a:xfrm>
            <a:off x="6356350" y="0"/>
            <a:ext cx="583565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itle 2">
            <a:extLst>
              <a:ext uri="{FF2B5EF4-FFF2-40B4-BE49-F238E27FC236}">
                <a16:creationId xmlns:a16="http://schemas.microsoft.com/office/drawing/2014/main" id="{C1921F19-CA6D-423E-B244-418E3DE55002}"/>
              </a:ext>
            </a:extLst>
          </p:cNvPr>
          <p:cNvSpPr>
            <a:spLocks noGrp="1"/>
          </p:cNvSpPr>
          <p:nvPr>
            <p:ph type="title"/>
          </p:nvPr>
        </p:nvSpPr>
        <p:spPr>
          <a:xfrm>
            <a:off x="457200" y="463550"/>
            <a:ext cx="5410195" cy="1107996"/>
          </a:xfrm>
        </p:spPr>
        <p:txBody>
          <a:bodyPr/>
          <a:lstStyle>
            <a:lvl1pPr>
              <a:defRPr>
                <a:solidFill>
                  <a:schemeClr val="accent1"/>
                </a:solidFill>
              </a:defRPr>
            </a:lvl1pPr>
          </a:lstStyle>
          <a:p>
            <a:r>
              <a:rPr lang="en-US"/>
              <a:t>Click to edit Master title style</a:t>
            </a:r>
          </a:p>
        </p:txBody>
      </p:sp>
      <p:sp>
        <p:nvSpPr>
          <p:cNvPr id="15" name="Text Placeholder 4">
            <a:extLst>
              <a:ext uri="{FF2B5EF4-FFF2-40B4-BE49-F238E27FC236}">
                <a16:creationId xmlns:a16="http://schemas.microsoft.com/office/drawing/2014/main" id="{D0160932-B10A-45FB-8DA0-9FF2640A2C47}"/>
              </a:ext>
            </a:extLst>
          </p:cNvPr>
          <p:cNvSpPr>
            <a:spLocks noGrp="1"/>
          </p:cNvSpPr>
          <p:nvPr>
            <p:ph type="body" sz="quarter" idx="10"/>
          </p:nvPr>
        </p:nvSpPr>
        <p:spPr>
          <a:xfrm>
            <a:off x="456672" y="1943100"/>
            <a:ext cx="5410728" cy="4457700"/>
          </a:xfrm>
        </p:spPr>
        <p:txBody>
          <a:bodyPr/>
          <a:lstStyle>
            <a:lvl1pPr>
              <a:defRPr>
                <a:solidFill>
                  <a:sysClr val="windowText" lastClr="000000"/>
                </a:solidFill>
              </a:defRPr>
            </a:lvl1pPr>
            <a:lvl2pPr>
              <a:defRPr>
                <a:solidFill>
                  <a:sysClr val="windowText" lastClr="000000"/>
                </a:solidFill>
              </a:defRPr>
            </a:lvl2pPr>
            <a:lvl3pPr>
              <a:defRPr>
                <a:solidFill>
                  <a:sysClr val="windowText" lastClr="000000"/>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8620ACB-F2DE-4846-9C91-C211AF162B9B}"/>
              </a:ext>
            </a:extLst>
          </p:cNvPr>
          <p:cNvSpPr>
            <a:spLocks noGrp="1"/>
          </p:cNvSpPr>
          <p:nvPr>
            <p:ph type="sldNum" sz="quarter" idx="12"/>
          </p:nvPr>
        </p:nvSpPr>
        <p:spPr/>
        <p:txBody>
          <a:bodyPr/>
          <a:lstStyle/>
          <a:p>
            <a:fld id="{4C9EABC9-A6DF-4002-BA8F-FA0D4CABB02D}" type="slidenum">
              <a:rPr lang="en-US" smtClean="0"/>
              <a:pPr/>
              <a:t>‹#›</a:t>
            </a:fld>
            <a:endParaRPr lang="en-US"/>
          </a:p>
        </p:txBody>
      </p:sp>
      <p:grpSp>
        <p:nvGrpSpPr>
          <p:cNvPr id="10" name="Group 9">
            <a:extLst>
              <a:ext uri="{FF2B5EF4-FFF2-40B4-BE49-F238E27FC236}">
                <a16:creationId xmlns:a16="http://schemas.microsoft.com/office/drawing/2014/main" id="{EC49D914-2E2D-4ECC-8F63-D618C1CD059C}"/>
              </a:ext>
            </a:extLst>
          </p:cNvPr>
          <p:cNvGrpSpPr/>
          <p:nvPr userDrawn="1"/>
        </p:nvGrpSpPr>
        <p:grpSpPr>
          <a:xfrm>
            <a:off x="11410950" y="457200"/>
            <a:ext cx="323850" cy="324895"/>
            <a:chOff x="11693125" y="130630"/>
            <a:chExt cx="368246" cy="369434"/>
          </a:xfrm>
          <a:solidFill>
            <a:schemeClr val="bg1"/>
          </a:solidFill>
        </p:grpSpPr>
        <p:sp>
          <p:nvSpPr>
            <p:cNvPr id="11" name="Freeform 5">
              <a:extLst>
                <a:ext uri="{FF2B5EF4-FFF2-40B4-BE49-F238E27FC236}">
                  <a16:creationId xmlns:a16="http://schemas.microsoft.com/office/drawing/2014/main" id="{6E261FE9-AFB6-4C27-842B-1D0741FAD114}"/>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CC9523A2-1EF1-4491-92D1-4032E87BFECD}"/>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F6B0DBA5-D600-4BC8-8B83-F4FC069901B4}"/>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036322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gue (Black)">
    <p:bg>
      <p:bgPr>
        <a:solidFill>
          <a:schemeClr val="tx1"/>
        </a:solidFill>
        <a:effectLst/>
      </p:bgPr>
    </p:bg>
    <p:spTree>
      <p:nvGrpSpPr>
        <p:cNvPr id="1" name=""/>
        <p:cNvGrpSpPr/>
        <p:nvPr/>
      </p:nvGrpSpPr>
      <p:grpSpPr>
        <a:xfrm>
          <a:off x="0" y="0"/>
          <a:ext cx="0" cy="0"/>
          <a:chOff x="0" y="0"/>
          <a:chExt cx="0" cy="0"/>
        </a:xfrm>
      </p:grpSpPr>
      <p:sp>
        <p:nvSpPr>
          <p:cNvPr id="6" name="Title 17">
            <a:extLst>
              <a:ext uri="{FF2B5EF4-FFF2-40B4-BE49-F238E27FC236}">
                <a16:creationId xmlns:a16="http://schemas.microsoft.com/office/drawing/2014/main" id="{3CDF0352-B6C7-4C8F-A2B3-7407B11BBBC1}"/>
              </a:ext>
            </a:extLst>
          </p:cNvPr>
          <p:cNvSpPr>
            <a:spLocks noGrp="1"/>
          </p:cNvSpPr>
          <p:nvPr>
            <p:ph type="title"/>
          </p:nvPr>
        </p:nvSpPr>
        <p:spPr>
          <a:xfrm>
            <a:off x="914400" y="2578150"/>
            <a:ext cx="10363200" cy="1701700"/>
          </a:xfrm>
        </p:spPr>
        <p:txBody>
          <a:bodyPr anchor="ctr"/>
          <a:lstStyle>
            <a:lvl1pPr algn="ctr">
              <a:defRPr sz="4400">
                <a:solidFill>
                  <a:schemeClr val="bg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4B2FB433-72D9-46B1-8C64-7E81FB6DFFFD}"/>
              </a:ext>
            </a:extLst>
          </p:cNvPr>
          <p:cNvCxnSpPr/>
          <p:nvPr userDrawn="1"/>
        </p:nvCxnSpPr>
        <p:spPr>
          <a:xfrm>
            <a:off x="457200" y="719844"/>
            <a:ext cx="11277600" cy="0"/>
          </a:xfrm>
          <a:prstGeom prst="line">
            <a:avLst/>
          </a:prstGeom>
          <a:ln w="9525"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61EC5C-056E-4FCC-B4EF-096C3AE61F0D}"/>
              </a:ext>
            </a:extLst>
          </p:cNvPr>
          <p:cNvCxnSpPr/>
          <p:nvPr userDrawn="1"/>
        </p:nvCxnSpPr>
        <p:spPr>
          <a:xfrm>
            <a:off x="457200" y="6138155"/>
            <a:ext cx="11277600" cy="0"/>
          </a:xfrm>
          <a:prstGeom prst="line">
            <a:avLst/>
          </a:prstGeom>
          <a:ln w="9525"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8338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hallenges">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457200" y="2676371"/>
            <a:ext cx="5410200" cy="372861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4" name="Text Placeholder 2"/>
          <p:cNvSpPr>
            <a:spLocks noGrp="1"/>
          </p:cNvSpPr>
          <p:nvPr>
            <p:ph type="body" idx="1"/>
          </p:nvPr>
        </p:nvSpPr>
        <p:spPr>
          <a:xfrm>
            <a:off x="457200" y="1943100"/>
            <a:ext cx="5387805"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26" name="Straight Connector 25"/>
          <p:cNvCxnSpPr>
            <a:cxnSpLocks/>
          </p:cNvCxnSpPr>
          <p:nvPr userDrawn="1"/>
        </p:nvCxnSpPr>
        <p:spPr>
          <a:xfrm>
            <a:off x="457200" y="2354675"/>
            <a:ext cx="5410200"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35" name="Text Placeholder 2"/>
          <p:cNvSpPr>
            <a:spLocks noGrp="1"/>
          </p:cNvSpPr>
          <p:nvPr>
            <p:ph type="body" idx="12"/>
          </p:nvPr>
        </p:nvSpPr>
        <p:spPr>
          <a:xfrm>
            <a:off x="6340364" y="1943100"/>
            <a:ext cx="5394435"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36" name="Straight Connector 35"/>
          <p:cNvCxnSpPr>
            <a:cxnSpLocks/>
          </p:cNvCxnSpPr>
          <p:nvPr userDrawn="1"/>
        </p:nvCxnSpPr>
        <p:spPr>
          <a:xfrm>
            <a:off x="6324600" y="2354675"/>
            <a:ext cx="5410200"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1" name="Text Placeholder 10"/>
          <p:cNvSpPr>
            <a:spLocks noGrp="1"/>
          </p:cNvSpPr>
          <p:nvPr>
            <p:ph type="body" sz="quarter" idx="13"/>
          </p:nvPr>
        </p:nvSpPr>
        <p:spPr>
          <a:xfrm>
            <a:off x="6324600" y="2676371"/>
            <a:ext cx="5410200" cy="372861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Title 1">
            <a:extLst>
              <a:ext uri="{FF2B5EF4-FFF2-40B4-BE49-F238E27FC236}">
                <a16:creationId xmlns:a16="http://schemas.microsoft.com/office/drawing/2014/main" id="{5A5E7CE1-19EA-4A83-94D7-17AD03B77C4D}"/>
              </a:ext>
            </a:extLst>
          </p:cNvPr>
          <p:cNvSpPr>
            <a:spLocks noGrp="1"/>
          </p:cNvSpPr>
          <p:nvPr>
            <p:ph type="title"/>
          </p:nvPr>
        </p:nvSpPr>
        <p:spPr/>
        <p:txBody>
          <a:bodyPr/>
          <a:lstStyle/>
          <a:p>
            <a:r>
              <a:rPr lang="en-US"/>
              <a:t>Click to edit Master title style</a:t>
            </a:r>
          </a:p>
        </p:txBody>
      </p:sp>
      <p:sp>
        <p:nvSpPr>
          <p:cNvPr id="15" name="Text Placeholder 2">
            <a:extLst>
              <a:ext uri="{FF2B5EF4-FFF2-40B4-BE49-F238E27FC236}">
                <a16:creationId xmlns:a16="http://schemas.microsoft.com/office/drawing/2014/main" id="{0134B7F2-7E0C-4664-BBC7-22519AF4EB3B}"/>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8" name="Slide Number Placeholder 7">
            <a:extLst>
              <a:ext uri="{FF2B5EF4-FFF2-40B4-BE49-F238E27FC236}">
                <a16:creationId xmlns:a16="http://schemas.microsoft.com/office/drawing/2014/main" id="{0BFDE132-BF58-4753-BE90-C23BAB4A5A0E}"/>
              </a:ext>
            </a:extLst>
          </p:cNvPr>
          <p:cNvSpPr>
            <a:spLocks noGrp="1"/>
          </p:cNvSpPr>
          <p:nvPr>
            <p:ph type="sldNum" sz="quarter" idx="18"/>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8665562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hallenges">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457200" y="2676726"/>
            <a:ext cx="3465129" cy="3728258"/>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4" name="Text Placeholder 2"/>
          <p:cNvSpPr>
            <a:spLocks noGrp="1"/>
          </p:cNvSpPr>
          <p:nvPr>
            <p:ph type="body" idx="1"/>
          </p:nvPr>
        </p:nvSpPr>
        <p:spPr>
          <a:xfrm>
            <a:off x="457201" y="1948097"/>
            <a:ext cx="3475086"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26" name="Straight Connector 25"/>
          <p:cNvCxnSpPr>
            <a:cxnSpLocks/>
          </p:cNvCxnSpPr>
          <p:nvPr userDrawn="1"/>
        </p:nvCxnSpPr>
        <p:spPr>
          <a:xfrm>
            <a:off x="457200" y="2359672"/>
            <a:ext cx="3465129"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35" name="Text Placeholder 2"/>
          <p:cNvSpPr>
            <a:spLocks noGrp="1"/>
          </p:cNvSpPr>
          <p:nvPr>
            <p:ph type="body" idx="12"/>
          </p:nvPr>
        </p:nvSpPr>
        <p:spPr>
          <a:xfrm>
            <a:off x="8259713" y="1948097"/>
            <a:ext cx="3475086"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36" name="Straight Connector 35"/>
          <p:cNvCxnSpPr>
            <a:cxnSpLocks/>
          </p:cNvCxnSpPr>
          <p:nvPr userDrawn="1"/>
        </p:nvCxnSpPr>
        <p:spPr>
          <a:xfrm>
            <a:off x="8259384" y="2359672"/>
            <a:ext cx="3465129"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1" name="Text Placeholder 10"/>
          <p:cNvSpPr>
            <a:spLocks noGrp="1"/>
          </p:cNvSpPr>
          <p:nvPr>
            <p:ph type="body" sz="quarter" idx="13"/>
          </p:nvPr>
        </p:nvSpPr>
        <p:spPr>
          <a:xfrm>
            <a:off x="8259384" y="2676726"/>
            <a:ext cx="3465129" cy="3728258"/>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Title 1">
            <a:extLst>
              <a:ext uri="{FF2B5EF4-FFF2-40B4-BE49-F238E27FC236}">
                <a16:creationId xmlns:a16="http://schemas.microsoft.com/office/drawing/2014/main" id="{5A5E7CE1-19EA-4A83-94D7-17AD03B77C4D}"/>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FE083775-0A3A-4879-A268-DF03566E6ACD}"/>
              </a:ext>
            </a:extLst>
          </p:cNvPr>
          <p:cNvSpPr>
            <a:spLocks noGrp="1"/>
          </p:cNvSpPr>
          <p:nvPr>
            <p:ph type="body" idx="14"/>
          </p:nvPr>
        </p:nvSpPr>
        <p:spPr>
          <a:xfrm>
            <a:off x="4358457" y="1948097"/>
            <a:ext cx="3475086"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13" name="Straight Connector 12">
            <a:extLst>
              <a:ext uri="{FF2B5EF4-FFF2-40B4-BE49-F238E27FC236}">
                <a16:creationId xmlns:a16="http://schemas.microsoft.com/office/drawing/2014/main" id="{508A5B7C-D666-43D4-8558-F7977E474F11}"/>
              </a:ext>
            </a:extLst>
          </p:cNvPr>
          <p:cNvCxnSpPr>
            <a:cxnSpLocks/>
          </p:cNvCxnSpPr>
          <p:nvPr userDrawn="1"/>
        </p:nvCxnSpPr>
        <p:spPr>
          <a:xfrm>
            <a:off x="4358128" y="2359672"/>
            <a:ext cx="3465129"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4" name="Text Placeholder 10">
            <a:extLst>
              <a:ext uri="{FF2B5EF4-FFF2-40B4-BE49-F238E27FC236}">
                <a16:creationId xmlns:a16="http://schemas.microsoft.com/office/drawing/2014/main" id="{C909603A-EC91-4B43-9B2F-844AA0C31405}"/>
              </a:ext>
            </a:extLst>
          </p:cNvPr>
          <p:cNvSpPr>
            <a:spLocks noGrp="1"/>
          </p:cNvSpPr>
          <p:nvPr>
            <p:ph type="body" sz="quarter" idx="15"/>
          </p:nvPr>
        </p:nvSpPr>
        <p:spPr>
          <a:xfrm>
            <a:off x="4358128" y="2676726"/>
            <a:ext cx="3465129" cy="3728258"/>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7" name="Text Placeholder 2">
            <a:extLst>
              <a:ext uri="{FF2B5EF4-FFF2-40B4-BE49-F238E27FC236}">
                <a16:creationId xmlns:a16="http://schemas.microsoft.com/office/drawing/2014/main" id="{B9C3D8A6-A8CC-41DF-AB9F-26ED4E75798E}"/>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4" name="Slide Number Placeholder 3">
            <a:extLst>
              <a:ext uri="{FF2B5EF4-FFF2-40B4-BE49-F238E27FC236}">
                <a16:creationId xmlns:a16="http://schemas.microsoft.com/office/drawing/2014/main" id="{71C39306-FE32-497A-96FC-135D35CF19DD}"/>
              </a:ext>
            </a:extLst>
          </p:cNvPr>
          <p:cNvSpPr>
            <a:spLocks noGrp="1"/>
          </p:cNvSpPr>
          <p:nvPr>
            <p:ph type="sldNum" sz="quarter" idx="18"/>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24699130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Challenges">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457201" y="2639463"/>
            <a:ext cx="2438399" cy="376133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4" name="Text Placeholder 2"/>
          <p:cNvSpPr>
            <a:spLocks noGrp="1"/>
          </p:cNvSpPr>
          <p:nvPr>
            <p:ph type="body" idx="1"/>
          </p:nvPr>
        </p:nvSpPr>
        <p:spPr>
          <a:xfrm>
            <a:off x="457202" y="1943100"/>
            <a:ext cx="2438398" cy="249299"/>
          </a:xfrm>
        </p:spPr>
        <p:txBody>
          <a:bodyPr wrap="square" anchor="b">
            <a:sp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26" name="Straight Connector 25"/>
          <p:cNvCxnSpPr>
            <a:cxnSpLocks/>
          </p:cNvCxnSpPr>
          <p:nvPr userDrawn="1"/>
        </p:nvCxnSpPr>
        <p:spPr>
          <a:xfrm>
            <a:off x="457200" y="2313125"/>
            <a:ext cx="2438400"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35" name="Text Placeholder 2"/>
          <p:cNvSpPr>
            <a:spLocks noGrp="1"/>
          </p:cNvSpPr>
          <p:nvPr>
            <p:ph type="body" idx="12"/>
          </p:nvPr>
        </p:nvSpPr>
        <p:spPr>
          <a:xfrm>
            <a:off x="9254606" y="1943100"/>
            <a:ext cx="2483618" cy="249299"/>
          </a:xfrm>
        </p:spPr>
        <p:txBody>
          <a:bodyPr wrap="square" anchor="b">
            <a:sp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36" name="Straight Connector 35"/>
          <p:cNvCxnSpPr>
            <a:cxnSpLocks/>
          </p:cNvCxnSpPr>
          <p:nvPr userDrawn="1"/>
        </p:nvCxnSpPr>
        <p:spPr>
          <a:xfrm>
            <a:off x="9253657" y="2313125"/>
            <a:ext cx="2476501"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1" name="Text Placeholder 10"/>
          <p:cNvSpPr>
            <a:spLocks noGrp="1"/>
          </p:cNvSpPr>
          <p:nvPr>
            <p:ph type="body" sz="quarter" idx="13"/>
          </p:nvPr>
        </p:nvSpPr>
        <p:spPr>
          <a:xfrm>
            <a:off x="9258299" y="2639463"/>
            <a:ext cx="2476501" cy="376133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Title 1">
            <a:extLst>
              <a:ext uri="{FF2B5EF4-FFF2-40B4-BE49-F238E27FC236}">
                <a16:creationId xmlns:a16="http://schemas.microsoft.com/office/drawing/2014/main" id="{5A5E7CE1-19EA-4A83-94D7-17AD03B77C4D}"/>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FE083775-0A3A-4879-A268-DF03566E6ACD}"/>
              </a:ext>
            </a:extLst>
          </p:cNvPr>
          <p:cNvSpPr>
            <a:spLocks noGrp="1"/>
          </p:cNvSpPr>
          <p:nvPr>
            <p:ph type="body" idx="14"/>
          </p:nvPr>
        </p:nvSpPr>
        <p:spPr>
          <a:xfrm>
            <a:off x="3391689" y="1943100"/>
            <a:ext cx="2483616" cy="249299"/>
          </a:xfrm>
        </p:spPr>
        <p:txBody>
          <a:bodyPr wrap="square" anchor="b">
            <a:sp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13" name="Straight Connector 12">
            <a:extLst>
              <a:ext uri="{FF2B5EF4-FFF2-40B4-BE49-F238E27FC236}">
                <a16:creationId xmlns:a16="http://schemas.microsoft.com/office/drawing/2014/main" id="{508A5B7C-D666-43D4-8558-F7977E474F11}"/>
              </a:ext>
            </a:extLst>
          </p:cNvPr>
          <p:cNvCxnSpPr>
            <a:cxnSpLocks/>
          </p:cNvCxnSpPr>
          <p:nvPr userDrawn="1"/>
        </p:nvCxnSpPr>
        <p:spPr>
          <a:xfrm>
            <a:off x="3390899" y="2313125"/>
            <a:ext cx="2476499"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4" name="Text Placeholder 10">
            <a:extLst>
              <a:ext uri="{FF2B5EF4-FFF2-40B4-BE49-F238E27FC236}">
                <a16:creationId xmlns:a16="http://schemas.microsoft.com/office/drawing/2014/main" id="{C909603A-EC91-4B43-9B2F-844AA0C31405}"/>
              </a:ext>
            </a:extLst>
          </p:cNvPr>
          <p:cNvSpPr>
            <a:spLocks noGrp="1"/>
          </p:cNvSpPr>
          <p:nvPr>
            <p:ph type="body" sz="quarter" idx="15"/>
          </p:nvPr>
        </p:nvSpPr>
        <p:spPr>
          <a:xfrm>
            <a:off x="3390900" y="2639463"/>
            <a:ext cx="2476500" cy="376133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5" name="Text Placeholder 2">
            <a:extLst>
              <a:ext uri="{FF2B5EF4-FFF2-40B4-BE49-F238E27FC236}">
                <a16:creationId xmlns:a16="http://schemas.microsoft.com/office/drawing/2014/main" id="{D4C5B1B0-5280-4DB8-B6E9-35A3E6D58420}"/>
              </a:ext>
            </a:extLst>
          </p:cNvPr>
          <p:cNvSpPr>
            <a:spLocks noGrp="1"/>
          </p:cNvSpPr>
          <p:nvPr>
            <p:ph type="body" idx="16"/>
          </p:nvPr>
        </p:nvSpPr>
        <p:spPr>
          <a:xfrm>
            <a:off x="6325381" y="1943100"/>
            <a:ext cx="2475717" cy="249299"/>
          </a:xfrm>
        </p:spPr>
        <p:txBody>
          <a:bodyPr wrap="square" anchor="b">
            <a:sp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16" name="Straight Connector 15">
            <a:extLst>
              <a:ext uri="{FF2B5EF4-FFF2-40B4-BE49-F238E27FC236}">
                <a16:creationId xmlns:a16="http://schemas.microsoft.com/office/drawing/2014/main" id="{A21EDC78-E465-4EAC-A0C0-EBCF9F668752}"/>
              </a:ext>
            </a:extLst>
          </p:cNvPr>
          <p:cNvCxnSpPr>
            <a:cxnSpLocks/>
          </p:cNvCxnSpPr>
          <p:nvPr userDrawn="1"/>
        </p:nvCxnSpPr>
        <p:spPr>
          <a:xfrm>
            <a:off x="6324600" y="2313125"/>
            <a:ext cx="2476500"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7" name="Text Placeholder 10">
            <a:extLst>
              <a:ext uri="{FF2B5EF4-FFF2-40B4-BE49-F238E27FC236}">
                <a16:creationId xmlns:a16="http://schemas.microsoft.com/office/drawing/2014/main" id="{2BF88E6E-0AE1-4438-80D5-02391AE58312}"/>
              </a:ext>
            </a:extLst>
          </p:cNvPr>
          <p:cNvSpPr>
            <a:spLocks noGrp="1"/>
          </p:cNvSpPr>
          <p:nvPr>
            <p:ph type="body" sz="quarter" idx="17"/>
          </p:nvPr>
        </p:nvSpPr>
        <p:spPr>
          <a:xfrm>
            <a:off x="6324600" y="2639463"/>
            <a:ext cx="2476500" cy="376133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8" name="Text Placeholder 2">
            <a:extLst>
              <a:ext uri="{FF2B5EF4-FFF2-40B4-BE49-F238E27FC236}">
                <a16:creationId xmlns:a16="http://schemas.microsoft.com/office/drawing/2014/main" id="{C9108F82-6402-47EF-9639-8427F4F32267}"/>
              </a:ext>
            </a:extLst>
          </p:cNvPr>
          <p:cNvSpPr>
            <a:spLocks noGrp="1"/>
          </p:cNvSpPr>
          <p:nvPr>
            <p:ph type="body" idx="18"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25" name="Slide Number Placeholder 24">
            <a:extLst>
              <a:ext uri="{FF2B5EF4-FFF2-40B4-BE49-F238E27FC236}">
                <a16:creationId xmlns:a16="http://schemas.microsoft.com/office/drawing/2014/main" id="{7FF01208-54B9-48E9-B465-1DBE39BF7122}"/>
              </a:ext>
            </a:extLst>
          </p:cNvPr>
          <p:cNvSpPr>
            <a:spLocks noGrp="1"/>
          </p:cNvSpPr>
          <p:nvPr>
            <p:ph type="sldNum" sz="quarter" idx="20"/>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35160190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ase Study - Animated">
    <p:spTree>
      <p:nvGrpSpPr>
        <p:cNvPr id="1" name=""/>
        <p:cNvGrpSpPr/>
        <p:nvPr/>
      </p:nvGrpSpPr>
      <p:grpSpPr>
        <a:xfrm>
          <a:off x="0" y="0"/>
          <a:ext cx="0" cy="0"/>
          <a:chOff x="0" y="0"/>
          <a:chExt cx="0" cy="0"/>
        </a:xfrm>
      </p:grpSpPr>
      <p:grpSp>
        <p:nvGrpSpPr>
          <p:cNvPr id="41" name="Group 40" hidden="1"/>
          <p:cNvGrpSpPr/>
          <p:nvPr userDrawn="1"/>
        </p:nvGrpSpPr>
        <p:grpSpPr>
          <a:xfrm>
            <a:off x="1588" y="-9173"/>
            <a:ext cx="12188825" cy="6876064"/>
            <a:chOff x="1588" y="-9173"/>
            <a:chExt cx="12188825" cy="6876064"/>
          </a:xfrm>
        </p:grpSpPr>
        <p:pic>
          <p:nvPicPr>
            <p:cNvPr id="42" name="Content Placeholder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88" y="0"/>
              <a:ext cx="12188825" cy="6858000"/>
            </a:xfrm>
            <a:prstGeom prst="rect">
              <a:avLst/>
            </a:prstGeom>
          </p:spPr>
        </p:pic>
        <p:grpSp>
          <p:nvGrpSpPr>
            <p:cNvPr id="43" name="Group 42"/>
            <p:cNvGrpSpPr/>
            <p:nvPr/>
          </p:nvGrpSpPr>
          <p:grpSpPr>
            <a:xfrm>
              <a:off x="1588" y="-9173"/>
              <a:ext cx="12188825" cy="6876064"/>
              <a:chOff x="1588" y="-9173"/>
              <a:chExt cx="12188825" cy="6876064"/>
            </a:xfrm>
          </p:grpSpPr>
          <p:grpSp>
            <p:nvGrpSpPr>
              <p:cNvPr id="44" name="Group 43"/>
              <p:cNvGrpSpPr/>
              <p:nvPr/>
            </p:nvGrpSpPr>
            <p:grpSpPr>
              <a:xfrm>
                <a:off x="1588" y="-9173"/>
                <a:ext cx="12188825" cy="6876064"/>
                <a:chOff x="1588" y="-9173"/>
                <a:chExt cx="12188825" cy="6876064"/>
              </a:xfrm>
            </p:grpSpPr>
            <p:cxnSp>
              <p:nvCxnSpPr>
                <p:cNvPr id="58" name="Straight Connector 57"/>
                <p:cNvCxnSpPr/>
                <p:nvPr/>
              </p:nvCxnSpPr>
              <p:spPr>
                <a:xfrm>
                  <a:off x="1588" y="1365843"/>
                  <a:ext cx="12188825" cy="0"/>
                </a:xfrm>
                <a:prstGeom prst="line">
                  <a:avLst/>
                </a:prstGeom>
                <a:noFill/>
                <a:ln w="3175" cap="rnd" cmpd="sng" algn="ctr">
                  <a:solidFill>
                    <a:srgbClr val="C6007E">
                      <a:alpha val="30000"/>
                    </a:srgbClr>
                  </a:solidFill>
                  <a:prstDash val="sysDash"/>
                  <a:round/>
                </a:ln>
                <a:effectLst/>
              </p:spPr>
            </p:cxnSp>
            <p:cxnSp>
              <p:nvCxnSpPr>
                <p:cNvPr id="59" name="Straight Connector 58"/>
                <p:cNvCxnSpPr/>
                <p:nvPr/>
              </p:nvCxnSpPr>
              <p:spPr>
                <a:xfrm>
                  <a:off x="1588" y="1709597"/>
                  <a:ext cx="12188825" cy="0"/>
                </a:xfrm>
                <a:prstGeom prst="line">
                  <a:avLst/>
                </a:prstGeom>
                <a:noFill/>
                <a:ln w="3175" cap="rnd" cmpd="sng" algn="ctr">
                  <a:solidFill>
                    <a:srgbClr val="C6007E">
                      <a:alpha val="30000"/>
                    </a:srgbClr>
                  </a:solidFill>
                  <a:prstDash val="sysDash"/>
                  <a:round/>
                </a:ln>
                <a:effectLst/>
              </p:spPr>
            </p:cxnSp>
            <p:cxnSp>
              <p:nvCxnSpPr>
                <p:cNvPr id="60" name="Straight Connector 59"/>
                <p:cNvCxnSpPr/>
                <p:nvPr/>
              </p:nvCxnSpPr>
              <p:spPr>
                <a:xfrm>
                  <a:off x="1588" y="1022089"/>
                  <a:ext cx="12188825" cy="0"/>
                </a:xfrm>
                <a:prstGeom prst="line">
                  <a:avLst/>
                </a:prstGeom>
                <a:noFill/>
                <a:ln w="3175" cap="rnd" cmpd="sng" algn="ctr">
                  <a:solidFill>
                    <a:srgbClr val="C6007E">
                      <a:alpha val="30000"/>
                    </a:srgbClr>
                  </a:solidFill>
                  <a:prstDash val="sysDash"/>
                  <a:round/>
                </a:ln>
                <a:effectLst/>
              </p:spPr>
            </p:cxnSp>
            <p:cxnSp>
              <p:nvCxnSpPr>
                <p:cNvPr id="61" name="Straight Connector 60"/>
                <p:cNvCxnSpPr/>
                <p:nvPr/>
              </p:nvCxnSpPr>
              <p:spPr>
                <a:xfrm>
                  <a:off x="1588" y="678335"/>
                  <a:ext cx="12188825" cy="0"/>
                </a:xfrm>
                <a:prstGeom prst="line">
                  <a:avLst/>
                </a:prstGeom>
                <a:noFill/>
                <a:ln w="3175" cap="rnd" cmpd="sng" algn="ctr">
                  <a:solidFill>
                    <a:srgbClr val="C6007E">
                      <a:alpha val="30000"/>
                    </a:srgbClr>
                  </a:solidFill>
                  <a:prstDash val="sysDash"/>
                  <a:round/>
                </a:ln>
                <a:effectLst/>
              </p:spPr>
            </p:cxnSp>
            <p:cxnSp>
              <p:nvCxnSpPr>
                <p:cNvPr id="62" name="Straight Connector 61"/>
                <p:cNvCxnSpPr/>
                <p:nvPr/>
              </p:nvCxnSpPr>
              <p:spPr>
                <a:xfrm>
                  <a:off x="1588" y="334581"/>
                  <a:ext cx="12188825" cy="0"/>
                </a:xfrm>
                <a:prstGeom prst="line">
                  <a:avLst/>
                </a:prstGeom>
                <a:noFill/>
                <a:ln w="3175" cap="rnd" cmpd="sng" algn="ctr">
                  <a:solidFill>
                    <a:srgbClr val="C6007E">
                      <a:alpha val="30000"/>
                    </a:srgbClr>
                  </a:solidFill>
                  <a:prstDash val="sysDash"/>
                  <a:round/>
                </a:ln>
                <a:effectLst/>
              </p:spPr>
            </p:cxnSp>
            <p:cxnSp>
              <p:nvCxnSpPr>
                <p:cNvPr id="63" name="Straight Connector 62"/>
                <p:cNvCxnSpPr/>
                <p:nvPr/>
              </p:nvCxnSpPr>
              <p:spPr>
                <a:xfrm>
                  <a:off x="1588" y="-9173"/>
                  <a:ext cx="12188825" cy="0"/>
                </a:xfrm>
                <a:prstGeom prst="line">
                  <a:avLst/>
                </a:prstGeom>
                <a:noFill/>
                <a:ln w="3175" cap="rnd" cmpd="sng" algn="ctr">
                  <a:solidFill>
                    <a:srgbClr val="C6007E">
                      <a:alpha val="30000"/>
                    </a:srgbClr>
                  </a:solidFill>
                  <a:prstDash val="sysDash"/>
                  <a:round/>
                </a:ln>
                <a:effectLst/>
              </p:spPr>
            </p:cxnSp>
            <p:cxnSp>
              <p:nvCxnSpPr>
                <p:cNvPr id="64" name="Straight Connector 63"/>
                <p:cNvCxnSpPr/>
                <p:nvPr/>
              </p:nvCxnSpPr>
              <p:spPr>
                <a:xfrm>
                  <a:off x="1588" y="3084613"/>
                  <a:ext cx="12188825" cy="0"/>
                </a:xfrm>
                <a:prstGeom prst="line">
                  <a:avLst/>
                </a:prstGeom>
                <a:noFill/>
                <a:ln w="3175" cap="rnd" cmpd="sng" algn="ctr">
                  <a:solidFill>
                    <a:srgbClr val="C6007E">
                      <a:alpha val="30000"/>
                    </a:srgbClr>
                  </a:solidFill>
                  <a:prstDash val="sysDash"/>
                  <a:round/>
                </a:ln>
                <a:effectLst/>
              </p:spPr>
            </p:cxnSp>
            <p:cxnSp>
              <p:nvCxnSpPr>
                <p:cNvPr id="65" name="Straight Connector 64"/>
                <p:cNvCxnSpPr/>
                <p:nvPr/>
              </p:nvCxnSpPr>
              <p:spPr>
                <a:xfrm>
                  <a:off x="1588" y="3428366"/>
                  <a:ext cx="12188825" cy="0"/>
                </a:xfrm>
                <a:prstGeom prst="line">
                  <a:avLst/>
                </a:prstGeom>
                <a:noFill/>
                <a:ln w="3175" cap="rnd" cmpd="sng" algn="ctr">
                  <a:solidFill>
                    <a:srgbClr val="C6007E">
                      <a:alpha val="30000"/>
                    </a:srgbClr>
                  </a:solidFill>
                  <a:prstDash val="sysDash"/>
                  <a:round/>
                </a:ln>
                <a:effectLst/>
              </p:spPr>
            </p:cxnSp>
            <p:cxnSp>
              <p:nvCxnSpPr>
                <p:cNvPr id="66" name="Straight Connector 65"/>
                <p:cNvCxnSpPr/>
                <p:nvPr/>
              </p:nvCxnSpPr>
              <p:spPr>
                <a:xfrm>
                  <a:off x="1588" y="2740859"/>
                  <a:ext cx="12188825" cy="0"/>
                </a:xfrm>
                <a:prstGeom prst="line">
                  <a:avLst/>
                </a:prstGeom>
                <a:noFill/>
                <a:ln w="3175" cap="rnd" cmpd="sng" algn="ctr">
                  <a:solidFill>
                    <a:srgbClr val="C6007E">
                      <a:alpha val="30000"/>
                    </a:srgbClr>
                  </a:solidFill>
                  <a:prstDash val="sysDash"/>
                  <a:round/>
                </a:ln>
                <a:effectLst/>
              </p:spPr>
            </p:cxnSp>
            <p:cxnSp>
              <p:nvCxnSpPr>
                <p:cNvPr id="67" name="Straight Connector 66"/>
                <p:cNvCxnSpPr/>
                <p:nvPr/>
              </p:nvCxnSpPr>
              <p:spPr>
                <a:xfrm>
                  <a:off x="1588" y="2397105"/>
                  <a:ext cx="12188825" cy="0"/>
                </a:xfrm>
                <a:prstGeom prst="line">
                  <a:avLst/>
                </a:prstGeom>
                <a:noFill/>
                <a:ln w="3175" cap="rnd" cmpd="sng" algn="ctr">
                  <a:solidFill>
                    <a:srgbClr val="C6007E">
                      <a:alpha val="30000"/>
                    </a:srgbClr>
                  </a:solidFill>
                  <a:prstDash val="sysDash"/>
                  <a:round/>
                </a:ln>
                <a:effectLst/>
              </p:spPr>
            </p:cxnSp>
            <p:cxnSp>
              <p:nvCxnSpPr>
                <p:cNvPr id="68" name="Straight Connector 67"/>
                <p:cNvCxnSpPr/>
                <p:nvPr/>
              </p:nvCxnSpPr>
              <p:spPr>
                <a:xfrm>
                  <a:off x="1588" y="2053351"/>
                  <a:ext cx="12188825" cy="0"/>
                </a:xfrm>
                <a:prstGeom prst="line">
                  <a:avLst/>
                </a:prstGeom>
                <a:noFill/>
                <a:ln w="3175" cap="rnd" cmpd="sng" algn="ctr">
                  <a:solidFill>
                    <a:srgbClr val="C6007E">
                      <a:alpha val="30000"/>
                    </a:srgbClr>
                  </a:solidFill>
                  <a:prstDash val="sysDash"/>
                  <a:round/>
                </a:ln>
                <a:effectLst/>
              </p:spPr>
            </p:cxnSp>
            <p:cxnSp>
              <p:nvCxnSpPr>
                <p:cNvPr id="69" name="Straight Connector 68"/>
                <p:cNvCxnSpPr/>
                <p:nvPr/>
              </p:nvCxnSpPr>
              <p:spPr>
                <a:xfrm>
                  <a:off x="1588" y="4804368"/>
                  <a:ext cx="12188825" cy="0"/>
                </a:xfrm>
                <a:prstGeom prst="line">
                  <a:avLst/>
                </a:prstGeom>
                <a:noFill/>
                <a:ln w="3175" cap="rnd" cmpd="sng" algn="ctr">
                  <a:solidFill>
                    <a:srgbClr val="C6007E">
                      <a:alpha val="30000"/>
                    </a:srgbClr>
                  </a:solidFill>
                  <a:prstDash val="sysDash"/>
                  <a:round/>
                </a:ln>
                <a:effectLst/>
              </p:spPr>
            </p:cxnSp>
            <p:cxnSp>
              <p:nvCxnSpPr>
                <p:cNvPr id="70" name="Straight Connector 69"/>
                <p:cNvCxnSpPr/>
                <p:nvPr/>
              </p:nvCxnSpPr>
              <p:spPr>
                <a:xfrm>
                  <a:off x="1588" y="5148122"/>
                  <a:ext cx="12188825" cy="0"/>
                </a:xfrm>
                <a:prstGeom prst="line">
                  <a:avLst/>
                </a:prstGeom>
                <a:noFill/>
                <a:ln w="3175" cap="rnd" cmpd="sng" algn="ctr">
                  <a:solidFill>
                    <a:srgbClr val="C6007E">
                      <a:alpha val="30000"/>
                    </a:srgbClr>
                  </a:solidFill>
                  <a:prstDash val="sysDash"/>
                  <a:round/>
                </a:ln>
                <a:effectLst/>
              </p:spPr>
            </p:cxnSp>
            <p:cxnSp>
              <p:nvCxnSpPr>
                <p:cNvPr id="71" name="Straight Connector 70"/>
                <p:cNvCxnSpPr/>
                <p:nvPr/>
              </p:nvCxnSpPr>
              <p:spPr>
                <a:xfrm>
                  <a:off x="1588" y="4460614"/>
                  <a:ext cx="12188825" cy="0"/>
                </a:xfrm>
                <a:prstGeom prst="line">
                  <a:avLst/>
                </a:prstGeom>
                <a:noFill/>
                <a:ln w="3175" cap="rnd" cmpd="sng" algn="ctr">
                  <a:solidFill>
                    <a:srgbClr val="C6007E">
                      <a:alpha val="30000"/>
                    </a:srgbClr>
                  </a:solidFill>
                  <a:prstDash val="sysDash"/>
                  <a:round/>
                </a:ln>
                <a:effectLst/>
              </p:spPr>
            </p:cxnSp>
            <p:cxnSp>
              <p:nvCxnSpPr>
                <p:cNvPr id="72" name="Straight Connector 71"/>
                <p:cNvCxnSpPr/>
                <p:nvPr/>
              </p:nvCxnSpPr>
              <p:spPr>
                <a:xfrm>
                  <a:off x="1588" y="4116860"/>
                  <a:ext cx="12188825" cy="0"/>
                </a:xfrm>
                <a:prstGeom prst="line">
                  <a:avLst/>
                </a:prstGeom>
                <a:noFill/>
                <a:ln w="3175" cap="rnd" cmpd="sng" algn="ctr">
                  <a:solidFill>
                    <a:srgbClr val="C6007E">
                      <a:alpha val="30000"/>
                    </a:srgbClr>
                  </a:solidFill>
                  <a:prstDash val="sysDash"/>
                  <a:round/>
                </a:ln>
                <a:effectLst/>
              </p:spPr>
            </p:cxnSp>
            <p:cxnSp>
              <p:nvCxnSpPr>
                <p:cNvPr id="73" name="Straight Connector 72"/>
                <p:cNvCxnSpPr/>
                <p:nvPr/>
              </p:nvCxnSpPr>
              <p:spPr>
                <a:xfrm>
                  <a:off x="1588" y="3773106"/>
                  <a:ext cx="12188825" cy="0"/>
                </a:xfrm>
                <a:prstGeom prst="line">
                  <a:avLst/>
                </a:prstGeom>
                <a:noFill/>
                <a:ln w="3175" cap="rnd" cmpd="sng" algn="ctr">
                  <a:solidFill>
                    <a:srgbClr val="C6007E">
                      <a:alpha val="30000"/>
                    </a:srgbClr>
                  </a:solidFill>
                  <a:prstDash val="sysDash"/>
                  <a:round/>
                </a:ln>
                <a:effectLst/>
              </p:spPr>
            </p:cxnSp>
            <p:cxnSp>
              <p:nvCxnSpPr>
                <p:cNvPr id="74" name="Straight Connector 73"/>
                <p:cNvCxnSpPr/>
                <p:nvPr/>
              </p:nvCxnSpPr>
              <p:spPr>
                <a:xfrm>
                  <a:off x="1588" y="6523138"/>
                  <a:ext cx="12188825" cy="0"/>
                </a:xfrm>
                <a:prstGeom prst="line">
                  <a:avLst/>
                </a:prstGeom>
                <a:noFill/>
                <a:ln w="3175" cap="rnd" cmpd="sng" algn="ctr">
                  <a:solidFill>
                    <a:srgbClr val="C6007E">
                      <a:alpha val="30000"/>
                    </a:srgbClr>
                  </a:solidFill>
                  <a:prstDash val="sysDash"/>
                  <a:round/>
                </a:ln>
                <a:effectLst/>
              </p:spPr>
            </p:cxnSp>
            <p:cxnSp>
              <p:nvCxnSpPr>
                <p:cNvPr id="75" name="Straight Connector 74"/>
                <p:cNvCxnSpPr/>
                <p:nvPr/>
              </p:nvCxnSpPr>
              <p:spPr>
                <a:xfrm>
                  <a:off x="1588" y="6866891"/>
                  <a:ext cx="12188825" cy="0"/>
                </a:xfrm>
                <a:prstGeom prst="line">
                  <a:avLst/>
                </a:prstGeom>
                <a:noFill/>
                <a:ln w="3175" cap="rnd" cmpd="sng" algn="ctr">
                  <a:solidFill>
                    <a:srgbClr val="C6007E">
                      <a:alpha val="30000"/>
                    </a:srgbClr>
                  </a:solidFill>
                  <a:prstDash val="sysDash"/>
                  <a:round/>
                </a:ln>
                <a:effectLst/>
              </p:spPr>
            </p:cxnSp>
            <p:cxnSp>
              <p:nvCxnSpPr>
                <p:cNvPr id="76" name="Straight Connector 75"/>
                <p:cNvCxnSpPr/>
                <p:nvPr/>
              </p:nvCxnSpPr>
              <p:spPr>
                <a:xfrm>
                  <a:off x="1588" y="6179384"/>
                  <a:ext cx="12188825" cy="0"/>
                </a:xfrm>
                <a:prstGeom prst="line">
                  <a:avLst/>
                </a:prstGeom>
                <a:noFill/>
                <a:ln w="3175" cap="rnd" cmpd="sng" algn="ctr">
                  <a:solidFill>
                    <a:srgbClr val="C6007E">
                      <a:alpha val="30000"/>
                    </a:srgbClr>
                  </a:solidFill>
                  <a:prstDash val="sysDash"/>
                  <a:round/>
                </a:ln>
                <a:effectLst/>
              </p:spPr>
            </p:cxnSp>
            <p:cxnSp>
              <p:nvCxnSpPr>
                <p:cNvPr id="77" name="Straight Connector 76"/>
                <p:cNvCxnSpPr/>
                <p:nvPr/>
              </p:nvCxnSpPr>
              <p:spPr>
                <a:xfrm>
                  <a:off x="1588" y="5835630"/>
                  <a:ext cx="12188825" cy="0"/>
                </a:xfrm>
                <a:prstGeom prst="line">
                  <a:avLst/>
                </a:prstGeom>
                <a:noFill/>
                <a:ln w="3175" cap="rnd" cmpd="sng" algn="ctr">
                  <a:solidFill>
                    <a:srgbClr val="C6007E">
                      <a:alpha val="30000"/>
                    </a:srgbClr>
                  </a:solidFill>
                  <a:prstDash val="sysDash"/>
                  <a:round/>
                </a:ln>
                <a:effectLst/>
              </p:spPr>
            </p:cxnSp>
            <p:cxnSp>
              <p:nvCxnSpPr>
                <p:cNvPr id="78" name="Straight Connector 77"/>
                <p:cNvCxnSpPr/>
                <p:nvPr/>
              </p:nvCxnSpPr>
              <p:spPr>
                <a:xfrm>
                  <a:off x="1588" y="5491876"/>
                  <a:ext cx="12188825" cy="0"/>
                </a:xfrm>
                <a:prstGeom prst="line">
                  <a:avLst/>
                </a:prstGeom>
                <a:noFill/>
                <a:ln w="3175" cap="rnd" cmpd="sng" algn="ctr">
                  <a:solidFill>
                    <a:srgbClr val="C6007E">
                      <a:alpha val="30000"/>
                    </a:srgbClr>
                  </a:solidFill>
                  <a:prstDash val="sysDash"/>
                  <a:round/>
                </a:ln>
                <a:effectLst/>
              </p:spPr>
            </p:cxnSp>
          </p:grpSp>
          <p:grpSp>
            <p:nvGrpSpPr>
              <p:cNvPr id="45" name="Group 44"/>
              <p:cNvGrpSpPr/>
              <p:nvPr/>
            </p:nvGrpSpPr>
            <p:grpSpPr>
              <a:xfrm>
                <a:off x="850106" y="0"/>
                <a:ext cx="10472738" cy="6858000"/>
                <a:chOff x="850106" y="0"/>
                <a:chExt cx="10472738" cy="6858000"/>
              </a:xfrm>
            </p:grpSpPr>
            <p:cxnSp>
              <p:nvCxnSpPr>
                <p:cNvPr id="46" name="Straight Connector 45"/>
                <p:cNvCxnSpPr/>
                <p:nvPr/>
              </p:nvCxnSpPr>
              <p:spPr>
                <a:xfrm>
                  <a:off x="850106" y="0"/>
                  <a:ext cx="0" cy="6858000"/>
                </a:xfrm>
                <a:prstGeom prst="line">
                  <a:avLst/>
                </a:prstGeom>
                <a:noFill/>
                <a:ln w="3175" cap="rnd" cmpd="sng" algn="ctr">
                  <a:solidFill>
                    <a:srgbClr val="C6007E">
                      <a:alpha val="30000"/>
                    </a:srgbClr>
                  </a:solidFill>
                  <a:prstDash val="sysDash"/>
                  <a:round/>
                </a:ln>
                <a:effectLst/>
              </p:spPr>
            </p:cxnSp>
            <p:cxnSp>
              <p:nvCxnSpPr>
                <p:cNvPr id="47" name="Straight Connector 46"/>
                <p:cNvCxnSpPr/>
                <p:nvPr/>
              </p:nvCxnSpPr>
              <p:spPr>
                <a:xfrm>
                  <a:off x="11322844" y="0"/>
                  <a:ext cx="0" cy="6858000"/>
                </a:xfrm>
                <a:prstGeom prst="line">
                  <a:avLst/>
                </a:prstGeom>
                <a:noFill/>
                <a:ln w="3175" cap="rnd" cmpd="sng" algn="ctr">
                  <a:solidFill>
                    <a:srgbClr val="C6007E">
                      <a:alpha val="30000"/>
                    </a:srgbClr>
                  </a:solidFill>
                  <a:prstDash val="sysDash"/>
                  <a:round/>
                </a:ln>
                <a:effectLst/>
              </p:spPr>
            </p:cxnSp>
            <p:cxnSp>
              <p:nvCxnSpPr>
                <p:cNvPr id="48" name="Straight Connector 47"/>
                <p:cNvCxnSpPr/>
                <p:nvPr/>
              </p:nvCxnSpPr>
              <p:spPr>
                <a:xfrm>
                  <a:off x="10370776" y="0"/>
                  <a:ext cx="0" cy="6858000"/>
                </a:xfrm>
                <a:prstGeom prst="line">
                  <a:avLst/>
                </a:prstGeom>
                <a:noFill/>
                <a:ln w="3175" cap="rnd" cmpd="sng" algn="ctr">
                  <a:solidFill>
                    <a:srgbClr val="C6007E">
                      <a:alpha val="30000"/>
                    </a:srgbClr>
                  </a:solidFill>
                  <a:prstDash val="sysDash"/>
                  <a:round/>
                </a:ln>
                <a:effectLst/>
              </p:spPr>
            </p:cxnSp>
            <p:cxnSp>
              <p:nvCxnSpPr>
                <p:cNvPr id="49" name="Straight Connector 48"/>
                <p:cNvCxnSpPr/>
                <p:nvPr/>
              </p:nvCxnSpPr>
              <p:spPr>
                <a:xfrm>
                  <a:off x="9418709" y="0"/>
                  <a:ext cx="0" cy="6858000"/>
                </a:xfrm>
                <a:prstGeom prst="line">
                  <a:avLst/>
                </a:prstGeom>
                <a:noFill/>
                <a:ln w="3175" cap="rnd" cmpd="sng" algn="ctr">
                  <a:solidFill>
                    <a:srgbClr val="C6007E">
                      <a:alpha val="30000"/>
                    </a:srgbClr>
                  </a:solidFill>
                  <a:prstDash val="sysDash"/>
                  <a:round/>
                </a:ln>
                <a:effectLst/>
              </p:spPr>
            </p:cxnSp>
            <p:cxnSp>
              <p:nvCxnSpPr>
                <p:cNvPr id="50" name="Straight Connector 49"/>
                <p:cNvCxnSpPr/>
                <p:nvPr/>
              </p:nvCxnSpPr>
              <p:spPr>
                <a:xfrm>
                  <a:off x="8466642" y="0"/>
                  <a:ext cx="0" cy="6858000"/>
                </a:xfrm>
                <a:prstGeom prst="line">
                  <a:avLst/>
                </a:prstGeom>
                <a:noFill/>
                <a:ln w="3175" cap="rnd" cmpd="sng" algn="ctr">
                  <a:solidFill>
                    <a:srgbClr val="C6007E">
                      <a:alpha val="30000"/>
                    </a:srgbClr>
                  </a:solidFill>
                  <a:prstDash val="sysDash"/>
                  <a:round/>
                </a:ln>
                <a:effectLst/>
              </p:spPr>
            </p:cxnSp>
            <p:cxnSp>
              <p:nvCxnSpPr>
                <p:cNvPr id="51" name="Straight Connector 50"/>
                <p:cNvCxnSpPr/>
                <p:nvPr/>
              </p:nvCxnSpPr>
              <p:spPr>
                <a:xfrm>
                  <a:off x="7514575" y="0"/>
                  <a:ext cx="0" cy="6858000"/>
                </a:xfrm>
                <a:prstGeom prst="line">
                  <a:avLst/>
                </a:prstGeom>
                <a:noFill/>
                <a:ln w="3175" cap="rnd" cmpd="sng" algn="ctr">
                  <a:solidFill>
                    <a:srgbClr val="C6007E">
                      <a:alpha val="30000"/>
                    </a:srgbClr>
                  </a:solidFill>
                  <a:prstDash val="sysDash"/>
                  <a:round/>
                </a:ln>
                <a:effectLst/>
              </p:spPr>
            </p:cxnSp>
            <p:cxnSp>
              <p:nvCxnSpPr>
                <p:cNvPr id="52" name="Straight Connector 51"/>
                <p:cNvCxnSpPr/>
                <p:nvPr/>
              </p:nvCxnSpPr>
              <p:spPr>
                <a:xfrm>
                  <a:off x="6562508" y="0"/>
                  <a:ext cx="0" cy="6858000"/>
                </a:xfrm>
                <a:prstGeom prst="line">
                  <a:avLst/>
                </a:prstGeom>
                <a:noFill/>
                <a:ln w="3175" cap="rnd" cmpd="sng" algn="ctr">
                  <a:solidFill>
                    <a:srgbClr val="C6007E">
                      <a:alpha val="30000"/>
                    </a:srgbClr>
                  </a:solidFill>
                  <a:prstDash val="sysDash"/>
                  <a:round/>
                </a:ln>
                <a:effectLst/>
              </p:spPr>
            </p:cxnSp>
            <p:cxnSp>
              <p:nvCxnSpPr>
                <p:cNvPr id="53" name="Straight Connector 52"/>
                <p:cNvCxnSpPr/>
                <p:nvPr/>
              </p:nvCxnSpPr>
              <p:spPr>
                <a:xfrm>
                  <a:off x="5610441" y="0"/>
                  <a:ext cx="0" cy="6858000"/>
                </a:xfrm>
                <a:prstGeom prst="line">
                  <a:avLst/>
                </a:prstGeom>
                <a:noFill/>
                <a:ln w="3175" cap="rnd" cmpd="sng" algn="ctr">
                  <a:solidFill>
                    <a:srgbClr val="C6007E">
                      <a:alpha val="30000"/>
                    </a:srgbClr>
                  </a:solidFill>
                  <a:prstDash val="sysDash"/>
                  <a:round/>
                </a:ln>
                <a:effectLst/>
              </p:spPr>
            </p:cxnSp>
            <p:cxnSp>
              <p:nvCxnSpPr>
                <p:cNvPr id="54" name="Straight Connector 53"/>
                <p:cNvCxnSpPr/>
                <p:nvPr/>
              </p:nvCxnSpPr>
              <p:spPr>
                <a:xfrm>
                  <a:off x="4658374" y="0"/>
                  <a:ext cx="0" cy="6858000"/>
                </a:xfrm>
                <a:prstGeom prst="line">
                  <a:avLst/>
                </a:prstGeom>
                <a:noFill/>
                <a:ln w="3175" cap="rnd" cmpd="sng" algn="ctr">
                  <a:solidFill>
                    <a:srgbClr val="C6007E">
                      <a:alpha val="30000"/>
                    </a:srgbClr>
                  </a:solidFill>
                  <a:prstDash val="sysDash"/>
                  <a:round/>
                </a:ln>
                <a:effectLst/>
              </p:spPr>
            </p:cxnSp>
            <p:cxnSp>
              <p:nvCxnSpPr>
                <p:cNvPr id="55" name="Straight Connector 54"/>
                <p:cNvCxnSpPr/>
                <p:nvPr/>
              </p:nvCxnSpPr>
              <p:spPr>
                <a:xfrm>
                  <a:off x="3706307" y="0"/>
                  <a:ext cx="0" cy="6858000"/>
                </a:xfrm>
                <a:prstGeom prst="line">
                  <a:avLst/>
                </a:prstGeom>
                <a:noFill/>
                <a:ln w="3175" cap="rnd" cmpd="sng" algn="ctr">
                  <a:solidFill>
                    <a:srgbClr val="C6007E">
                      <a:alpha val="30000"/>
                    </a:srgbClr>
                  </a:solidFill>
                  <a:prstDash val="sysDash"/>
                  <a:round/>
                </a:ln>
                <a:effectLst/>
              </p:spPr>
            </p:cxnSp>
            <p:cxnSp>
              <p:nvCxnSpPr>
                <p:cNvPr id="56" name="Straight Connector 55"/>
                <p:cNvCxnSpPr/>
                <p:nvPr/>
              </p:nvCxnSpPr>
              <p:spPr>
                <a:xfrm>
                  <a:off x="2754240" y="0"/>
                  <a:ext cx="0" cy="6858000"/>
                </a:xfrm>
                <a:prstGeom prst="line">
                  <a:avLst/>
                </a:prstGeom>
                <a:noFill/>
                <a:ln w="3175" cap="rnd" cmpd="sng" algn="ctr">
                  <a:solidFill>
                    <a:srgbClr val="C6007E">
                      <a:alpha val="30000"/>
                    </a:srgbClr>
                  </a:solidFill>
                  <a:prstDash val="sysDash"/>
                  <a:round/>
                </a:ln>
                <a:effectLst/>
              </p:spPr>
            </p:cxnSp>
            <p:cxnSp>
              <p:nvCxnSpPr>
                <p:cNvPr id="57" name="Straight Connector 56"/>
                <p:cNvCxnSpPr/>
                <p:nvPr/>
              </p:nvCxnSpPr>
              <p:spPr>
                <a:xfrm>
                  <a:off x="1802173" y="0"/>
                  <a:ext cx="0" cy="6858000"/>
                </a:xfrm>
                <a:prstGeom prst="line">
                  <a:avLst/>
                </a:prstGeom>
                <a:noFill/>
                <a:ln w="3175" cap="rnd" cmpd="sng" algn="ctr">
                  <a:solidFill>
                    <a:srgbClr val="C6007E">
                      <a:alpha val="30000"/>
                    </a:srgbClr>
                  </a:solidFill>
                  <a:prstDash val="sysDash"/>
                  <a:round/>
                </a:ln>
                <a:effectLst/>
              </p:spPr>
            </p:cxnSp>
          </p:grpSp>
        </p:grpSp>
      </p:grpSp>
      <p:sp>
        <p:nvSpPr>
          <p:cNvPr id="37" name="Picture Placeholder 36"/>
          <p:cNvSpPr>
            <a:spLocks noGrp="1"/>
          </p:cNvSpPr>
          <p:nvPr>
            <p:ph type="pic" sz="quarter" idx="15"/>
          </p:nvPr>
        </p:nvSpPr>
        <p:spPr>
          <a:xfrm>
            <a:off x="5221858" y="0"/>
            <a:ext cx="6970142" cy="6858000"/>
          </a:xfrm>
          <a:solidFill>
            <a:schemeClr val="bg2">
              <a:lumMod val="20000"/>
              <a:lumOff val="80000"/>
            </a:schemeClr>
          </a:solidFill>
        </p:spPr>
        <p:txBody>
          <a:bodyPr lIns="0" tIns="2103120" rIns="1280160"/>
          <a:lstStyle>
            <a:lvl1pPr algn="r">
              <a:defRPr/>
            </a:lvl1pPr>
          </a:lstStyle>
          <a:p>
            <a:endParaRPr lang="en-US"/>
          </a:p>
        </p:txBody>
      </p:sp>
      <p:sp>
        <p:nvSpPr>
          <p:cNvPr id="24" name="Text Placeholder 23"/>
          <p:cNvSpPr>
            <a:spLocks noGrp="1"/>
          </p:cNvSpPr>
          <p:nvPr>
            <p:ph type="body" sz="quarter" idx="11" hasCustomPrompt="1"/>
          </p:nvPr>
        </p:nvSpPr>
        <p:spPr>
          <a:xfrm>
            <a:off x="457201" y="438537"/>
            <a:ext cx="4202414" cy="193899"/>
          </a:xfrm>
        </p:spPr>
        <p:txBody>
          <a:bodyPr/>
          <a:lstStyle>
            <a:lvl1pPr>
              <a:defRPr kumimoji="0" lang="en-US" sz="1400" b="1" i="0" u="none" strike="noStrike" kern="1200" cap="all" spc="200" normalizeH="0" baseline="0" dirty="0">
                <a:ln>
                  <a:noFill/>
                </a:ln>
                <a:solidFill>
                  <a:schemeClr val="tx2"/>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t>CASE STUDY</a:t>
            </a:r>
          </a:p>
        </p:txBody>
      </p:sp>
      <p:sp>
        <p:nvSpPr>
          <p:cNvPr id="26" name="Text Placeholder 25"/>
          <p:cNvSpPr>
            <a:spLocks noGrp="1"/>
          </p:cNvSpPr>
          <p:nvPr>
            <p:ph type="body" sz="quarter" idx="12"/>
          </p:nvPr>
        </p:nvSpPr>
        <p:spPr>
          <a:xfrm>
            <a:off x="457202" y="1943100"/>
            <a:ext cx="4199584" cy="4457698"/>
          </a:xfrm>
        </p:spPr>
        <p:txBody>
          <a:bodyPr/>
          <a:lstStyle>
            <a:lvl1pPr>
              <a:lnSpc>
                <a:spcPct val="100000"/>
              </a:lnSpc>
              <a:defRPr sz="1400">
                <a:solidFill>
                  <a:schemeClr val="accent1"/>
                </a:solidFill>
              </a:defRPr>
            </a:lvl1pPr>
            <a:lvl2pPr marL="0" indent="0">
              <a:lnSpc>
                <a:spcPct val="100000"/>
              </a:lnSpc>
              <a:spcBef>
                <a:spcPts val="800"/>
              </a:spcBef>
              <a:buFont typeface="Arial" panose="020B0604020202020204" pitchFamily="34" charset="0"/>
              <a:buChar char="​"/>
              <a:defRPr sz="1200" b="1">
                <a:solidFill>
                  <a:schemeClr val="tx1"/>
                </a:solidFill>
              </a:defRPr>
            </a:lvl2pPr>
            <a:lvl3pPr marL="0" indent="0">
              <a:lnSpc>
                <a:spcPct val="100000"/>
              </a:lnSpc>
              <a:spcBef>
                <a:spcPts val="0"/>
              </a:spcBef>
              <a:spcAft>
                <a:spcPts val="600"/>
              </a:spcAft>
              <a:buFont typeface="Arial" panose="020B0604020202020204" pitchFamily="34" charset="0"/>
              <a:buChar char="​"/>
              <a:defRPr sz="1200" baseline="0"/>
            </a:lvl3pPr>
            <a:lvl4pPr marL="174625" indent="-174625">
              <a:lnSpc>
                <a:spcPct val="100000"/>
              </a:lnSpc>
              <a:spcBef>
                <a:spcPts val="600"/>
              </a:spcBef>
              <a:spcAft>
                <a:spcPts val="200"/>
              </a:spcAft>
              <a:buFont typeface="Arial" panose="020B0604020202020204" pitchFamily="34" charset="0"/>
              <a:buChar char="•"/>
              <a:defRPr sz="1200" b="0" spc="0" baseline="0">
                <a:solidFill>
                  <a:schemeClr val="tx1"/>
                </a:solidFill>
              </a:defRPr>
            </a:lvl4pPr>
            <a:lvl5pPr marL="0" indent="0">
              <a:lnSpc>
                <a:spcPct val="100000"/>
              </a:lnSpc>
              <a:spcBef>
                <a:spcPts val="600"/>
              </a:spcBef>
              <a:spcAft>
                <a:spcPts val="200"/>
              </a:spcAft>
              <a:buFont typeface="CiscoSansTT ExtraLight" panose="020B0303020201020303" pitchFamily="34" charset="0"/>
              <a:buChar char="​"/>
              <a:defRPr sz="1600" spc="0">
                <a:solidFill>
                  <a:schemeClr val="tx2"/>
                </a:solidFill>
              </a:defRPr>
            </a:lvl5pPr>
            <a:lvl6pPr marL="914400" indent="-228600">
              <a:spcBef>
                <a:spcPts val="600"/>
              </a:spcBef>
              <a:buFont typeface="Arial" panose="020B0604020202020204" pitchFamily="34" charset="0"/>
              <a:buChar char="•"/>
              <a:defRPr sz="1200" b="0">
                <a:solidFill>
                  <a:schemeClr val="accent3"/>
                </a:solidFill>
              </a:defRPr>
            </a:lvl6pPr>
            <a:lvl7pPr marL="1143000" indent="-228600">
              <a:lnSpc>
                <a:spcPct val="90000"/>
              </a:lnSpc>
              <a:spcBef>
                <a:spcPts val="600"/>
              </a:spcBef>
              <a:spcAft>
                <a:spcPts val="200"/>
              </a:spcAft>
              <a:buFont typeface="Century Gothic" panose="020B0502020202020204" pitchFamily="34" charset="0"/>
              <a:buChar char="–"/>
              <a:defRPr sz="1200">
                <a:solidFill>
                  <a:schemeClr val="accent3"/>
                </a:solidFill>
              </a:defRPr>
            </a:lvl7pPr>
            <a:lvl8pPr marL="1371600" indent="-228600">
              <a:lnSpc>
                <a:spcPct val="90000"/>
              </a:lnSpc>
              <a:spcBef>
                <a:spcPts val="600"/>
              </a:spcBef>
              <a:buFont typeface="Arial" panose="020B0604020202020204" pitchFamily="34" charset="0"/>
              <a:buChar char="•"/>
              <a:defRPr/>
            </a:lvl8pPr>
            <a:lvl9pPr marL="1371600" indent="0">
              <a:spcBef>
                <a:spcPts val="600"/>
              </a:spcBef>
              <a:buFont typeface="Century Gothic" panose="020B0502020202020204" pitchFamily="34" charse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EC46F5D-DEC2-4E4B-A612-CF3575299E02}"/>
              </a:ext>
            </a:extLst>
          </p:cNvPr>
          <p:cNvSpPr>
            <a:spLocks noGrp="1"/>
          </p:cNvSpPr>
          <p:nvPr>
            <p:ph type="title" hasCustomPrompt="1"/>
          </p:nvPr>
        </p:nvSpPr>
        <p:spPr>
          <a:xfrm>
            <a:off x="457200" y="796476"/>
            <a:ext cx="4199585" cy="498598"/>
          </a:xfrm>
        </p:spPr>
        <p:txBody>
          <a:bodyPr/>
          <a:lstStyle>
            <a:lvl1pPr>
              <a:defRPr sz="3600"/>
            </a:lvl1pPr>
          </a:lstStyle>
          <a:p>
            <a:r>
              <a:rPr lang="en-US"/>
              <a:t>Click to Add Title</a:t>
            </a:r>
          </a:p>
        </p:txBody>
      </p:sp>
      <p:cxnSp>
        <p:nvCxnSpPr>
          <p:cNvPr id="80" name="Straight Connector 79">
            <a:extLst>
              <a:ext uri="{FF2B5EF4-FFF2-40B4-BE49-F238E27FC236}">
                <a16:creationId xmlns:a16="http://schemas.microsoft.com/office/drawing/2014/main" id="{FF2ECB71-4CA6-4755-935E-E841A25C3FAF}"/>
              </a:ext>
            </a:extLst>
          </p:cNvPr>
          <p:cNvCxnSpPr>
            <a:cxnSpLocks/>
          </p:cNvCxnSpPr>
          <p:nvPr userDrawn="1"/>
        </p:nvCxnSpPr>
        <p:spPr>
          <a:xfrm>
            <a:off x="457200" y="1467443"/>
            <a:ext cx="4932608" cy="0"/>
          </a:xfrm>
          <a:prstGeom prst="line">
            <a:avLst/>
          </a:prstGeom>
          <a:ln w="9525"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81" name="Text Placeholder 25">
            <a:extLst>
              <a:ext uri="{FF2B5EF4-FFF2-40B4-BE49-F238E27FC236}">
                <a16:creationId xmlns:a16="http://schemas.microsoft.com/office/drawing/2014/main" id="{617116D5-1D7B-4635-9866-EC6A31DD86F9}"/>
              </a:ext>
            </a:extLst>
          </p:cNvPr>
          <p:cNvSpPr>
            <a:spLocks noGrp="1"/>
          </p:cNvSpPr>
          <p:nvPr>
            <p:ph type="body" sz="quarter" idx="17"/>
          </p:nvPr>
        </p:nvSpPr>
        <p:spPr>
          <a:xfrm>
            <a:off x="4921837" y="-1"/>
            <a:ext cx="3068771" cy="6857999"/>
          </a:xfrm>
          <a:solidFill>
            <a:schemeClr val="bg1"/>
          </a:solidFill>
        </p:spPr>
        <p:txBody>
          <a:bodyPr lIns="365760" tIns="1920240"/>
          <a:lstStyle>
            <a:lvl1pPr>
              <a:lnSpc>
                <a:spcPct val="100000"/>
              </a:lnSpc>
              <a:spcAft>
                <a:spcPts val="600"/>
              </a:spcAft>
              <a:defRPr sz="1400">
                <a:solidFill>
                  <a:schemeClr val="accent1"/>
                </a:solidFill>
              </a:defRPr>
            </a:lvl1pPr>
            <a:lvl2pPr marL="0" indent="0">
              <a:lnSpc>
                <a:spcPct val="100000"/>
              </a:lnSpc>
              <a:spcBef>
                <a:spcPts val="800"/>
              </a:spcBef>
              <a:buFont typeface="Arial" panose="020B0604020202020204" pitchFamily="34" charset="0"/>
              <a:buChar char="​"/>
              <a:defRPr sz="1200" b="1">
                <a:solidFill>
                  <a:schemeClr val="accent1"/>
                </a:solidFill>
              </a:defRPr>
            </a:lvl2pPr>
            <a:lvl3pPr marL="0" indent="0">
              <a:lnSpc>
                <a:spcPct val="100000"/>
              </a:lnSpc>
              <a:spcBef>
                <a:spcPts val="0"/>
              </a:spcBef>
              <a:spcAft>
                <a:spcPts val="600"/>
              </a:spcAft>
              <a:buFont typeface="Arial" panose="020B0604020202020204" pitchFamily="34" charset="0"/>
              <a:buChar char="​"/>
              <a:defRPr sz="1200" baseline="0">
                <a:solidFill>
                  <a:schemeClr val="accent1"/>
                </a:solidFill>
              </a:defRPr>
            </a:lvl3pPr>
            <a:lvl4pPr marL="174625" indent="-174625">
              <a:lnSpc>
                <a:spcPct val="100000"/>
              </a:lnSpc>
              <a:spcBef>
                <a:spcPts val="600"/>
              </a:spcBef>
              <a:spcAft>
                <a:spcPts val="200"/>
              </a:spcAft>
              <a:buFont typeface="Arial" panose="020B0604020202020204" pitchFamily="34" charset="0"/>
              <a:buChar char="•"/>
              <a:defRPr sz="1200" b="0" spc="0" baseline="0">
                <a:solidFill>
                  <a:schemeClr val="accent1"/>
                </a:solidFill>
              </a:defRPr>
            </a:lvl4pPr>
            <a:lvl5pPr marL="0" indent="0">
              <a:lnSpc>
                <a:spcPct val="100000"/>
              </a:lnSpc>
              <a:spcBef>
                <a:spcPts val="600"/>
              </a:spcBef>
              <a:spcAft>
                <a:spcPts val="200"/>
              </a:spcAft>
              <a:buFont typeface="CiscoSansTT ExtraLight" panose="020B0303020201020303" pitchFamily="34" charset="0"/>
              <a:buChar char="​"/>
              <a:defRPr sz="1600" spc="0">
                <a:solidFill>
                  <a:schemeClr val="tx2"/>
                </a:solidFill>
              </a:defRPr>
            </a:lvl5pPr>
            <a:lvl6pPr marL="914400" indent="-228600">
              <a:spcBef>
                <a:spcPts val="600"/>
              </a:spcBef>
              <a:buFont typeface="Arial" panose="020B0604020202020204" pitchFamily="34" charset="0"/>
              <a:buChar char="•"/>
              <a:defRPr sz="1200" b="0">
                <a:solidFill>
                  <a:schemeClr val="accent3"/>
                </a:solidFill>
              </a:defRPr>
            </a:lvl6pPr>
            <a:lvl7pPr marL="1143000" indent="-228600">
              <a:lnSpc>
                <a:spcPct val="90000"/>
              </a:lnSpc>
              <a:spcBef>
                <a:spcPts val="600"/>
              </a:spcBef>
              <a:spcAft>
                <a:spcPts val="200"/>
              </a:spcAft>
              <a:buFont typeface="Century Gothic" panose="020B0502020202020204" pitchFamily="34" charset="0"/>
              <a:buChar char="–"/>
              <a:defRPr sz="1200">
                <a:solidFill>
                  <a:schemeClr val="accent3"/>
                </a:solidFill>
              </a:defRPr>
            </a:lvl7pPr>
            <a:lvl8pPr marL="1371600" indent="-228600">
              <a:lnSpc>
                <a:spcPct val="90000"/>
              </a:lnSpc>
              <a:spcBef>
                <a:spcPts val="600"/>
              </a:spcBef>
              <a:buFont typeface="Arial" panose="020B0604020202020204" pitchFamily="34" charset="0"/>
              <a:buChar char="•"/>
              <a:defRPr/>
            </a:lvl8pPr>
            <a:lvl9pPr marL="1371600" indent="0">
              <a:spcBef>
                <a:spcPts val="600"/>
              </a:spcBef>
              <a:buFont typeface="Century Gothic" panose="020B0502020202020204" pitchFamily="34" charse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CE739A7B-79FA-48A5-92FB-15F713FE8304}"/>
              </a:ext>
            </a:extLst>
          </p:cNvPr>
          <p:cNvSpPr>
            <a:spLocks noGrp="1"/>
          </p:cNvSpPr>
          <p:nvPr>
            <p:ph type="sldNum" sz="quarter" idx="19"/>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122584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1">
                                            <p:bg/>
                                          </p:spTgt>
                                        </p:tgtEl>
                                        <p:attrNameLst>
                                          <p:attrName>style.visibility</p:attrName>
                                        </p:attrNameLst>
                                      </p:cBhvr>
                                      <p:to>
                                        <p:strVal val="visible"/>
                                      </p:to>
                                    </p:set>
                                    <p:animEffect transition="in" filter="wipe(left)">
                                      <p:cBhvr>
                                        <p:cTn id="7" dur="500"/>
                                        <p:tgtEl>
                                          <p:spTgt spid="81">
                                            <p:bg/>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1">
                                            <p:txEl>
                                              <p:pRg st="0" end="0"/>
                                            </p:txEl>
                                          </p:spTgt>
                                        </p:tgtEl>
                                        <p:attrNameLst>
                                          <p:attrName>style.visibility</p:attrName>
                                        </p:attrNameLst>
                                      </p:cBhvr>
                                      <p:to>
                                        <p:strVal val="visible"/>
                                      </p:to>
                                    </p:set>
                                    <p:animEffect transition="in" filter="wipe(left)">
                                      <p:cBhvr>
                                        <p:cTn id="10" dur="500"/>
                                        <p:tgtEl>
                                          <p:spTgt spid="81">
                                            <p:txEl>
                                              <p:pRg st="0" end="0"/>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81">
                                            <p:txEl>
                                              <p:pRg st="1" end="1"/>
                                            </p:txEl>
                                          </p:spTgt>
                                        </p:tgtEl>
                                        <p:attrNameLst>
                                          <p:attrName>style.visibility</p:attrName>
                                        </p:attrNameLst>
                                      </p:cBhvr>
                                      <p:to>
                                        <p:strVal val="visible"/>
                                      </p:to>
                                    </p:set>
                                    <p:animEffect transition="in" filter="wipe(left)">
                                      <p:cBhvr>
                                        <p:cTn id="13" dur="500"/>
                                        <p:tgtEl>
                                          <p:spTgt spid="81">
                                            <p:txEl>
                                              <p:pRg st="1" end="1"/>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81">
                                            <p:txEl>
                                              <p:pRg st="2" end="2"/>
                                            </p:txEl>
                                          </p:spTgt>
                                        </p:tgtEl>
                                        <p:attrNameLst>
                                          <p:attrName>style.visibility</p:attrName>
                                        </p:attrNameLst>
                                      </p:cBhvr>
                                      <p:to>
                                        <p:strVal val="visible"/>
                                      </p:to>
                                    </p:set>
                                    <p:animEffect transition="in" filter="wipe(left)">
                                      <p:cBhvr>
                                        <p:cTn id="16" dur="500"/>
                                        <p:tgtEl>
                                          <p:spTgt spid="81">
                                            <p:txEl>
                                              <p:pRg st="2" end="2"/>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1">
                                            <p:txEl>
                                              <p:pRg st="3" end="3"/>
                                            </p:txEl>
                                          </p:spTgt>
                                        </p:tgtEl>
                                        <p:attrNameLst>
                                          <p:attrName>style.visibility</p:attrName>
                                        </p:attrNameLst>
                                      </p:cBhvr>
                                      <p:to>
                                        <p:strVal val="visible"/>
                                      </p:to>
                                    </p:set>
                                    <p:animEffect transition="in" filter="wipe(left)">
                                      <p:cBhvr>
                                        <p:cTn id="19" dur="500"/>
                                        <p:tgtEl>
                                          <p:spTgt spid="81">
                                            <p:txEl>
                                              <p:pRg st="3" end="3"/>
                                            </p:txEl>
                                          </p:spTgt>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81">
                                            <p:txEl>
                                              <p:pRg st="4" end="4"/>
                                            </p:txEl>
                                          </p:spTgt>
                                        </p:tgtEl>
                                        <p:attrNameLst>
                                          <p:attrName>style.visibility</p:attrName>
                                        </p:attrNameLst>
                                      </p:cBhvr>
                                      <p:to>
                                        <p:strVal val="visible"/>
                                      </p:to>
                                    </p:set>
                                    <p:animEffect transition="in" filter="wipe(left)">
                                      <p:cBhvr>
                                        <p:cTn id="22" dur="500"/>
                                        <p:tgtEl>
                                          <p:spTgt spid="8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uiExpand="1" build="p" animBg="1">
        <p:tmplLst>
          <p:tmpl>
            <p:tnLst>
              <p:par>
                <p:cTn presetID="22" presetClass="entr" presetSubtype="8" fill="hold" nodeType="click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1">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2">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3">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4">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5">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alf Photo w/ Text">
    <p:spTree>
      <p:nvGrpSpPr>
        <p:cNvPr id="1" name=""/>
        <p:cNvGrpSpPr/>
        <p:nvPr/>
      </p:nvGrpSpPr>
      <p:grpSpPr>
        <a:xfrm>
          <a:off x="0" y="0"/>
          <a:ext cx="0" cy="0"/>
          <a:chOff x="0" y="0"/>
          <a:chExt cx="0" cy="0"/>
        </a:xfrm>
      </p:grpSpPr>
      <p:sp>
        <p:nvSpPr>
          <p:cNvPr id="7" name="Picture Placeholder 21"/>
          <p:cNvSpPr>
            <a:spLocks noGrp="1"/>
          </p:cNvSpPr>
          <p:nvPr>
            <p:ph type="pic" sz="quarter" idx="10" hasCustomPrompt="1"/>
          </p:nvPr>
        </p:nvSpPr>
        <p:spPr>
          <a:xfrm>
            <a:off x="0" y="0"/>
            <a:ext cx="5867400"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8" name="Rectangle 7">
            <a:extLst>
              <a:ext uri="{FF2B5EF4-FFF2-40B4-BE49-F238E27FC236}">
                <a16:creationId xmlns:a16="http://schemas.microsoft.com/office/drawing/2014/main" id="{4F72E82D-9AAD-4530-8DBD-499DCE49B905}"/>
              </a:ext>
            </a:extLst>
          </p:cNvPr>
          <p:cNvSpPr/>
          <p:nvPr userDrawn="1"/>
        </p:nvSpPr>
        <p:spPr>
          <a:xfrm>
            <a:off x="5867400" y="656823"/>
            <a:ext cx="457198" cy="167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CB9D8E32-FF93-49B6-83C5-C41CB00BBA11}"/>
              </a:ext>
            </a:extLst>
          </p:cNvPr>
          <p:cNvSpPr txBox="1">
            <a:spLocks/>
          </p:cNvSpPr>
          <p:nvPr userDrawn="1"/>
        </p:nvSpPr>
        <p:spPr>
          <a:xfrm>
            <a:off x="6324600" y="458908"/>
            <a:ext cx="5010248" cy="11079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000" kern="1200">
                <a:ln w="3175">
                  <a:noFill/>
                </a:ln>
                <a:solidFill>
                  <a:schemeClr val="accent1"/>
                </a:solidFill>
                <a:latin typeface="+mj-lt"/>
                <a:ea typeface="+mj-ea"/>
                <a:cs typeface="+mj-cs"/>
              </a:defRPr>
            </a:lvl1pPr>
          </a:lstStyle>
          <a:p>
            <a:r>
              <a:rPr lang="en-US"/>
              <a:t>Click to edit Master title style</a:t>
            </a:r>
          </a:p>
        </p:txBody>
      </p:sp>
      <p:sp>
        <p:nvSpPr>
          <p:cNvPr id="10" name="Text Placeholder 4">
            <a:extLst>
              <a:ext uri="{FF2B5EF4-FFF2-40B4-BE49-F238E27FC236}">
                <a16:creationId xmlns:a16="http://schemas.microsoft.com/office/drawing/2014/main" id="{7E80D7BE-CC62-4DDB-B974-F7EDB115917E}"/>
              </a:ext>
            </a:extLst>
          </p:cNvPr>
          <p:cNvSpPr>
            <a:spLocks noGrp="1"/>
          </p:cNvSpPr>
          <p:nvPr>
            <p:ph type="body" sz="quarter" idx="13"/>
          </p:nvPr>
        </p:nvSpPr>
        <p:spPr>
          <a:xfrm>
            <a:off x="6326990" y="1829526"/>
            <a:ext cx="5407761" cy="4571274"/>
          </a:xfrm>
        </p:spPr>
        <p:txBody>
          <a:bodyPr/>
          <a:lstStyle>
            <a:lvl1pPr>
              <a:defRPr>
                <a:solidFill>
                  <a:schemeClr val="tx1"/>
                </a:solidFill>
              </a:defRPr>
            </a:lvl1pPr>
            <a:lvl2pPr>
              <a:defRPr>
                <a:solidFill>
                  <a:schemeClr val="tx1"/>
                </a:solidFill>
              </a:defRPr>
            </a:lvl2pPr>
            <a:lvl3pPr>
              <a:defRPr>
                <a:solidFill>
                  <a:schemeClr val="tx1"/>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64FCA620-D2E3-4A61-9365-6465EED9B7F2}"/>
              </a:ext>
            </a:extLst>
          </p:cNvPr>
          <p:cNvSpPr>
            <a:spLocks noGrp="1"/>
          </p:cNvSpPr>
          <p:nvPr>
            <p:ph type="sldNum" sz="quarter" idx="15"/>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3360791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at Repor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733" y="782095"/>
            <a:ext cx="7541874" cy="553998"/>
          </a:xfrm>
        </p:spPr>
        <p:txBody>
          <a:bodyPr/>
          <a:lstStyle>
            <a:lvl1pPr>
              <a:defRPr/>
            </a:lvl1pPr>
          </a:lstStyle>
          <a:p>
            <a:r>
              <a:rPr lang="en-US"/>
              <a:t>Click to Add Title</a:t>
            </a:r>
          </a:p>
        </p:txBody>
      </p:sp>
      <p:sp>
        <p:nvSpPr>
          <p:cNvPr id="4" name="Content Placeholder 3"/>
          <p:cNvSpPr>
            <a:spLocks noGrp="1"/>
          </p:cNvSpPr>
          <p:nvPr>
            <p:ph sz="half" idx="2"/>
          </p:nvPr>
        </p:nvSpPr>
        <p:spPr>
          <a:xfrm>
            <a:off x="448733" y="1943100"/>
            <a:ext cx="7541874" cy="4457700"/>
          </a:xfrm>
        </p:spPr>
        <p:txBody>
          <a:bodyPr/>
          <a:lstStyle>
            <a:lvl1pPr>
              <a:defRPr>
                <a:solidFill>
                  <a:schemeClr val="bg1"/>
                </a:solidFill>
              </a:defRPr>
            </a:lvl1pPr>
            <a:lvl2pPr>
              <a:defRPr>
                <a:solidFill>
                  <a:schemeClr val="bg1"/>
                </a:solidFill>
              </a:defRPr>
            </a:lvl2pPr>
            <a:lvl3pPr>
              <a:defRPr>
                <a:solidFill>
                  <a:schemeClr val="bg1"/>
                </a:solidFill>
              </a:defRPr>
            </a:lvl3pPr>
            <a:lvl4pPr marL="685800" indent="-228600">
              <a:spcBef>
                <a:spcPts val="600"/>
              </a:spcBef>
              <a:spcAft>
                <a:spcPts val="200"/>
              </a:spcAft>
              <a:buFont typeface="Arial" panose="020B0604020202020204" pitchFamily="34" charset="0"/>
              <a:buChar char="•"/>
              <a:defRPr sz="1400" b="0">
                <a:solidFill>
                  <a:schemeClr val="bg1"/>
                </a:solidFill>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endParaRPr lang="en-US"/>
          </a:p>
          <a:p>
            <a:pPr lvl="4"/>
            <a:r>
              <a:rPr lang="en-US"/>
              <a:t>Fifth level</a:t>
            </a:r>
          </a:p>
        </p:txBody>
      </p:sp>
      <p:sp>
        <p:nvSpPr>
          <p:cNvPr id="11" name="Text Placeholder 23"/>
          <p:cNvSpPr>
            <a:spLocks noGrp="1"/>
          </p:cNvSpPr>
          <p:nvPr>
            <p:ph type="body" sz="quarter" idx="11" hasCustomPrompt="1"/>
          </p:nvPr>
        </p:nvSpPr>
        <p:spPr>
          <a:xfrm>
            <a:off x="448733" y="482600"/>
            <a:ext cx="4533604" cy="193899"/>
          </a:xfrm>
        </p:spPr>
        <p:txBody>
          <a:bodyPr/>
          <a:lstStyle>
            <a:lvl1pPr>
              <a:defRPr kumimoji="0" lang="en-US" sz="1400" b="1" i="0" u="none" strike="noStrike" kern="1200" cap="all" spc="200" normalizeH="0" baseline="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t>THREAT REPORT </a:t>
            </a:r>
          </a:p>
        </p:txBody>
      </p:sp>
      <p:sp>
        <p:nvSpPr>
          <p:cNvPr id="5" name="Slide Number Placeholder 4">
            <a:extLst>
              <a:ext uri="{FF2B5EF4-FFF2-40B4-BE49-F238E27FC236}">
                <a16:creationId xmlns:a16="http://schemas.microsoft.com/office/drawing/2014/main" id="{032C03D0-BCFD-479A-B55E-DCC6FB1624AF}"/>
              </a:ext>
            </a:extLst>
          </p:cNvPr>
          <p:cNvSpPr>
            <a:spLocks noGrp="1"/>
          </p:cNvSpPr>
          <p:nvPr>
            <p:ph type="sldNum" sz="quarter" idx="13"/>
          </p:nvPr>
        </p:nvSpPr>
        <p:spPr/>
        <p:txBody>
          <a:bodyPr/>
          <a:lstStyle/>
          <a:p>
            <a:fld id="{4C9EABC9-A6DF-4002-BA8F-FA0D4CABB02D}" type="slidenum">
              <a:rPr lang="en-US" smtClean="0"/>
              <a:pPr/>
              <a:t>‹#›</a:t>
            </a:fld>
            <a:endParaRPr lang="en-US"/>
          </a:p>
        </p:txBody>
      </p:sp>
      <p:grpSp>
        <p:nvGrpSpPr>
          <p:cNvPr id="18" name="Group 17">
            <a:extLst>
              <a:ext uri="{FF2B5EF4-FFF2-40B4-BE49-F238E27FC236}">
                <a16:creationId xmlns:a16="http://schemas.microsoft.com/office/drawing/2014/main" id="{DBCD0353-1425-483A-BE87-2D2D4A4A604E}"/>
              </a:ext>
            </a:extLst>
          </p:cNvPr>
          <p:cNvGrpSpPr/>
          <p:nvPr userDrawn="1"/>
        </p:nvGrpSpPr>
        <p:grpSpPr>
          <a:xfrm>
            <a:off x="11410950" y="457200"/>
            <a:ext cx="323850" cy="324895"/>
            <a:chOff x="11693125" y="130630"/>
            <a:chExt cx="368246" cy="369434"/>
          </a:xfrm>
          <a:solidFill>
            <a:schemeClr val="bg1"/>
          </a:solidFill>
        </p:grpSpPr>
        <p:sp>
          <p:nvSpPr>
            <p:cNvPr id="19" name="Freeform 5">
              <a:extLst>
                <a:ext uri="{FF2B5EF4-FFF2-40B4-BE49-F238E27FC236}">
                  <a16:creationId xmlns:a16="http://schemas.microsoft.com/office/drawing/2014/main" id="{502AB813-D882-4F72-AE27-6E189FE26F44}"/>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BBA1936E-924E-4C1D-844D-371431F5904E}"/>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1AE6B4AD-A96D-4B8D-BF58-E9E53220294D}"/>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Picture Placeholder 5">
            <a:extLst>
              <a:ext uri="{FF2B5EF4-FFF2-40B4-BE49-F238E27FC236}">
                <a16:creationId xmlns:a16="http://schemas.microsoft.com/office/drawing/2014/main" id="{81F6F1AA-6601-4A6D-BB03-E597468E0A02}"/>
              </a:ext>
            </a:extLst>
          </p:cNvPr>
          <p:cNvSpPr>
            <a:spLocks noGrp="1"/>
          </p:cNvSpPr>
          <p:nvPr>
            <p:ph type="pic" sz="quarter" idx="16" hasCustomPrompt="1"/>
          </p:nvPr>
        </p:nvSpPr>
        <p:spPr>
          <a:xfrm>
            <a:off x="7989888" y="0"/>
            <a:ext cx="4202112" cy="6858000"/>
          </a:xfrm>
          <a:solidFill>
            <a:schemeClr val="tx1">
              <a:lumMod val="95000"/>
              <a:lumOff val="5000"/>
            </a:schemeClr>
          </a:solidFill>
        </p:spPr>
        <p:txBody>
          <a:bodyPr anchor="ctr"/>
          <a:lstStyle>
            <a:lvl1pPr algn="ctr">
              <a:defRPr>
                <a:solidFill>
                  <a:schemeClr val="tx1">
                    <a:lumMod val="75000"/>
                    <a:lumOff val="25000"/>
                  </a:schemeClr>
                </a:solidFill>
              </a:defRPr>
            </a:lvl1pPr>
          </a:lstStyle>
          <a:p>
            <a:r>
              <a:rPr lang="en-US"/>
              <a:t>Tap icon to insert picture</a:t>
            </a:r>
          </a:p>
        </p:txBody>
      </p:sp>
    </p:spTree>
    <p:extLst>
      <p:ext uri="{BB962C8B-B14F-4D97-AF65-F5344CB8AC3E}">
        <p14:creationId xmlns:p14="http://schemas.microsoft.com/office/powerpoint/2010/main" val="32695583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Questions">
    <p:bg>
      <p:bgPr>
        <a:solidFill>
          <a:schemeClr val="accent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A366BE16-112B-4C16-A2A5-CF08F2DB3250}"/>
              </a:ext>
            </a:extLst>
          </p:cNvPr>
          <p:cNvGrpSpPr/>
          <p:nvPr userDrawn="1"/>
        </p:nvGrpSpPr>
        <p:grpSpPr>
          <a:xfrm>
            <a:off x="5430371" y="2042540"/>
            <a:ext cx="1331259" cy="988526"/>
            <a:chOff x="673100" y="827547"/>
            <a:chExt cx="1633916" cy="1213264"/>
          </a:xfrm>
          <a:solidFill>
            <a:schemeClr val="bg1"/>
          </a:solidFill>
        </p:grpSpPr>
        <p:grpSp>
          <p:nvGrpSpPr>
            <p:cNvPr id="11" name="Group 10">
              <a:extLst>
                <a:ext uri="{FF2B5EF4-FFF2-40B4-BE49-F238E27FC236}">
                  <a16:creationId xmlns:a16="http://schemas.microsoft.com/office/drawing/2014/main" id="{DCF5D9C8-0C37-43EB-82EB-62806C0F2F37}"/>
                </a:ext>
              </a:extLst>
            </p:cNvPr>
            <p:cNvGrpSpPr>
              <a:grpSpLocks noChangeAspect="1"/>
            </p:cNvGrpSpPr>
            <p:nvPr userDrawn="1"/>
          </p:nvGrpSpPr>
          <p:grpSpPr>
            <a:xfrm>
              <a:off x="673100" y="827547"/>
              <a:ext cx="1633916" cy="1213264"/>
              <a:chOff x="2671763" y="5032376"/>
              <a:chExt cx="1331913" cy="989013"/>
            </a:xfrm>
            <a:grpFill/>
          </p:grpSpPr>
          <p:sp>
            <p:nvSpPr>
              <p:cNvPr id="12" name="Freeform 73">
                <a:extLst>
                  <a:ext uri="{FF2B5EF4-FFF2-40B4-BE49-F238E27FC236}">
                    <a16:creationId xmlns:a16="http://schemas.microsoft.com/office/drawing/2014/main" id="{B6AB954F-1989-467E-A063-D25D9B8E6B71}"/>
                  </a:ext>
                </a:extLst>
              </p:cNvPr>
              <p:cNvSpPr>
                <a:spLocks/>
              </p:cNvSpPr>
              <p:nvPr/>
            </p:nvSpPr>
            <p:spPr bwMode="auto">
              <a:xfrm>
                <a:off x="3109913" y="5292726"/>
                <a:ext cx="893763" cy="728663"/>
              </a:xfrm>
              <a:custGeom>
                <a:avLst/>
                <a:gdLst>
                  <a:gd name="T0" fmla="*/ 1445 w 2252"/>
                  <a:gd name="T1" fmla="*/ 30 h 1837"/>
                  <a:gd name="T2" fmla="*/ 1656 w 2252"/>
                  <a:gd name="T3" fmla="*/ 102 h 1837"/>
                  <a:gd name="T4" fmla="*/ 1833 w 2252"/>
                  <a:gd name="T5" fmla="*/ 197 h 1837"/>
                  <a:gd name="T6" fmla="*/ 1984 w 2252"/>
                  <a:gd name="T7" fmla="*/ 314 h 1837"/>
                  <a:gd name="T8" fmla="*/ 2109 w 2252"/>
                  <a:gd name="T9" fmla="*/ 455 h 1837"/>
                  <a:gd name="T10" fmla="*/ 2201 w 2252"/>
                  <a:gd name="T11" fmla="*/ 622 h 1837"/>
                  <a:gd name="T12" fmla="*/ 2249 w 2252"/>
                  <a:gd name="T13" fmla="*/ 816 h 1837"/>
                  <a:gd name="T14" fmla="*/ 2242 w 2252"/>
                  <a:gd name="T15" fmla="*/ 1012 h 1837"/>
                  <a:gd name="T16" fmla="*/ 2184 w 2252"/>
                  <a:gd name="T17" fmla="*/ 1198 h 1837"/>
                  <a:gd name="T18" fmla="*/ 2078 w 2252"/>
                  <a:gd name="T19" fmla="*/ 1369 h 1837"/>
                  <a:gd name="T20" fmla="*/ 2180 w 2252"/>
                  <a:gd name="T21" fmla="*/ 1648 h 1837"/>
                  <a:gd name="T22" fmla="*/ 2211 w 2252"/>
                  <a:gd name="T23" fmla="*/ 1782 h 1837"/>
                  <a:gd name="T24" fmla="*/ 2180 w 2252"/>
                  <a:gd name="T25" fmla="*/ 1826 h 1837"/>
                  <a:gd name="T26" fmla="*/ 2123 w 2252"/>
                  <a:gd name="T27" fmla="*/ 1836 h 1837"/>
                  <a:gd name="T28" fmla="*/ 1858 w 2252"/>
                  <a:gd name="T29" fmla="*/ 1768 h 1837"/>
                  <a:gd name="T30" fmla="*/ 1617 w 2252"/>
                  <a:gd name="T31" fmla="*/ 1704 h 1837"/>
                  <a:gd name="T32" fmla="*/ 1579 w 2252"/>
                  <a:gd name="T33" fmla="*/ 1710 h 1837"/>
                  <a:gd name="T34" fmla="*/ 1513 w 2252"/>
                  <a:gd name="T35" fmla="*/ 1733 h 1837"/>
                  <a:gd name="T36" fmla="*/ 1345 w 2252"/>
                  <a:gd name="T37" fmla="*/ 1773 h 1837"/>
                  <a:gd name="T38" fmla="*/ 1140 w 2252"/>
                  <a:gd name="T39" fmla="*/ 1795 h 1837"/>
                  <a:gd name="T40" fmla="*/ 929 w 2252"/>
                  <a:gd name="T41" fmla="*/ 1789 h 1837"/>
                  <a:gd name="T42" fmla="*/ 721 w 2252"/>
                  <a:gd name="T43" fmla="*/ 1756 h 1837"/>
                  <a:gd name="T44" fmla="*/ 520 w 2252"/>
                  <a:gd name="T45" fmla="*/ 1693 h 1837"/>
                  <a:gd name="T46" fmla="*/ 336 w 2252"/>
                  <a:gd name="T47" fmla="*/ 1598 h 1837"/>
                  <a:gd name="T48" fmla="*/ 172 w 2252"/>
                  <a:gd name="T49" fmla="*/ 1474 h 1837"/>
                  <a:gd name="T50" fmla="*/ 37 w 2252"/>
                  <a:gd name="T51" fmla="*/ 1316 h 1837"/>
                  <a:gd name="T52" fmla="*/ 165 w 2252"/>
                  <a:gd name="T53" fmla="*/ 1269 h 1837"/>
                  <a:gd name="T54" fmla="*/ 190 w 2252"/>
                  <a:gd name="T55" fmla="*/ 1280 h 1837"/>
                  <a:gd name="T56" fmla="*/ 217 w 2252"/>
                  <a:gd name="T57" fmla="*/ 1313 h 1837"/>
                  <a:gd name="T58" fmla="*/ 320 w 2252"/>
                  <a:gd name="T59" fmla="*/ 1411 h 1837"/>
                  <a:gd name="T60" fmla="*/ 511 w 2252"/>
                  <a:gd name="T61" fmla="*/ 1530 h 1837"/>
                  <a:gd name="T62" fmla="*/ 723 w 2252"/>
                  <a:gd name="T63" fmla="*/ 1611 h 1837"/>
                  <a:gd name="T64" fmla="*/ 948 w 2252"/>
                  <a:gd name="T65" fmla="*/ 1650 h 1837"/>
                  <a:gd name="T66" fmla="*/ 1176 w 2252"/>
                  <a:gd name="T67" fmla="*/ 1651 h 1837"/>
                  <a:gd name="T68" fmla="*/ 1400 w 2252"/>
                  <a:gd name="T69" fmla="*/ 1616 h 1837"/>
                  <a:gd name="T70" fmla="*/ 1517 w 2252"/>
                  <a:gd name="T71" fmla="*/ 1579 h 1837"/>
                  <a:gd name="T72" fmla="*/ 1586 w 2252"/>
                  <a:gd name="T73" fmla="*/ 1560 h 1837"/>
                  <a:gd name="T74" fmla="*/ 1771 w 2252"/>
                  <a:gd name="T75" fmla="*/ 1597 h 1837"/>
                  <a:gd name="T76" fmla="*/ 1931 w 2252"/>
                  <a:gd name="T77" fmla="*/ 1385 h 1837"/>
                  <a:gd name="T78" fmla="*/ 1929 w 2252"/>
                  <a:gd name="T79" fmla="*/ 1331 h 1837"/>
                  <a:gd name="T80" fmla="*/ 1983 w 2252"/>
                  <a:gd name="T81" fmla="*/ 1251 h 1837"/>
                  <a:gd name="T82" fmla="*/ 2055 w 2252"/>
                  <a:gd name="T83" fmla="*/ 1134 h 1837"/>
                  <a:gd name="T84" fmla="*/ 2105 w 2252"/>
                  <a:gd name="T85" fmla="*/ 965 h 1837"/>
                  <a:gd name="T86" fmla="*/ 2101 w 2252"/>
                  <a:gd name="T87" fmla="*/ 791 h 1837"/>
                  <a:gd name="T88" fmla="*/ 2047 w 2252"/>
                  <a:gd name="T89" fmla="*/ 630 h 1837"/>
                  <a:gd name="T90" fmla="*/ 1952 w 2252"/>
                  <a:gd name="T91" fmla="*/ 486 h 1837"/>
                  <a:gd name="T92" fmla="*/ 1811 w 2252"/>
                  <a:gd name="T93" fmla="*/ 355 h 1837"/>
                  <a:gd name="T94" fmla="*/ 1646 w 2252"/>
                  <a:gd name="T95" fmla="*/ 254 h 1837"/>
                  <a:gd name="T96" fmla="*/ 1460 w 2252"/>
                  <a:gd name="T97" fmla="*/ 182 h 1837"/>
                  <a:gd name="T98" fmla="*/ 1369 w 2252"/>
                  <a:gd name="T99" fmla="*/ 158 h 1837"/>
                  <a:gd name="T100" fmla="*/ 1354 w 2252"/>
                  <a:gd name="T101" fmla="*/ 140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2" h="1837">
                    <a:moveTo>
                      <a:pt x="1298" y="0"/>
                    </a:moveTo>
                    <a:lnTo>
                      <a:pt x="1371" y="12"/>
                    </a:lnTo>
                    <a:lnTo>
                      <a:pt x="1445" y="30"/>
                    </a:lnTo>
                    <a:lnTo>
                      <a:pt x="1516" y="50"/>
                    </a:lnTo>
                    <a:lnTo>
                      <a:pt x="1587" y="73"/>
                    </a:lnTo>
                    <a:lnTo>
                      <a:pt x="1656" y="102"/>
                    </a:lnTo>
                    <a:lnTo>
                      <a:pt x="1724" y="133"/>
                    </a:lnTo>
                    <a:lnTo>
                      <a:pt x="1780" y="164"/>
                    </a:lnTo>
                    <a:lnTo>
                      <a:pt x="1833" y="197"/>
                    </a:lnTo>
                    <a:lnTo>
                      <a:pt x="1885" y="233"/>
                    </a:lnTo>
                    <a:lnTo>
                      <a:pt x="1936" y="271"/>
                    </a:lnTo>
                    <a:lnTo>
                      <a:pt x="1984" y="314"/>
                    </a:lnTo>
                    <a:lnTo>
                      <a:pt x="2029" y="359"/>
                    </a:lnTo>
                    <a:lnTo>
                      <a:pt x="2071" y="405"/>
                    </a:lnTo>
                    <a:lnTo>
                      <a:pt x="2109" y="455"/>
                    </a:lnTo>
                    <a:lnTo>
                      <a:pt x="2144" y="508"/>
                    </a:lnTo>
                    <a:lnTo>
                      <a:pt x="2175" y="564"/>
                    </a:lnTo>
                    <a:lnTo>
                      <a:pt x="2201" y="622"/>
                    </a:lnTo>
                    <a:lnTo>
                      <a:pt x="2223" y="686"/>
                    </a:lnTo>
                    <a:lnTo>
                      <a:pt x="2240" y="751"/>
                    </a:lnTo>
                    <a:lnTo>
                      <a:pt x="2249" y="816"/>
                    </a:lnTo>
                    <a:lnTo>
                      <a:pt x="2252" y="881"/>
                    </a:lnTo>
                    <a:lnTo>
                      <a:pt x="2250" y="947"/>
                    </a:lnTo>
                    <a:lnTo>
                      <a:pt x="2242" y="1012"/>
                    </a:lnTo>
                    <a:lnTo>
                      <a:pt x="2228" y="1075"/>
                    </a:lnTo>
                    <a:lnTo>
                      <a:pt x="2208" y="1137"/>
                    </a:lnTo>
                    <a:lnTo>
                      <a:pt x="2184" y="1198"/>
                    </a:lnTo>
                    <a:lnTo>
                      <a:pt x="2153" y="1257"/>
                    </a:lnTo>
                    <a:lnTo>
                      <a:pt x="2119" y="1314"/>
                    </a:lnTo>
                    <a:lnTo>
                      <a:pt x="2078" y="1369"/>
                    </a:lnTo>
                    <a:lnTo>
                      <a:pt x="2112" y="1461"/>
                    </a:lnTo>
                    <a:lnTo>
                      <a:pt x="2147" y="1555"/>
                    </a:lnTo>
                    <a:lnTo>
                      <a:pt x="2180" y="1648"/>
                    </a:lnTo>
                    <a:lnTo>
                      <a:pt x="2209" y="1743"/>
                    </a:lnTo>
                    <a:lnTo>
                      <a:pt x="2213" y="1763"/>
                    </a:lnTo>
                    <a:lnTo>
                      <a:pt x="2211" y="1782"/>
                    </a:lnTo>
                    <a:lnTo>
                      <a:pt x="2204" y="1799"/>
                    </a:lnTo>
                    <a:lnTo>
                      <a:pt x="2194" y="1815"/>
                    </a:lnTo>
                    <a:lnTo>
                      <a:pt x="2180" y="1826"/>
                    </a:lnTo>
                    <a:lnTo>
                      <a:pt x="2163" y="1834"/>
                    </a:lnTo>
                    <a:lnTo>
                      <a:pt x="2144" y="1837"/>
                    </a:lnTo>
                    <a:lnTo>
                      <a:pt x="2123" y="1836"/>
                    </a:lnTo>
                    <a:lnTo>
                      <a:pt x="2100" y="1830"/>
                    </a:lnTo>
                    <a:lnTo>
                      <a:pt x="2078" y="1824"/>
                    </a:lnTo>
                    <a:lnTo>
                      <a:pt x="1858" y="1768"/>
                    </a:lnTo>
                    <a:lnTo>
                      <a:pt x="1643" y="1712"/>
                    </a:lnTo>
                    <a:lnTo>
                      <a:pt x="1630" y="1708"/>
                    </a:lnTo>
                    <a:lnTo>
                      <a:pt x="1617" y="1704"/>
                    </a:lnTo>
                    <a:lnTo>
                      <a:pt x="1604" y="1703"/>
                    </a:lnTo>
                    <a:lnTo>
                      <a:pt x="1592" y="1705"/>
                    </a:lnTo>
                    <a:lnTo>
                      <a:pt x="1579" y="1710"/>
                    </a:lnTo>
                    <a:lnTo>
                      <a:pt x="1566" y="1715"/>
                    </a:lnTo>
                    <a:lnTo>
                      <a:pt x="1555" y="1720"/>
                    </a:lnTo>
                    <a:lnTo>
                      <a:pt x="1513" y="1733"/>
                    </a:lnTo>
                    <a:lnTo>
                      <a:pt x="1462" y="1748"/>
                    </a:lnTo>
                    <a:lnTo>
                      <a:pt x="1411" y="1760"/>
                    </a:lnTo>
                    <a:lnTo>
                      <a:pt x="1345" y="1773"/>
                    </a:lnTo>
                    <a:lnTo>
                      <a:pt x="1278" y="1783"/>
                    </a:lnTo>
                    <a:lnTo>
                      <a:pt x="1209" y="1790"/>
                    </a:lnTo>
                    <a:lnTo>
                      <a:pt x="1140" y="1795"/>
                    </a:lnTo>
                    <a:lnTo>
                      <a:pt x="1070" y="1796"/>
                    </a:lnTo>
                    <a:lnTo>
                      <a:pt x="1000" y="1794"/>
                    </a:lnTo>
                    <a:lnTo>
                      <a:pt x="929" y="1789"/>
                    </a:lnTo>
                    <a:lnTo>
                      <a:pt x="859" y="1781"/>
                    </a:lnTo>
                    <a:lnTo>
                      <a:pt x="790" y="1770"/>
                    </a:lnTo>
                    <a:lnTo>
                      <a:pt x="721" y="1756"/>
                    </a:lnTo>
                    <a:lnTo>
                      <a:pt x="652" y="1737"/>
                    </a:lnTo>
                    <a:lnTo>
                      <a:pt x="586" y="1717"/>
                    </a:lnTo>
                    <a:lnTo>
                      <a:pt x="520" y="1693"/>
                    </a:lnTo>
                    <a:lnTo>
                      <a:pt x="457" y="1664"/>
                    </a:lnTo>
                    <a:lnTo>
                      <a:pt x="395" y="1634"/>
                    </a:lnTo>
                    <a:lnTo>
                      <a:pt x="336" y="1598"/>
                    </a:lnTo>
                    <a:lnTo>
                      <a:pt x="278" y="1561"/>
                    </a:lnTo>
                    <a:lnTo>
                      <a:pt x="224" y="1519"/>
                    </a:lnTo>
                    <a:lnTo>
                      <a:pt x="172" y="1474"/>
                    </a:lnTo>
                    <a:lnTo>
                      <a:pt x="123" y="1425"/>
                    </a:lnTo>
                    <a:lnTo>
                      <a:pt x="78" y="1372"/>
                    </a:lnTo>
                    <a:lnTo>
                      <a:pt x="37" y="1316"/>
                    </a:lnTo>
                    <a:lnTo>
                      <a:pt x="0" y="1256"/>
                    </a:lnTo>
                    <a:lnTo>
                      <a:pt x="157" y="1269"/>
                    </a:lnTo>
                    <a:lnTo>
                      <a:pt x="165" y="1269"/>
                    </a:lnTo>
                    <a:lnTo>
                      <a:pt x="174" y="1269"/>
                    </a:lnTo>
                    <a:lnTo>
                      <a:pt x="181" y="1271"/>
                    </a:lnTo>
                    <a:lnTo>
                      <a:pt x="190" y="1280"/>
                    </a:lnTo>
                    <a:lnTo>
                      <a:pt x="200" y="1291"/>
                    </a:lnTo>
                    <a:lnTo>
                      <a:pt x="208" y="1303"/>
                    </a:lnTo>
                    <a:lnTo>
                      <a:pt x="217" y="1313"/>
                    </a:lnTo>
                    <a:lnTo>
                      <a:pt x="249" y="1348"/>
                    </a:lnTo>
                    <a:lnTo>
                      <a:pt x="284" y="1380"/>
                    </a:lnTo>
                    <a:lnTo>
                      <a:pt x="320" y="1411"/>
                    </a:lnTo>
                    <a:lnTo>
                      <a:pt x="382" y="1455"/>
                    </a:lnTo>
                    <a:lnTo>
                      <a:pt x="445" y="1495"/>
                    </a:lnTo>
                    <a:lnTo>
                      <a:pt x="511" y="1530"/>
                    </a:lnTo>
                    <a:lnTo>
                      <a:pt x="580" y="1562"/>
                    </a:lnTo>
                    <a:lnTo>
                      <a:pt x="650" y="1588"/>
                    </a:lnTo>
                    <a:lnTo>
                      <a:pt x="723" y="1611"/>
                    </a:lnTo>
                    <a:lnTo>
                      <a:pt x="797" y="1628"/>
                    </a:lnTo>
                    <a:lnTo>
                      <a:pt x="872" y="1641"/>
                    </a:lnTo>
                    <a:lnTo>
                      <a:pt x="948" y="1650"/>
                    </a:lnTo>
                    <a:lnTo>
                      <a:pt x="1024" y="1655"/>
                    </a:lnTo>
                    <a:lnTo>
                      <a:pt x="1100" y="1655"/>
                    </a:lnTo>
                    <a:lnTo>
                      <a:pt x="1176" y="1651"/>
                    </a:lnTo>
                    <a:lnTo>
                      <a:pt x="1251" y="1644"/>
                    </a:lnTo>
                    <a:lnTo>
                      <a:pt x="1326" y="1632"/>
                    </a:lnTo>
                    <a:lnTo>
                      <a:pt x="1400" y="1616"/>
                    </a:lnTo>
                    <a:lnTo>
                      <a:pt x="1471" y="1596"/>
                    </a:lnTo>
                    <a:lnTo>
                      <a:pt x="1494" y="1588"/>
                    </a:lnTo>
                    <a:lnTo>
                      <a:pt x="1517" y="1579"/>
                    </a:lnTo>
                    <a:lnTo>
                      <a:pt x="1540" y="1571"/>
                    </a:lnTo>
                    <a:lnTo>
                      <a:pt x="1563" y="1564"/>
                    </a:lnTo>
                    <a:lnTo>
                      <a:pt x="1586" y="1560"/>
                    </a:lnTo>
                    <a:lnTo>
                      <a:pt x="1609" y="1559"/>
                    </a:lnTo>
                    <a:lnTo>
                      <a:pt x="1634" y="1562"/>
                    </a:lnTo>
                    <a:lnTo>
                      <a:pt x="1771" y="1597"/>
                    </a:lnTo>
                    <a:lnTo>
                      <a:pt x="2029" y="1663"/>
                    </a:lnTo>
                    <a:lnTo>
                      <a:pt x="1980" y="1524"/>
                    </a:lnTo>
                    <a:lnTo>
                      <a:pt x="1931" y="1385"/>
                    </a:lnTo>
                    <a:lnTo>
                      <a:pt x="1927" y="1367"/>
                    </a:lnTo>
                    <a:lnTo>
                      <a:pt x="1926" y="1350"/>
                    </a:lnTo>
                    <a:lnTo>
                      <a:pt x="1929" y="1331"/>
                    </a:lnTo>
                    <a:lnTo>
                      <a:pt x="1937" y="1314"/>
                    </a:lnTo>
                    <a:lnTo>
                      <a:pt x="1960" y="1283"/>
                    </a:lnTo>
                    <a:lnTo>
                      <a:pt x="1983" y="1251"/>
                    </a:lnTo>
                    <a:lnTo>
                      <a:pt x="2008" y="1221"/>
                    </a:lnTo>
                    <a:lnTo>
                      <a:pt x="2029" y="1187"/>
                    </a:lnTo>
                    <a:lnTo>
                      <a:pt x="2055" y="1134"/>
                    </a:lnTo>
                    <a:lnTo>
                      <a:pt x="2078" y="1080"/>
                    </a:lnTo>
                    <a:lnTo>
                      <a:pt x="2094" y="1023"/>
                    </a:lnTo>
                    <a:lnTo>
                      <a:pt x="2105" y="965"/>
                    </a:lnTo>
                    <a:lnTo>
                      <a:pt x="2109" y="906"/>
                    </a:lnTo>
                    <a:lnTo>
                      <a:pt x="2108" y="848"/>
                    </a:lnTo>
                    <a:lnTo>
                      <a:pt x="2101" y="791"/>
                    </a:lnTo>
                    <a:lnTo>
                      <a:pt x="2088" y="735"/>
                    </a:lnTo>
                    <a:lnTo>
                      <a:pt x="2070" y="682"/>
                    </a:lnTo>
                    <a:lnTo>
                      <a:pt x="2047" y="630"/>
                    </a:lnTo>
                    <a:lnTo>
                      <a:pt x="2020" y="579"/>
                    </a:lnTo>
                    <a:lnTo>
                      <a:pt x="1987" y="531"/>
                    </a:lnTo>
                    <a:lnTo>
                      <a:pt x="1952" y="486"/>
                    </a:lnTo>
                    <a:lnTo>
                      <a:pt x="1909" y="439"/>
                    </a:lnTo>
                    <a:lnTo>
                      <a:pt x="1861" y="395"/>
                    </a:lnTo>
                    <a:lnTo>
                      <a:pt x="1811" y="355"/>
                    </a:lnTo>
                    <a:lnTo>
                      <a:pt x="1758" y="318"/>
                    </a:lnTo>
                    <a:lnTo>
                      <a:pt x="1703" y="285"/>
                    </a:lnTo>
                    <a:lnTo>
                      <a:pt x="1646" y="254"/>
                    </a:lnTo>
                    <a:lnTo>
                      <a:pt x="1588" y="228"/>
                    </a:lnTo>
                    <a:lnTo>
                      <a:pt x="1528" y="204"/>
                    </a:lnTo>
                    <a:lnTo>
                      <a:pt x="1460" y="182"/>
                    </a:lnTo>
                    <a:lnTo>
                      <a:pt x="1391" y="164"/>
                    </a:lnTo>
                    <a:lnTo>
                      <a:pt x="1377" y="161"/>
                    </a:lnTo>
                    <a:lnTo>
                      <a:pt x="1369" y="158"/>
                    </a:lnTo>
                    <a:lnTo>
                      <a:pt x="1363" y="154"/>
                    </a:lnTo>
                    <a:lnTo>
                      <a:pt x="1358" y="149"/>
                    </a:lnTo>
                    <a:lnTo>
                      <a:pt x="1354" y="140"/>
                    </a:lnTo>
                    <a:lnTo>
                      <a:pt x="1350" y="128"/>
                    </a:lnTo>
                    <a:lnTo>
                      <a:pt x="12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4">
                <a:extLst>
                  <a:ext uri="{FF2B5EF4-FFF2-40B4-BE49-F238E27FC236}">
                    <a16:creationId xmlns:a16="http://schemas.microsoft.com/office/drawing/2014/main" id="{D9E3E6D8-6400-47B1-83F3-BC3A4C48B39C}"/>
                  </a:ext>
                </a:extLst>
              </p:cNvPr>
              <p:cNvSpPr>
                <a:spLocks noEditPoints="1"/>
              </p:cNvSpPr>
              <p:nvPr/>
            </p:nvSpPr>
            <p:spPr bwMode="auto">
              <a:xfrm>
                <a:off x="2671763" y="5032376"/>
                <a:ext cx="1025525" cy="806450"/>
              </a:xfrm>
              <a:custGeom>
                <a:avLst/>
                <a:gdLst>
                  <a:gd name="T0" fmla="*/ 1094 w 2585"/>
                  <a:gd name="T1" fmla="*/ 157 h 2033"/>
                  <a:gd name="T2" fmla="*/ 831 w 2585"/>
                  <a:gd name="T3" fmla="*/ 215 h 2033"/>
                  <a:gd name="T4" fmla="*/ 585 w 2585"/>
                  <a:gd name="T5" fmla="*/ 323 h 2033"/>
                  <a:gd name="T6" fmla="*/ 374 w 2585"/>
                  <a:gd name="T7" fmla="*/ 484 h 2033"/>
                  <a:gd name="T8" fmla="*/ 221 w 2585"/>
                  <a:gd name="T9" fmla="*/ 689 h 2033"/>
                  <a:gd name="T10" fmla="*/ 149 w 2585"/>
                  <a:gd name="T11" fmla="*/ 918 h 2033"/>
                  <a:gd name="T12" fmla="*/ 168 w 2585"/>
                  <a:gd name="T13" fmla="*/ 1167 h 2033"/>
                  <a:gd name="T14" fmla="*/ 269 w 2585"/>
                  <a:gd name="T15" fmla="*/ 1380 h 2033"/>
                  <a:gd name="T16" fmla="*/ 336 w 2585"/>
                  <a:gd name="T17" fmla="*/ 1465 h 2033"/>
                  <a:gd name="T18" fmla="*/ 344 w 2585"/>
                  <a:gd name="T19" fmla="*/ 1531 h 2033"/>
                  <a:gd name="T20" fmla="*/ 684 w 2585"/>
                  <a:gd name="T21" fmla="*/ 1742 h 2033"/>
                  <a:gd name="T22" fmla="*/ 790 w 2585"/>
                  <a:gd name="T23" fmla="*/ 1757 h 2033"/>
                  <a:gd name="T24" fmla="*/ 1014 w 2585"/>
                  <a:gd name="T25" fmla="*/ 1819 h 2033"/>
                  <a:gd name="T26" fmla="*/ 1373 w 2585"/>
                  <a:gd name="T27" fmla="*/ 1844 h 2033"/>
                  <a:gd name="T28" fmla="*/ 1701 w 2585"/>
                  <a:gd name="T29" fmla="*/ 1790 h 2033"/>
                  <a:gd name="T30" fmla="*/ 1935 w 2585"/>
                  <a:gd name="T31" fmla="*/ 1700 h 2033"/>
                  <a:gd name="T32" fmla="*/ 2145 w 2585"/>
                  <a:gd name="T33" fmla="*/ 1565 h 2033"/>
                  <a:gd name="T34" fmla="*/ 2314 w 2585"/>
                  <a:gd name="T35" fmla="*/ 1383 h 2033"/>
                  <a:gd name="T36" fmla="*/ 2421 w 2585"/>
                  <a:gd name="T37" fmla="*/ 1151 h 2033"/>
                  <a:gd name="T38" fmla="*/ 2433 w 2585"/>
                  <a:gd name="T39" fmla="*/ 897 h 2033"/>
                  <a:gd name="T40" fmla="*/ 2353 w 2585"/>
                  <a:gd name="T41" fmla="*/ 670 h 2033"/>
                  <a:gd name="T42" fmla="*/ 2197 w 2585"/>
                  <a:gd name="T43" fmla="*/ 472 h 2033"/>
                  <a:gd name="T44" fmla="*/ 1973 w 2585"/>
                  <a:gd name="T45" fmla="*/ 310 h 2033"/>
                  <a:gd name="T46" fmla="*/ 1718 w 2585"/>
                  <a:gd name="T47" fmla="*/ 207 h 2033"/>
                  <a:gd name="T48" fmla="*/ 1446 w 2585"/>
                  <a:gd name="T49" fmla="*/ 152 h 2033"/>
                  <a:gd name="T50" fmla="*/ 1390 w 2585"/>
                  <a:gd name="T51" fmla="*/ 2 h 2033"/>
                  <a:gd name="T52" fmla="*/ 1728 w 2585"/>
                  <a:gd name="T53" fmla="*/ 57 h 2033"/>
                  <a:gd name="T54" fmla="*/ 2046 w 2585"/>
                  <a:gd name="T55" fmla="*/ 185 h 2033"/>
                  <a:gd name="T56" fmla="*/ 2279 w 2585"/>
                  <a:gd name="T57" fmla="*/ 352 h 2033"/>
                  <a:gd name="T58" fmla="*/ 2451 w 2585"/>
                  <a:gd name="T59" fmla="*/ 555 h 2033"/>
                  <a:gd name="T60" fmla="*/ 2559 w 2585"/>
                  <a:gd name="T61" fmla="*/ 794 h 2033"/>
                  <a:gd name="T62" fmla="*/ 2582 w 2585"/>
                  <a:gd name="T63" fmla="*/ 1062 h 2033"/>
                  <a:gd name="T64" fmla="*/ 2520 w 2585"/>
                  <a:gd name="T65" fmla="*/ 1311 h 2033"/>
                  <a:gd name="T66" fmla="*/ 2389 w 2585"/>
                  <a:gd name="T67" fmla="*/ 1523 h 2033"/>
                  <a:gd name="T68" fmla="*/ 2203 w 2585"/>
                  <a:gd name="T69" fmla="*/ 1698 h 2033"/>
                  <a:gd name="T70" fmla="*/ 1981 w 2585"/>
                  <a:gd name="T71" fmla="*/ 1833 h 2033"/>
                  <a:gd name="T72" fmla="*/ 1738 w 2585"/>
                  <a:gd name="T73" fmla="*/ 1926 h 2033"/>
                  <a:gd name="T74" fmla="*/ 1491 w 2585"/>
                  <a:gd name="T75" fmla="*/ 1977 h 2033"/>
                  <a:gd name="T76" fmla="*/ 1057 w 2585"/>
                  <a:gd name="T77" fmla="*/ 1972 h 2033"/>
                  <a:gd name="T78" fmla="*/ 796 w 2585"/>
                  <a:gd name="T79" fmla="*/ 1911 h 2033"/>
                  <a:gd name="T80" fmla="*/ 694 w 2585"/>
                  <a:gd name="T81" fmla="*/ 1887 h 2033"/>
                  <a:gd name="T82" fmla="*/ 153 w 2585"/>
                  <a:gd name="T83" fmla="*/ 2027 h 2033"/>
                  <a:gd name="T84" fmla="*/ 82 w 2585"/>
                  <a:gd name="T85" fmla="*/ 2026 h 2033"/>
                  <a:gd name="T86" fmla="*/ 48 w 2585"/>
                  <a:gd name="T87" fmla="*/ 1976 h 2033"/>
                  <a:gd name="T88" fmla="*/ 85 w 2585"/>
                  <a:gd name="T89" fmla="*/ 1833 h 2033"/>
                  <a:gd name="T90" fmla="*/ 192 w 2585"/>
                  <a:gd name="T91" fmla="*/ 1525 h 2033"/>
                  <a:gd name="T92" fmla="*/ 186 w 2585"/>
                  <a:gd name="T93" fmla="*/ 1510 h 2033"/>
                  <a:gd name="T94" fmla="*/ 78 w 2585"/>
                  <a:gd name="T95" fmla="*/ 1339 h 2033"/>
                  <a:gd name="T96" fmla="*/ 6 w 2585"/>
                  <a:gd name="T97" fmla="*/ 1094 h 2033"/>
                  <a:gd name="T98" fmla="*/ 15 w 2585"/>
                  <a:gd name="T99" fmla="*/ 842 h 2033"/>
                  <a:gd name="T100" fmla="*/ 108 w 2585"/>
                  <a:gd name="T101" fmla="*/ 591 h 2033"/>
                  <a:gd name="T102" fmla="*/ 268 w 2585"/>
                  <a:gd name="T103" fmla="*/ 385 h 2033"/>
                  <a:gd name="T104" fmla="*/ 477 w 2585"/>
                  <a:gd name="T105" fmla="*/ 223 h 2033"/>
                  <a:gd name="T106" fmla="*/ 719 w 2585"/>
                  <a:gd name="T107" fmla="*/ 106 h 2033"/>
                  <a:gd name="T108" fmla="*/ 978 w 2585"/>
                  <a:gd name="T109" fmla="*/ 32 h 2033"/>
                  <a:gd name="T110" fmla="*/ 1240 w 2585"/>
                  <a:gd name="T111" fmla="*/ 1 h 2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5" h="2033">
                    <a:moveTo>
                      <a:pt x="1292" y="144"/>
                    </a:moveTo>
                    <a:lnTo>
                      <a:pt x="1227" y="146"/>
                    </a:lnTo>
                    <a:lnTo>
                      <a:pt x="1161" y="150"/>
                    </a:lnTo>
                    <a:lnTo>
                      <a:pt x="1094" y="157"/>
                    </a:lnTo>
                    <a:lnTo>
                      <a:pt x="1027" y="167"/>
                    </a:lnTo>
                    <a:lnTo>
                      <a:pt x="961" y="179"/>
                    </a:lnTo>
                    <a:lnTo>
                      <a:pt x="896" y="195"/>
                    </a:lnTo>
                    <a:lnTo>
                      <a:pt x="831" y="215"/>
                    </a:lnTo>
                    <a:lnTo>
                      <a:pt x="767" y="237"/>
                    </a:lnTo>
                    <a:lnTo>
                      <a:pt x="705" y="262"/>
                    </a:lnTo>
                    <a:lnTo>
                      <a:pt x="643" y="291"/>
                    </a:lnTo>
                    <a:lnTo>
                      <a:pt x="585" y="323"/>
                    </a:lnTo>
                    <a:lnTo>
                      <a:pt x="528" y="358"/>
                    </a:lnTo>
                    <a:lnTo>
                      <a:pt x="473" y="396"/>
                    </a:lnTo>
                    <a:lnTo>
                      <a:pt x="423" y="439"/>
                    </a:lnTo>
                    <a:lnTo>
                      <a:pt x="374" y="484"/>
                    </a:lnTo>
                    <a:lnTo>
                      <a:pt x="328" y="532"/>
                    </a:lnTo>
                    <a:lnTo>
                      <a:pt x="286" y="585"/>
                    </a:lnTo>
                    <a:lnTo>
                      <a:pt x="251" y="635"/>
                    </a:lnTo>
                    <a:lnTo>
                      <a:pt x="221" y="689"/>
                    </a:lnTo>
                    <a:lnTo>
                      <a:pt x="195" y="744"/>
                    </a:lnTo>
                    <a:lnTo>
                      <a:pt x="175" y="800"/>
                    </a:lnTo>
                    <a:lnTo>
                      <a:pt x="159" y="858"/>
                    </a:lnTo>
                    <a:lnTo>
                      <a:pt x="149" y="918"/>
                    </a:lnTo>
                    <a:lnTo>
                      <a:pt x="145" y="979"/>
                    </a:lnTo>
                    <a:lnTo>
                      <a:pt x="146" y="1040"/>
                    </a:lnTo>
                    <a:lnTo>
                      <a:pt x="154" y="1104"/>
                    </a:lnTo>
                    <a:lnTo>
                      <a:pt x="168" y="1167"/>
                    </a:lnTo>
                    <a:lnTo>
                      <a:pt x="188" y="1228"/>
                    </a:lnTo>
                    <a:lnTo>
                      <a:pt x="214" y="1288"/>
                    </a:lnTo>
                    <a:lnTo>
                      <a:pt x="245" y="1344"/>
                    </a:lnTo>
                    <a:lnTo>
                      <a:pt x="269" y="1380"/>
                    </a:lnTo>
                    <a:lnTo>
                      <a:pt x="295" y="1416"/>
                    </a:lnTo>
                    <a:lnTo>
                      <a:pt x="309" y="1431"/>
                    </a:lnTo>
                    <a:lnTo>
                      <a:pt x="323" y="1447"/>
                    </a:lnTo>
                    <a:lnTo>
                      <a:pt x="336" y="1465"/>
                    </a:lnTo>
                    <a:lnTo>
                      <a:pt x="344" y="1483"/>
                    </a:lnTo>
                    <a:lnTo>
                      <a:pt x="348" y="1499"/>
                    </a:lnTo>
                    <a:lnTo>
                      <a:pt x="347" y="1515"/>
                    </a:lnTo>
                    <a:lnTo>
                      <a:pt x="344" y="1531"/>
                    </a:lnTo>
                    <a:lnTo>
                      <a:pt x="339" y="1546"/>
                    </a:lnTo>
                    <a:lnTo>
                      <a:pt x="229" y="1858"/>
                    </a:lnTo>
                    <a:lnTo>
                      <a:pt x="456" y="1800"/>
                    </a:lnTo>
                    <a:lnTo>
                      <a:pt x="684" y="1742"/>
                    </a:lnTo>
                    <a:lnTo>
                      <a:pt x="711" y="1739"/>
                    </a:lnTo>
                    <a:lnTo>
                      <a:pt x="737" y="1742"/>
                    </a:lnTo>
                    <a:lnTo>
                      <a:pt x="764" y="1748"/>
                    </a:lnTo>
                    <a:lnTo>
                      <a:pt x="790" y="1757"/>
                    </a:lnTo>
                    <a:lnTo>
                      <a:pt x="817" y="1767"/>
                    </a:lnTo>
                    <a:lnTo>
                      <a:pt x="842" y="1776"/>
                    </a:lnTo>
                    <a:lnTo>
                      <a:pt x="928" y="1801"/>
                    </a:lnTo>
                    <a:lnTo>
                      <a:pt x="1014" y="1819"/>
                    </a:lnTo>
                    <a:lnTo>
                      <a:pt x="1102" y="1833"/>
                    </a:lnTo>
                    <a:lnTo>
                      <a:pt x="1191" y="1842"/>
                    </a:lnTo>
                    <a:lnTo>
                      <a:pt x="1282" y="1845"/>
                    </a:lnTo>
                    <a:lnTo>
                      <a:pt x="1373" y="1844"/>
                    </a:lnTo>
                    <a:lnTo>
                      <a:pt x="1463" y="1836"/>
                    </a:lnTo>
                    <a:lnTo>
                      <a:pt x="1553" y="1824"/>
                    </a:lnTo>
                    <a:lnTo>
                      <a:pt x="1641" y="1806"/>
                    </a:lnTo>
                    <a:lnTo>
                      <a:pt x="1701" y="1790"/>
                    </a:lnTo>
                    <a:lnTo>
                      <a:pt x="1760" y="1772"/>
                    </a:lnTo>
                    <a:lnTo>
                      <a:pt x="1819" y="1751"/>
                    </a:lnTo>
                    <a:lnTo>
                      <a:pt x="1878" y="1726"/>
                    </a:lnTo>
                    <a:lnTo>
                      <a:pt x="1935" y="1700"/>
                    </a:lnTo>
                    <a:lnTo>
                      <a:pt x="1991" y="1671"/>
                    </a:lnTo>
                    <a:lnTo>
                      <a:pt x="2043" y="1638"/>
                    </a:lnTo>
                    <a:lnTo>
                      <a:pt x="2095" y="1604"/>
                    </a:lnTo>
                    <a:lnTo>
                      <a:pt x="2145" y="1565"/>
                    </a:lnTo>
                    <a:lnTo>
                      <a:pt x="2192" y="1524"/>
                    </a:lnTo>
                    <a:lnTo>
                      <a:pt x="2236" y="1480"/>
                    </a:lnTo>
                    <a:lnTo>
                      <a:pt x="2277" y="1433"/>
                    </a:lnTo>
                    <a:lnTo>
                      <a:pt x="2314" y="1383"/>
                    </a:lnTo>
                    <a:lnTo>
                      <a:pt x="2348" y="1330"/>
                    </a:lnTo>
                    <a:lnTo>
                      <a:pt x="2378" y="1273"/>
                    </a:lnTo>
                    <a:lnTo>
                      <a:pt x="2403" y="1213"/>
                    </a:lnTo>
                    <a:lnTo>
                      <a:pt x="2421" y="1151"/>
                    </a:lnTo>
                    <a:lnTo>
                      <a:pt x="2434" y="1088"/>
                    </a:lnTo>
                    <a:lnTo>
                      <a:pt x="2441" y="1023"/>
                    </a:lnTo>
                    <a:lnTo>
                      <a:pt x="2441" y="958"/>
                    </a:lnTo>
                    <a:lnTo>
                      <a:pt x="2433" y="897"/>
                    </a:lnTo>
                    <a:lnTo>
                      <a:pt x="2421" y="837"/>
                    </a:lnTo>
                    <a:lnTo>
                      <a:pt x="2404" y="779"/>
                    </a:lnTo>
                    <a:lnTo>
                      <a:pt x="2381" y="723"/>
                    </a:lnTo>
                    <a:lnTo>
                      <a:pt x="2353" y="670"/>
                    </a:lnTo>
                    <a:lnTo>
                      <a:pt x="2321" y="618"/>
                    </a:lnTo>
                    <a:lnTo>
                      <a:pt x="2286" y="568"/>
                    </a:lnTo>
                    <a:lnTo>
                      <a:pt x="2246" y="521"/>
                    </a:lnTo>
                    <a:lnTo>
                      <a:pt x="2197" y="472"/>
                    </a:lnTo>
                    <a:lnTo>
                      <a:pt x="2145" y="425"/>
                    </a:lnTo>
                    <a:lnTo>
                      <a:pt x="2090" y="383"/>
                    </a:lnTo>
                    <a:lnTo>
                      <a:pt x="2033" y="345"/>
                    </a:lnTo>
                    <a:lnTo>
                      <a:pt x="1973" y="310"/>
                    </a:lnTo>
                    <a:lnTo>
                      <a:pt x="1912" y="280"/>
                    </a:lnTo>
                    <a:lnTo>
                      <a:pt x="1848" y="252"/>
                    </a:lnTo>
                    <a:lnTo>
                      <a:pt x="1784" y="228"/>
                    </a:lnTo>
                    <a:lnTo>
                      <a:pt x="1718" y="207"/>
                    </a:lnTo>
                    <a:lnTo>
                      <a:pt x="1650" y="188"/>
                    </a:lnTo>
                    <a:lnTo>
                      <a:pt x="1582" y="174"/>
                    </a:lnTo>
                    <a:lnTo>
                      <a:pt x="1514" y="162"/>
                    </a:lnTo>
                    <a:lnTo>
                      <a:pt x="1446" y="152"/>
                    </a:lnTo>
                    <a:lnTo>
                      <a:pt x="1369" y="146"/>
                    </a:lnTo>
                    <a:lnTo>
                      <a:pt x="1292" y="144"/>
                    </a:lnTo>
                    <a:close/>
                    <a:moveTo>
                      <a:pt x="1304" y="0"/>
                    </a:moveTo>
                    <a:lnTo>
                      <a:pt x="1390" y="2"/>
                    </a:lnTo>
                    <a:lnTo>
                      <a:pt x="1474" y="10"/>
                    </a:lnTo>
                    <a:lnTo>
                      <a:pt x="1560" y="22"/>
                    </a:lnTo>
                    <a:lnTo>
                      <a:pt x="1644" y="37"/>
                    </a:lnTo>
                    <a:lnTo>
                      <a:pt x="1728" y="57"/>
                    </a:lnTo>
                    <a:lnTo>
                      <a:pt x="1810" y="83"/>
                    </a:lnTo>
                    <a:lnTo>
                      <a:pt x="1891" y="112"/>
                    </a:lnTo>
                    <a:lnTo>
                      <a:pt x="1969" y="147"/>
                    </a:lnTo>
                    <a:lnTo>
                      <a:pt x="2046" y="185"/>
                    </a:lnTo>
                    <a:lnTo>
                      <a:pt x="2119" y="229"/>
                    </a:lnTo>
                    <a:lnTo>
                      <a:pt x="2174" y="267"/>
                    </a:lnTo>
                    <a:lnTo>
                      <a:pt x="2228" y="308"/>
                    </a:lnTo>
                    <a:lnTo>
                      <a:pt x="2279" y="352"/>
                    </a:lnTo>
                    <a:lnTo>
                      <a:pt x="2327" y="398"/>
                    </a:lnTo>
                    <a:lnTo>
                      <a:pt x="2371" y="448"/>
                    </a:lnTo>
                    <a:lnTo>
                      <a:pt x="2413" y="500"/>
                    </a:lnTo>
                    <a:lnTo>
                      <a:pt x="2451" y="555"/>
                    </a:lnTo>
                    <a:lnTo>
                      <a:pt x="2484" y="612"/>
                    </a:lnTo>
                    <a:lnTo>
                      <a:pt x="2514" y="671"/>
                    </a:lnTo>
                    <a:lnTo>
                      <a:pt x="2539" y="731"/>
                    </a:lnTo>
                    <a:lnTo>
                      <a:pt x="2559" y="794"/>
                    </a:lnTo>
                    <a:lnTo>
                      <a:pt x="2573" y="859"/>
                    </a:lnTo>
                    <a:lnTo>
                      <a:pt x="2582" y="926"/>
                    </a:lnTo>
                    <a:lnTo>
                      <a:pt x="2585" y="994"/>
                    </a:lnTo>
                    <a:lnTo>
                      <a:pt x="2582" y="1062"/>
                    </a:lnTo>
                    <a:lnTo>
                      <a:pt x="2574" y="1127"/>
                    </a:lnTo>
                    <a:lnTo>
                      <a:pt x="2561" y="1191"/>
                    </a:lnTo>
                    <a:lnTo>
                      <a:pt x="2543" y="1252"/>
                    </a:lnTo>
                    <a:lnTo>
                      <a:pt x="2520" y="1311"/>
                    </a:lnTo>
                    <a:lnTo>
                      <a:pt x="2494" y="1367"/>
                    </a:lnTo>
                    <a:lnTo>
                      <a:pt x="2462" y="1422"/>
                    </a:lnTo>
                    <a:lnTo>
                      <a:pt x="2427" y="1474"/>
                    </a:lnTo>
                    <a:lnTo>
                      <a:pt x="2389" y="1523"/>
                    </a:lnTo>
                    <a:lnTo>
                      <a:pt x="2347" y="1570"/>
                    </a:lnTo>
                    <a:lnTo>
                      <a:pt x="2301" y="1616"/>
                    </a:lnTo>
                    <a:lnTo>
                      <a:pt x="2253" y="1657"/>
                    </a:lnTo>
                    <a:lnTo>
                      <a:pt x="2203" y="1698"/>
                    </a:lnTo>
                    <a:lnTo>
                      <a:pt x="2150" y="1736"/>
                    </a:lnTo>
                    <a:lnTo>
                      <a:pt x="2095" y="1770"/>
                    </a:lnTo>
                    <a:lnTo>
                      <a:pt x="2039" y="1803"/>
                    </a:lnTo>
                    <a:lnTo>
                      <a:pt x="1981" y="1833"/>
                    </a:lnTo>
                    <a:lnTo>
                      <a:pt x="1921" y="1860"/>
                    </a:lnTo>
                    <a:lnTo>
                      <a:pt x="1861" y="1885"/>
                    </a:lnTo>
                    <a:lnTo>
                      <a:pt x="1800" y="1907"/>
                    </a:lnTo>
                    <a:lnTo>
                      <a:pt x="1738" y="1926"/>
                    </a:lnTo>
                    <a:lnTo>
                      <a:pt x="1676" y="1944"/>
                    </a:lnTo>
                    <a:lnTo>
                      <a:pt x="1614" y="1958"/>
                    </a:lnTo>
                    <a:lnTo>
                      <a:pt x="1552" y="1969"/>
                    </a:lnTo>
                    <a:lnTo>
                      <a:pt x="1491" y="1977"/>
                    </a:lnTo>
                    <a:lnTo>
                      <a:pt x="1382" y="1986"/>
                    </a:lnTo>
                    <a:lnTo>
                      <a:pt x="1274" y="1988"/>
                    </a:lnTo>
                    <a:lnTo>
                      <a:pt x="1165" y="1983"/>
                    </a:lnTo>
                    <a:lnTo>
                      <a:pt x="1057" y="1972"/>
                    </a:lnTo>
                    <a:lnTo>
                      <a:pt x="950" y="1953"/>
                    </a:lnTo>
                    <a:lnTo>
                      <a:pt x="892" y="1940"/>
                    </a:lnTo>
                    <a:lnTo>
                      <a:pt x="834" y="1924"/>
                    </a:lnTo>
                    <a:lnTo>
                      <a:pt x="796" y="1911"/>
                    </a:lnTo>
                    <a:lnTo>
                      <a:pt x="759" y="1898"/>
                    </a:lnTo>
                    <a:lnTo>
                      <a:pt x="720" y="1887"/>
                    </a:lnTo>
                    <a:lnTo>
                      <a:pt x="707" y="1886"/>
                    </a:lnTo>
                    <a:lnTo>
                      <a:pt x="694" y="1887"/>
                    </a:lnTo>
                    <a:lnTo>
                      <a:pt x="682" y="1890"/>
                    </a:lnTo>
                    <a:lnTo>
                      <a:pt x="669" y="1894"/>
                    </a:lnTo>
                    <a:lnTo>
                      <a:pt x="171" y="2022"/>
                    </a:lnTo>
                    <a:lnTo>
                      <a:pt x="153" y="2027"/>
                    </a:lnTo>
                    <a:lnTo>
                      <a:pt x="134" y="2031"/>
                    </a:lnTo>
                    <a:lnTo>
                      <a:pt x="116" y="2033"/>
                    </a:lnTo>
                    <a:lnTo>
                      <a:pt x="98" y="2031"/>
                    </a:lnTo>
                    <a:lnTo>
                      <a:pt x="82" y="2026"/>
                    </a:lnTo>
                    <a:lnTo>
                      <a:pt x="69" y="2017"/>
                    </a:lnTo>
                    <a:lnTo>
                      <a:pt x="59" y="2005"/>
                    </a:lnTo>
                    <a:lnTo>
                      <a:pt x="53" y="1991"/>
                    </a:lnTo>
                    <a:lnTo>
                      <a:pt x="48" y="1976"/>
                    </a:lnTo>
                    <a:lnTo>
                      <a:pt x="47" y="1960"/>
                    </a:lnTo>
                    <a:lnTo>
                      <a:pt x="48" y="1944"/>
                    </a:lnTo>
                    <a:lnTo>
                      <a:pt x="52" y="1927"/>
                    </a:lnTo>
                    <a:lnTo>
                      <a:pt x="85" y="1833"/>
                    </a:lnTo>
                    <a:lnTo>
                      <a:pt x="178" y="1569"/>
                    </a:lnTo>
                    <a:lnTo>
                      <a:pt x="185" y="1551"/>
                    </a:lnTo>
                    <a:lnTo>
                      <a:pt x="191" y="1532"/>
                    </a:lnTo>
                    <a:lnTo>
                      <a:pt x="192" y="1525"/>
                    </a:lnTo>
                    <a:lnTo>
                      <a:pt x="192" y="1521"/>
                    </a:lnTo>
                    <a:lnTo>
                      <a:pt x="192" y="1518"/>
                    </a:lnTo>
                    <a:lnTo>
                      <a:pt x="190" y="1515"/>
                    </a:lnTo>
                    <a:lnTo>
                      <a:pt x="186" y="1510"/>
                    </a:lnTo>
                    <a:lnTo>
                      <a:pt x="181" y="1503"/>
                    </a:lnTo>
                    <a:lnTo>
                      <a:pt x="143" y="1450"/>
                    </a:lnTo>
                    <a:lnTo>
                      <a:pt x="109" y="1395"/>
                    </a:lnTo>
                    <a:lnTo>
                      <a:pt x="78" y="1339"/>
                    </a:lnTo>
                    <a:lnTo>
                      <a:pt x="53" y="1279"/>
                    </a:lnTo>
                    <a:lnTo>
                      <a:pt x="33" y="1219"/>
                    </a:lnTo>
                    <a:lnTo>
                      <a:pt x="17" y="1157"/>
                    </a:lnTo>
                    <a:lnTo>
                      <a:pt x="6" y="1094"/>
                    </a:lnTo>
                    <a:lnTo>
                      <a:pt x="1" y="1031"/>
                    </a:lnTo>
                    <a:lnTo>
                      <a:pt x="0" y="968"/>
                    </a:lnTo>
                    <a:lnTo>
                      <a:pt x="5" y="904"/>
                    </a:lnTo>
                    <a:lnTo>
                      <a:pt x="15" y="842"/>
                    </a:lnTo>
                    <a:lnTo>
                      <a:pt x="32" y="775"/>
                    </a:lnTo>
                    <a:lnTo>
                      <a:pt x="53" y="711"/>
                    </a:lnTo>
                    <a:lnTo>
                      <a:pt x="78" y="649"/>
                    </a:lnTo>
                    <a:lnTo>
                      <a:pt x="108" y="591"/>
                    </a:lnTo>
                    <a:lnTo>
                      <a:pt x="143" y="535"/>
                    </a:lnTo>
                    <a:lnTo>
                      <a:pt x="180" y="483"/>
                    </a:lnTo>
                    <a:lnTo>
                      <a:pt x="222" y="432"/>
                    </a:lnTo>
                    <a:lnTo>
                      <a:pt x="268" y="385"/>
                    </a:lnTo>
                    <a:lnTo>
                      <a:pt x="316" y="341"/>
                    </a:lnTo>
                    <a:lnTo>
                      <a:pt x="367" y="299"/>
                    </a:lnTo>
                    <a:lnTo>
                      <a:pt x="421" y="259"/>
                    </a:lnTo>
                    <a:lnTo>
                      <a:pt x="477" y="223"/>
                    </a:lnTo>
                    <a:lnTo>
                      <a:pt x="535" y="189"/>
                    </a:lnTo>
                    <a:lnTo>
                      <a:pt x="595" y="159"/>
                    </a:lnTo>
                    <a:lnTo>
                      <a:pt x="656" y="130"/>
                    </a:lnTo>
                    <a:lnTo>
                      <a:pt x="719" y="106"/>
                    </a:lnTo>
                    <a:lnTo>
                      <a:pt x="783" y="83"/>
                    </a:lnTo>
                    <a:lnTo>
                      <a:pt x="847" y="63"/>
                    </a:lnTo>
                    <a:lnTo>
                      <a:pt x="913" y="46"/>
                    </a:lnTo>
                    <a:lnTo>
                      <a:pt x="978" y="32"/>
                    </a:lnTo>
                    <a:lnTo>
                      <a:pt x="1045" y="20"/>
                    </a:lnTo>
                    <a:lnTo>
                      <a:pt x="1111" y="11"/>
                    </a:lnTo>
                    <a:lnTo>
                      <a:pt x="1176" y="4"/>
                    </a:lnTo>
                    <a:lnTo>
                      <a:pt x="1240" y="1"/>
                    </a:lnTo>
                    <a:lnTo>
                      <a:pt x="13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1A765881-3E82-4ADF-96B8-B9A8241282C4}"/>
                </a:ext>
              </a:extLst>
            </p:cNvPr>
            <p:cNvGrpSpPr/>
            <p:nvPr userDrawn="1"/>
          </p:nvGrpSpPr>
          <p:grpSpPr>
            <a:xfrm>
              <a:off x="1147098" y="1054100"/>
              <a:ext cx="328388" cy="522374"/>
              <a:chOff x="2915375" y="5436502"/>
              <a:chExt cx="183972" cy="292648"/>
            </a:xfrm>
            <a:grpFill/>
          </p:grpSpPr>
          <p:sp>
            <p:nvSpPr>
              <p:cNvPr id="14" name="Freeform 19">
                <a:extLst>
                  <a:ext uri="{FF2B5EF4-FFF2-40B4-BE49-F238E27FC236}">
                    <a16:creationId xmlns:a16="http://schemas.microsoft.com/office/drawing/2014/main" id="{AF9A3B14-F8B1-4E7D-B113-DB2EB5731E40}"/>
                  </a:ext>
                </a:extLst>
              </p:cNvPr>
              <p:cNvSpPr>
                <a:spLocks/>
              </p:cNvSpPr>
              <p:nvPr userDrawn="1"/>
            </p:nvSpPr>
            <p:spPr bwMode="auto">
              <a:xfrm>
                <a:off x="2915375" y="5436502"/>
                <a:ext cx="183972" cy="222008"/>
              </a:xfrm>
              <a:custGeom>
                <a:avLst/>
                <a:gdLst>
                  <a:gd name="T0" fmla="*/ 522 w 949"/>
                  <a:gd name="T1" fmla="*/ 2 h 1142"/>
                  <a:gd name="T2" fmla="*/ 616 w 949"/>
                  <a:gd name="T3" fmla="*/ 15 h 1142"/>
                  <a:gd name="T4" fmla="*/ 702 w 949"/>
                  <a:gd name="T5" fmla="*/ 45 h 1142"/>
                  <a:gd name="T6" fmla="*/ 779 w 949"/>
                  <a:gd name="T7" fmla="*/ 87 h 1142"/>
                  <a:gd name="T8" fmla="*/ 843 w 949"/>
                  <a:gd name="T9" fmla="*/ 144 h 1142"/>
                  <a:gd name="T10" fmla="*/ 895 w 949"/>
                  <a:gd name="T11" fmla="*/ 215 h 1142"/>
                  <a:gd name="T12" fmla="*/ 930 w 949"/>
                  <a:gd name="T13" fmla="*/ 296 h 1142"/>
                  <a:gd name="T14" fmla="*/ 947 w 949"/>
                  <a:gd name="T15" fmla="*/ 382 h 1142"/>
                  <a:gd name="T16" fmla="*/ 947 w 949"/>
                  <a:gd name="T17" fmla="*/ 470 h 1142"/>
                  <a:gd name="T18" fmla="*/ 931 w 949"/>
                  <a:gd name="T19" fmla="*/ 548 h 1142"/>
                  <a:gd name="T20" fmla="*/ 898 w 949"/>
                  <a:gd name="T21" fmla="*/ 617 h 1142"/>
                  <a:gd name="T22" fmla="*/ 838 w 949"/>
                  <a:gd name="T23" fmla="*/ 698 h 1142"/>
                  <a:gd name="T24" fmla="*/ 757 w 949"/>
                  <a:gd name="T25" fmla="*/ 778 h 1142"/>
                  <a:gd name="T26" fmla="*/ 677 w 949"/>
                  <a:gd name="T27" fmla="*/ 856 h 1142"/>
                  <a:gd name="T28" fmla="*/ 643 w 949"/>
                  <a:gd name="T29" fmla="*/ 907 h 1142"/>
                  <a:gd name="T30" fmla="*/ 639 w 949"/>
                  <a:gd name="T31" fmla="*/ 965 h 1142"/>
                  <a:gd name="T32" fmla="*/ 635 w 949"/>
                  <a:gd name="T33" fmla="*/ 1035 h 1142"/>
                  <a:gd name="T34" fmla="*/ 615 w 949"/>
                  <a:gd name="T35" fmla="*/ 1083 h 1142"/>
                  <a:gd name="T36" fmla="*/ 579 w 949"/>
                  <a:gd name="T37" fmla="*/ 1119 h 1142"/>
                  <a:gd name="T38" fmla="*/ 531 w 949"/>
                  <a:gd name="T39" fmla="*/ 1139 h 1142"/>
                  <a:gd name="T40" fmla="*/ 479 w 949"/>
                  <a:gd name="T41" fmla="*/ 1139 h 1142"/>
                  <a:gd name="T42" fmla="*/ 430 w 949"/>
                  <a:gd name="T43" fmla="*/ 1119 h 1142"/>
                  <a:gd name="T44" fmla="*/ 394 w 949"/>
                  <a:gd name="T45" fmla="*/ 1083 h 1142"/>
                  <a:gd name="T46" fmla="*/ 374 w 949"/>
                  <a:gd name="T47" fmla="*/ 1035 h 1142"/>
                  <a:gd name="T48" fmla="*/ 373 w 949"/>
                  <a:gd name="T49" fmla="*/ 956 h 1142"/>
                  <a:gd name="T50" fmla="*/ 380 w 949"/>
                  <a:gd name="T51" fmla="*/ 862 h 1142"/>
                  <a:gd name="T52" fmla="*/ 406 w 949"/>
                  <a:gd name="T53" fmla="*/ 784 h 1142"/>
                  <a:gd name="T54" fmla="*/ 457 w 949"/>
                  <a:gd name="T55" fmla="*/ 705 h 1142"/>
                  <a:gd name="T56" fmla="*/ 530 w 949"/>
                  <a:gd name="T57" fmla="*/ 627 h 1142"/>
                  <a:gd name="T58" fmla="*/ 648 w 949"/>
                  <a:gd name="T59" fmla="*/ 511 h 1142"/>
                  <a:gd name="T60" fmla="*/ 678 w 949"/>
                  <a:gd name="T61" fmla="*/ 464 h 1142"/>
                  <a:gd name="T62" fmla="*/ 683 w 949"/>
                  <a:gd name="T63" fmla="*/ 429 h 1142"/>
                  <a:gd name="T64" fmla="*/ 678 w 949"/>
                  <a:gd name="T65" fmla="*/ 380 h 1142"/>
                  <a:gd name="T66" fmla="*/ 661 w 949"/>
                  <a:gd name="T67" fmla="*/ 342 h 1142"/>
                  <a:gd name="T68" fmla="*/ 638 w 949"/>
                  <a:gd name="T69" fmla="*/ 314 h 1142"/>
                  <a:gd name="T70" fmla="*/ 599 w 949"/>
                  <a:gd name="T71" fmla="*/ 290 h 1142"/>
                  <a:gd name="T72" fmla="*/ 546 w 949"/>
                  <a:gd name="T73" fmla="*/ 273 h 1142"/>
                  <a:gd name="T74" fmla="*/ 480 w 949"/>
                  <a:gd name="T75" fmla="*/ 265 h 1142"/>
                  <a:gd name="T76" fmla="*/ 411 w 949"/>
                  <a:gd name="T77" fmla="*/ 273 h 1142"/>
                  <a:gd name="T78" fmla="*/ 356 w 949"/>
                  <a:gd name="T79" fmla="*/ 293 h 1142"/>
                  <a:gd name="T80" fmla="*/ 315 w 949"/>
                  <a:gd name="T81" fmla="*/ 323 h 1142"/>
                  <a:gd name="T82" fmla="*/ 287 w 949"/>
                  <a:gd name="T83" fmla="*/ 362 h 1142"/>
                  <a:gd name="T84" fmla="*/ 269 w 949"/>
                  <a:gd name="T85" fmla="*/ 412 h 1142"/>
                  <a:gd name="T86" fmla="*/ 267 w 949"/>
                  <a:gd name="T87" fmla="*/ 473 h 1142"/>
                  <a:gd name="T88" fmla="*/ 260 w 949"/>
                  <a:gd name="T89" fmla="*/ 525 h 1142"/>
                  <a:gd name="T90" fmla="*/ 235 w 949"/>
                  <a:gd name="T91" fmla="*/ 569 h 1142"/>
                  <a:gd name="T92" fmla="*/ 195 w 949"/>
                  <a:gd name="T93" fmla="*/ 602 h 1142"/>
                  <a:gd name="T94" fmla="*/ 144 w 949"/>
                  <a:gd name="T95" fmla="*/ 615 h 1142"/>
                  <a:gd name="T96" fmla="*/ 93 w 949"/>
                  <a:gd name="T97" fmla="*/ 609 h 1142"/>
                  <a:gd name="T98" fmla="*/ 48 w 949"/>
                  <a:gd name="T99" fmla="*/ 585 h 1142"/>
                  <a:gd name="T100" fmla="*/ 16 w 949"/>
                  <a:gd name="T101" fmla="*/ 545 h 1142"/>
                  <a:gd name="T102" fmla="*/ 2 w 949"/>
                  <a:gd name="T103" fmla="*/ 494 h 1142"/>
                  <a:gd name="T104" fmla="*/ 3 w 949"/>
                  <a:gd name="T105" fmla="*/ 391 h 1142"/>
                  <a:gd name="T106" fmla="*/ 26 w 949"/>
                  <a:gd name="T107" fmla="*/ 295 h 1142"/>
                  <a:gd name="T108" fmla="*/ 68 w 949"/>
                  <a:gd name="T109" fmla="*/ 208 h 1142"/>
                  <a:gd name="T110" fmla="*/ 127 w 949"/>
                  <a:gd name="T111" fmla="*/ 136 h 1142"/>
                  <a:gd name="T112" fmla="*/ 199 w 949"/>
                  <a:gd name="T113" fmla="*/ 78 h 1142"/>
                  <a:gd name="T114" fmla="*/ 283 w 949"/>
                  <a:gd name="T115" fmla="*/ 34 h 1142"/>
                  <a:gd name="T116" fmla="*/ 376 w 949"/>
                  <a:gd name="T117" fmla="*/ 9 h 1142"/>
                  <a:gd name="T118" fmla="*/ 473 w 949"/>
                  <a:gd name="T119" fmla="*/ 0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9" h="1142">
                    <a:moveTo>
                      <a:pt x="473" y="0"/>
                    </a:moveTo>
                    <a:lnTo>
                      <a:pt x="522" y="2"/>
                    </a:lnTo>
                    <a:lnTo>
                      <a:pt x="570" y="7"/>
                    </a:lnTo>
                    <a:lnTo>
                      <a:pt x="616" y="15"/>
                    </a:lnTo>
                    <a:lnTo>
                      <a:pt x="659" y="28"/>
                    </a:lnTo>
                    <a:lnTo>
                      <a:pt x="702" y="45"/>
                    </a:lnTo>
                    <a:lnTo>
                      <a:pt x="742" y="64"/>
                    </a:lnTo>
                    <a:lnTo>
                      <a:pt x="779" y="87"/>
                    </a:lnTo>
                    <a:lnTo>
                      <a:pt x="813" y="114"/>
                    </a:lnTo>
                    <a:lnTo>
                      <a:pt x="843" y="144"/>
                    </a:lnTo>
                    <a:lnTo>
                      <a:pt x="872" y="179"/>
                    </a:lnTo>
                    <a:lnTo>
                      <a:pt x="895" y="215"/>
                    </a:lnTo>
                    <a:lnTo>
                      <a:pt x="915" y="255"/>
                    </a:lnTo>
                    <a:lnTo>
                      <a:pt x="930" y="296"/>
                    </a:lnTo>
                    <a:lnTo>
                      <a:pt x="940" y="338"/>
                    </a:lnTo>
                    <a:lnTo>
                      <a:pt x="947" y="382"/>
                    </a:lnTo>
                    <a:lnTo>
                      <a:pt x="949" y="429"/>
                    </a:lnTo>
                    <a:lnTo>
                      <a:pt x="947" y="470"/>
                    </a:lnTo>
                    <a:lnTo>
                      <a:pt x="940" y="510"/>
                    </a:lnTo>
                    <a:lnTo>
                      <a:pt x="931" y="548"/>
                    </a:lnTo>
                    <a:lnTo>
                      <a:pt x="916" y="584"/>
                    </a:lnTo>
                    <a:lnTo>
                      <a:pt x="898" y="617"/>
                    </a:lnTo>
                    <a:lnTo>
                      <a:pt x="871" y="659"/>
                    </a:lnTo>
                    <a:lnTo>
                      <a:pt x="838" y="698"/>
                    </a:lnTo>
                    <a:lnTo>
                      <a:pt x="803" y="735"/>
                    </a:lnTo>
                    <a:lnTo>
                      <a:pt x="757" y="778"/>
                    </a:lnTo>
                    <a:lnTo>
                      <a:pt x="709" y="822"/>
                    </a:lnTo>
                    <a:lnTo>
                      <a:pt x="677" y="856"/>
                    </a:lnTo>
                    <a:lnTo>
                      <a:pt x="649" y="894"/>
                    </a:lnTo>
                    <a:lnTo>
                      <a:pt x="643" y="907"/>
                    </a:lnTo>
                    <a:lnTo>
                      <a:pt x="641" y="920"/>
                    </a:lnTo>
                    <a:lnTo>
                      <a:pt x="639" y="965"/>
                    </a:lnTo>
                    <a:lnTo>
                      <a:pt x="638" y="1009"/>
                    </a:lnTo>
                    <a:lnTo>
                      <a:pt x="635" y="1035"/>
                    </a:lnTo>
                    <a:lnTo>
                      <a:pt x="627" y="1061"/>
                    </a:lnTo>
                    <a:lnTo>
                      <a:pt x="615" y="1083"/>
                    </a:lnTo>
                    <a:lnTo>
                      <a:pt x="599" y="1103"/>
                    </a:lnTo>
                    <a:lnTo>
                      <a:pt x="579" y="1119"/>
                    </a:lnTo>
                    <a:lnTo>
                      <a:pt x="557" y="1131"/>
                    </a:lnTo>
                    <a:lnTo>
                      <a:pt x="531" y="1139"/>
                    </a:lnTo>
                    <a:lnTo>
                      <a:pt x="505" y="1142"/>
                    </a:lnTo>
                    <a:lnTo>
                      <a:pt x="479" y="1139"/>
                    </a:lnTo>
                    <a:lnTo>
                      <a:pt x="453" y="1131"/>
                    </a:lnTo>
                    <a:lnTo>
                      <a:pt x="430" y="1119"/>
                    </a:lnTo>
                    <a:lnTo>
                      <a:pt x="411" y="1103"/>
                    </a:lnTo>
                    <a:lnTo>
                      <a:pt x="394" y="1083"/>
                    </a:lnTo>
                    <a:lnTo>
                      <a:pt x="383" y="1061"/>
                    </a:lnTo>
                    <a:lnTo>
                      <a:pt x="374" y="1035"/>
                    </a:lnTo>
                    <a:lnTo>
                      <a:pt x="372" y="1009"/>
                    </a:lnTo>
                    <a:lnTo>
                      <a:pt x="373" y="956"/>
                    </a:lnTo>
                    <a:lnTo>
                      <a:pt x="375" y="903"/>
                    </a:lnTo>
                    <a:lnTo>
                      <a:pt x="380" y="862"/>
                    </a:lnTo>
                    <a:lnTo>
                      <a:pt x="391" y="822"/>
                    </a:lnTo>
                    <a:lnTo>
                      <a:pt x="406" y="784"/>
                    </a:lnTo>
                    <a:lnTo>
                      <a:pt x="427" y="748"/>
                    </a:lnTo>
                    <a:lnTo>
                      <a:pt x="457" y="705"/>
                    </a:lnTo>
                    <a:lnTo>
                      <a:pt x="492" y="664"/>
                    </a:lnTo>
                    <a:lnTo>
                      <a:pt x="530" y="627"/>
                    </a:lnTo>
                    <a:lnTo>
                      <a:pt x="619" y="544"/>
                    </a:lnTo>
                    <a:lnTo>
                      <a:pt x="648" y="511"/>
                    </a:lnTo>
                    <a:lnTo>
                      <a:pt x="673" y="477"/>
                    </a:lnTo>
                    <a:lnTo>
                      <a:pt x="678" y="464"/>
                    </a:lnTo>
                    <a:lnTo>
                      <a:pt x="682" y="448"/>
                    </a:lnTo>
                    <a:lnTo>
                      <a:pt x="683" y="429"/>
                    </a:lnTo>
                    <a:lnTo>
                      <a:pt x="682" y="404"/>
                    </a:lnTo>
                    <a:lnTo>
                      <a:pt x="678" y="380"/>
                    </a:lnTo>
                    <a:lnTo>
                      <a:pt x="670" y="359"/>
                    </a:lnTo>
                    <a:lnTo>
                      <a:pt x="661" y="342"/>
                    </a:lnTo>
                    <a:lnTo>
                      <a:pt x="650" y="328"/>
                    </a:lnTo>
                    <a:lnTo>
                      <a:pt x="638" y="314"/>
                    </a:lnTo>
                    <a:lnTo>
                      <a:pt x="620" y="301"/>
                    </a:lnTo>
                    <a:lnTo>
                      <a:pt x="599" y="290"/>
                    </a:lnTo>
                    <a:lnTo>
                      <a:pt x="576" y="280"/>
                    </a:lnTo>
                    <a:lnTo>
                      <a:pt x="546" y="273"/>
                    </a:lnTo>
                    <a:lnTo>
                      <a:pt x="513" y="267"/>
                    </a:lnTo>
                    <a:lnTo>
                      <a:pt x="480" y="265"/>
                    </a:lnTo>
                    <a:lnTo>
                      <a:pt x="445" y="267"/>
                    </a:lnTo>
                    <a:lnTo>
                      <a:pt x="411" y="273"/>
                    </a:lnTo>
                    <a:lnTo>
                      <a:pt x="380" y="282"/>
                    </a:lnTo>
                    <a:lnTo>
                      <a:pt x="356" y="293"/>
                    </a:lnTo>
                    <a:lnTo>
                      <a:pt x="334" y="308"/>
                    </a:lnTo>
                    <a:lnTo>
                      <a:pt x="315" y="323"/>
                    </a:lnTo>
                    <a:lnTo>
                      <a:pt x="299" y="342"/>
                    </a:lnTo>
                    <a:lnTo>
                      <a:pt x="287" y="362"/>
                    </a:lnTo>
                    <a:lnTo>
                      <a:pt x="276" y="386"/>
                    </a:lnTo>
                    <a:lnTo>
                      <a:pt x="269" y="412"/>
                    </a:lnTo>
                    <a:lnTo>
                      <a:pt x="266" y="441"/>
                    </a:lnTo>
                    <a:lnTo>
                      <a:pt x="267" y="473"/>
                    </a:lnTo>
                    <a:lnTo>
                      <a:pt x="266" y="499"/>
                    </a:lnTo>
                    <a:lnTo>
                      <a:pt x="260" y="525"/>
                    </a:lnTo>
                    <a:lnTo>
                      <a:pt x="250" y="549"/>
                    </a:lnTo>
                    <a:lnTo>
                      <a:pt x="235" y="569"/>
                    </a:lnTo>
                    <a:lnTo>
                      <a:pt x="217" y="587"/>
                    </a:lnTo>
                    <a:lnTo>
                      <a:pt x="195" y="602"/>
                    </a:lnTo>
                    <a:lnTo>
                      <a:pt x="171" y="611"/>
                    </a:lnTo>
                    <a:lnTo>
                      <a:pt x="144" y="615"/>
                    </a:lnTo>
                    <a:lnTo>
                      <a:pt x="118" y="615"/>
                    </a:lnTo>
                    <a:lnTo>
                      <a:pt x="93" y="609"/>
                    </a:lnTo>
                    <a:lnTo>
                      <a:pt x="68" y="600"/>
                    </a:lnTo>
                    <a:lnTo>
                      <a:pt x="48" y="585"/>
                    </a:lnTo>
                    <a:lnTo>
                      <a:pt x="30" y="566"/>
                    </a:lnTo>
                    <a:lnTo>
                      <a:pt x="16" y="545"/>
                    </a:lnTo>
                    <a:lnTo>
                      <a:pt x="6" y="521"/>
                    </a:lnTo>
                    <a:lnTo>
                      <a:pt x="2" y="494"/>
                    </a:lnTo>
                    <a:lnTo>
                      <a:pt x="0" y="441"/>
                    </a:lnTo>
                    <a:lnTo>
                      <a:pt x="3" y="391"/>
                    </a:lnTo>
                    <a:lnTo>
                      <a:pt x="12" y="341"/>
                    </a:lnTo>
                    <a:lnTo>
                      <a:pt x="26" y="295"/>
                    </a:lnTo>
                    <a:lnTo>
                      <a:pt x="45" y="251"/>
                    </a:lnTo>
                    <a:lnTo>
                      <a:pt x="68" y="208"/>
                    </a:lnTo>
                    <a:lnTo>
                      <a:pt x="96" y="170"/>
                    </a:lnTo>
                    <a:lnTo>
                      <a:pt x="127" y="136"/>
                    </a:lnTo>
                    <a:lnTo>
                      <a:pt x="162" y="104"/>
                    </a:lnTo>
                    <a:lnTo>
                      <a:pt x="199" y="78"/>
                    </a:lnTo>
                    <a:lnTo>
                      <a:pt x="240" y="53"/>
                    </a:lnTo>
                    <a:lnTo>
                      <a:pt x="283" y="34"/>
                    </a:lnTo>
                    <a:lnTo>
                      <a:pt x="329" y="20"/>
                    </a:lnTo>
                    <a:lnTo>
                      <a:pt x="376" y="9"/>
                    </a:lnTo>
                    <a:lnTo>
                      <a:pt x="425" y="3"/>
                    </a:lnTo>
                    <a:lnTo>
                      <a:pt x="4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0">
                <a:extLst>
                  <a:ext uri="{FF2B5EF4-FFF2-40B4-BE49-F238E27FC236}">
                    <a16:creationId xmlns:a16="http://schemas.microsoft.com/office/drawing/2014/main" id="{8B2015D4-AFA9-42A4-A4A9-EB66E198F812}"/>
                  </a:ext>
                </a:extLst>
              </p:cNvPr>
              <p:cNvSpPr>
                <a:spLocks/>
              </p:cNvSpPr>
              <p:nvPr userDrawn="1"/>
            </p:nvSpPr>
            <p:spPr bwMode="auto">
              <a:xfrm>
                <a:off x="2989119" y="5677141"/>
                <a:ext cx="51233" cy="52009"/>
              </a:xfrm>
              <a:custGeom>
                <a:avLst/>
                <a:gdLst>
                  <a:gd name="T0" fmla="*/ 133 w 266"/>
                  <a:gd name="T1" fmla="*/ 0 h 266"/>
                  <a:gd name="T2" fmla="*/ 161 w 266"/>
                  <a:gd name="T3" fmla="*/ 2 h 266"/>
                  <a:gd name="T4" fmla="*/ 185 w 266"/>
                  <a:gd name="T5" fmla="*/ 10 h 266"/>
                  <a:gd name="T6" fmla="*/ 208 w 266"/>
                  <a:gd name="T7" fmla="*/ 22 h 266"/>
                  <a:gd name="T8" fmla="*/ 227 w 266"/>
                  <a:gd name="T9" fmla="*/ 39 h 266"/>
                  <a:gd name="T10" fmla="*/ 244 w 266"/>
                  <a:gd name="T11" fmla="*/ 59 h 266"/>
                  <a:gd name="T12" fmla="*/ 256 w 266"/>
                  <a:gd name="T13" fmla="*/ 81 h 266"/>
                  <a:gd name="T14" fmla="*/ 264 w 266"/>
                  <a:gd name="T15" fmla="*/ 106 h 266"/>
                  <a:gd name="T16" fmla="*/ 266 w 266"/>
                  <a:gd name="T17" fmla="*/ 133 h 266"/>
                  <a:gd name="T18" fmla="*/ 264 w 266"/>
                  <a:gd name="T19" fmla="*/ 159 h 266"/>
                  <a:gd name="T20" fmla="*/ 256 w 266"/>
                  <a:gd name="T21" fmla="*/ 184 h 266"/>
                  <a:gd name="T22" fmla="*/ 244 w 266"/>
                  <a:gd name="T23" fmla="*/ 206 h 266"/>
                  <a:gd name="T24" fmla="*/ 227 w 266"/>
                  <a:gd name="T25" fmla="*/ 227 h 266"/>
                  <a:gd name="T26" fmla="*/ 208 w 266"/>
                  <a:gd name="T27" fmla="*/ 242 h 266"/>
                  <a:gd name="T28" fmla="*/ 185 w 266"/>
                  <a:gd name="T29" fmla="*/ 255 h 266"/>
                  <a:gd name="T30" fmla="*/ 161 w 266"/>
                  <a:gd name="T31" fmla="*/ 262 h 266"/>
                  <a:gd name="T32" fmla="*/ 133 w 266"/>
                  <a:gd name="T33" fmla="*/ 266 h 266"/>
                  <a:gd name="T34" fmla="*/ 107 w 266"/>
                  <a:gd name="T35" fmla="*/ 262 h 266"/>
                  <a:gd name="T36" fmla="*/ 82 w 266"/>
                  <a:gd name="T37" fmla="*/ 255 h 266"/>
                  <a:gd name="T38" fmla="*/ 59 w 266"/>
                  <a:gd name="T39" fmla="*/ 242 h 266"/>
                  <a:gd name="T40" fmla="*/ 39 w 266"/>
                  <a:gd name="T41" fmla="*/ 227 h 266"/>
                  <a:gd name="T42" fmla="*/ 24 w 266"/>
                  <a:gd name="T43" fmla="*/ 206 h 266"/>
                  <a:gd name="T44" fmla="*/ 11 w 266"/>
                  <a:gd name="T45" fmla="*/ 184 h 266"/>
                  <a:gd name="T46" fmla="*/ 4 w 266"/>
                  <a:gd name="T47" fmla="*/ 159 h 266"/>
                  <a:gd name="T48" fmla="*/ 0 w 266"/>
                  <a:gd name="T49" fmla="*/ 133 h 266"/>
                  <a:gd name="T50" fmla="*/ 4 w 266"/>
                  <a:gd name="T51" fmla="*/ 106 h 266"/>
                  <a:gd name="T52" fmla="*/ 11 w 266"/>
                  <a:gd name="T53" fmla="*/ 81 h 266"/>
                  <a:gd name="T54" fmla="*/ 24 w 266"/>
                  <a:gd name="T55" fmla="*/ 59 h 266"/>
                  <a:gd name="T56" fmla="*/ 39 w 266"/>
                  <a:gd name="T57" fmla="*/ 39 h 266"/>
                  <a:gd name="T58" fmla="*/ 59 w 266"/>
                  <a:gd name="T59" fmla="*/ 22 h 266"/>
                  <a:gd name="T60" fmla="*/ 82 w 266"/>
                  <a:gd name="T61" fmla="*/ 10 h 266"/>
                  <a:gd name="T62" fmla="*/ 107 w 266"/>
                  <a:gd name="T63" fmla="*/ 2 h 266"/>
                  <a:gd name="T64" fmla="*/ 133 w 266"/>
                  <a:gd name="T6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6" h="266">
                    <a:moveTo>
                      <a:pt x="133" y="0"/>
                    </a:moveTo>
                    <a:lnTo>
                      <a:pt x="161" y="2"/>
                    </a:lnTo>
                    <a:lnTo>
                      <a:pt x="185" y="10"/>
                    </a:lnTo>
                    <a:lnTo>
                      <a:pt x="208" y="22"/>
                    </a:lnTo>
                    <a:lnTo>
                      <a:pt x="227" y="39"/>
                    </a:lnTo>
                    <a:lnTo>
                      <a:pt x="244" y="59"/>
                    </a:lnTo>
                    <a:lnTo>
                      <a:pt x="256" y="81"/>
                    </a:lnTo>
                    <a:lnTo>
                      <a:pt x="264" y="106"/>
                    </a:lnTo>
                    <a:lnTo>
                      <a:pt x="266" y="133"/>
                    </a:lnTo>
                    <a:lnTo>
                      <a:pt x="264" y="159"/>
                    </a:lnTo>
                    <a:lnTo>
                      <a:pt x="256" y="184"/>
                    </a:lnTo>
                    <a:lnTo>
                      <a:pt x="244" y="206"/>
                    </a:lnTo>
                    <a:lnTo>
                      <a:pt x="227" y="227"/>
                    </a:lnTo>
                    <a:lnTo>
                      <a:pt x="208" y="242"/>
                    </a:lnTo>
                    <a:lnTo>
                      <a:pt x="185" y="255"/>
                    </a:lnTo>
                    <a:lnTo>
                      <a:pt x="161" y="262"/>
                    </a:lnTo>
                    <a:lnTo>
                      <a:pt x="133" y="266"/>
                    </a:lnTo>
                    <a:lnTo>
                      <a:pt x="107" y="262"/>
                    </a:lnTo>
                    <a:lnTo>
                      <a:pt x="82" y="255"/>
                    </a:lnTo>
                    <a:lnTo>
                      <a:pt x="59" y="242"/>
                    </a:lnTo>
                    <a:lnTo>
                      <a:pt x="39" y="227"/>
                    </a:lnTo>
                    <a:lnTo>
                      <a:pt x="24" y="206"/>
                    </a:lnTo>
                    <a:lnTo>
                      <a:pt x="11" y="184"/>
                    </a:lnTo>
                    <a:lnTo>
                      <a:pt x="4" y="159"/>
                    </a:lnTo>
                    <a:lnTo>
                      <a:pt x="0" y="133"/>
                    </a:lnTo>
                    <a:lnTo>
                      <a:pt x="4" y="106"/>
                    </a:lnTo>
                    <a:lnTo>
                      <a:pt x="11" y="81"/>
                    </a:lnTo>
                    <a:lnTo>
                      <a:pt x="24" y="59"/>
                    </a:lnTo>
                    <a:lnTo>
                      <a:pt x="39" y="39"/>
                    </a:lnTo>
                    <a:lnTo>
                      <a:pt x="59" y="22"/>
                    </a:lnTo>
                    <a:lnTo>
                      <a:pt x="82" y="10"/>
                    </a:lnTo>
                    <a:lnTo>
                      <a:pt x="107" y="2"/>
                    </a:lnTo>
                    <a:lnTo>
                      <a:pt x="1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 name="Title 17">
            <a:extLst>
              <a:ext uri="{FF2B5EF4-FFF2-40B4-BE49-F238E27FC236}">
                <a16:creationId xmlns:a16="http://schemas.microsoft.com/office/drawing/2014/main" id="{C2B64B8A-D52A-4078-9319-DE45F0929F4A}"/>
              </a:ext>
            </a:extLst>
          </p:cNvPr>
          <p:cNvSpPr txBox="1">
            <a:spLocks/>
          </p:cNvSpPr>
          <p:nvPr userDrawn="1"/>
        </p:nvSpPr>
        <p:spPr>
          <a:xfrm>
            <a:off x="914400" y="3554585"/>
            <a:ext cx="10363200" cy="747897"/>
          </a:xfrm>
          <a:prstGeom prst="rect">
            <a:avLst/>
          </a:prstGeom>
        </p:spPr>
        <p:txBody>
          <a:bodyPr vert="horz" wrap="square" lIns="0" tIns="0" rIns="0" bIns="0" rtlCol="0" anchor="ctr">
            <a:spAutoFit/>
          </a:bodyPr>
          <a:lstStyle>
            <a:lvl1pPr algn="ctr" defTabSz="914400" rtl="0" eaLnBrk="1" latinLnBrk="0" hangingPunct="1">
              <a:lnSpc>
                <a:spcPct val="90000"/>
              </a:lnSpc>
              <a:spcBef>
                <a:spcPct val="0"/>
              </a:spcBef>
              <a:buNone/>
              <a:defRPr sz="5400" b="0" kern="1200">
                <a:ln w="3175">
                  <a:solidFill>
                    <a:schemeClr val="accent1"/>
                  </a:solidFill>
                </a:ln>
                <a:solidFill>
                  <a:schemeClr val="bg1"/>
                </a:solidFill>
                <a:latin typeface="+mj-lt"/>
                <a:ea typeface="+mj-ea"/>
                <a:cs typeface="+mj-cs"/>
              </a:defRPr>
            </a:lvl1pPr>
          </a:lstStyle>
          <a:p>
            <a:r>
              <a:rPr lang="en-US">
                <a:ln w="3175">
                  <a:noFill/>
                </a:ln>
              </a:rPr>
              <a:t>Questions and Next Steps</a:t>
            </a:r>
          </a:p>
        </p:txBody>
      </p:sp>
    </p:spTree>
    <p:extLst>
      <p:ext uri="{BB962C8B-B14F-4D97-AF65-F5344CB8AC3E}">
        <p14:creationId xmlns:p14="http://schemas.microsoft.com/office/powerpoint/2010/main" val="10743048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White)">
    <p:bg>
      <p:bgPr>
        <a:solidFill>
          <a:schemeClr val="bg1"/>
        </a:solidFill>
        <a:effectLst/>
      </p:bgPr>
    </p:bg>
    <p:spTree>
      <p:nvGrpSpPr>
        <p:cNvPr id="1" name=""/>
        <p:cNvGrpSpPr/>
        <p:nvPr/>
      </p:nvGrpSpPr>
      <p:grpSpPr>
        <a:xfrm>
          <a:off x="0" y="0"/>
          <a:ext cx="0" cy="0"/>
          <a:chOff x="0" y="0"/>
          <a:chExt cx="0" cy="0"/>
        </a:xfrm>
      </p:grpSpPr>
      <p:grpSp>
        <p:nvGrpSpPr>
          <p:cNvPr id="76" name="Graphic 55">
            <a:extLst>
              <a:ext uri="{FF2B5EF4-FFF2-40B4-BE49-F238E27FC236}">
                <a16:creationId xmlns:a16="http://schemas.microsoft.com/office/drawing/2014/main" id="{73F1EF5E-2F2D-401E-A1A0-3A923A620C1A}"/>
              </a:ext>
            </a:extLst>
          </p:cNvPr>
          <p:cNvGrpSpPr/>
          <p:nvPr userDrawn="1"/>
        </p:nvGrpSpPr>
        <p:grpSpPr>
          <a:xfrm>
            <a:off x="3415181" y="2516536"/>
            <a:ext cx="5411319" cy="1983622"/>
            <a:chOff x="3415181" y="2303021"/>
            <a:chExt cx="5411319" cy="1983622"/>
          </a:xfrm>
          <a:solidFill>
            <a:schemeClr val="tx1"/>
          </a:solidFill>
        </p:grpSpPr>
        <p:sp>
          <p:nvSpPr>
            <p:cNvPr id="77" name="Freeform: Shape 76">
              <a:extLst>
                <a:ext uri="{FF2B5EF4-FFF2-40B4-BE49-F238E27FC236}">
                  <a16:creationId xmlns:a16="http://schemas.microsoft.com/office/drawing/2014/main" id="{A147ACE1-8F7E-4EFD-AD9D-FCA176A43D44}"/>
                </a:ext>
              </a:extLst>
            </p:cNvPr>
            <p:cNvSpPr/>
            <p:nvPr/>
          </p:nvSpPr>
          <p:spPr>
            <a:xfrm>
              <a:off x="4490304" y="2760841"/>
              <a:ext cx="507807" cy="698235"/>
            </a:xfrm>
            <a:custGeom>
              <a:avLst/>
              <a:gdLst>
                <a:gd name="connsiteX0" fmla="*/ 302304 w 507807"/>
                <a:gd name="connsiteY0" fmla="*/ 76965 h 698234"/>
                <a:gd name="connsiteX1" fmla="*/ 302304 w 507807"/>
                <a:gd name="connsiteY1" fmla="*/ 700615 h 698234"/>
                <a:gd name="connsiteX2" fmla="*/ 208677 w 507807"/>
                <a:gd name="connsiteY2" fmla="*/ 700615 h 698234"/>
                <a:gd name="connsiteX3" fmla="*/ 208677 w 507807"/>
                <a:gd name="connsiteY3" fmla="*/ 76965 h 698234"/>
                <a:gd name="connsiteX4" fmla="*/ 11902 w 507807"/>
                <a:gd name="connsiteY4" fmla="*/ 76965 h 698234"/>
                <a:gd name="connsiteX5" fmla="*/ 11902 w 507807"/>
                <a:gd name="connsiteY5" fmla="*/ 11902 h 698234"/>
                <a:gd name="connsiteX6" fmla="*/ 499079 w 507807"/>
                <a:gd name="connsiteY6" fmla="*/ 11902 h 698234"/>
                <a:gd name="connsiteX7" fmla="*/ 499079 w 507807"/>
                <a:gd name="connsiteY7" fmla="*/ 76965 h 698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807" h="698234">
                  <a:moveTo>
                    <a:pt x="302304" y="76965"/>
                  </a:moveTo>
                  <a:lnTo>
                    <a:pt x="302304" y="700615"/>
                  </a:lnTo>
                  <a:lnTo>
                    <a:pt x="208677" y="700615"/>
                  </a:lnTo>
                  <a:lnTo>
                    <a:pt x="208677" y="76965"/>
                  </a:lnTo>
                  <a:lnTo>
                    <a:pt x="11902" y="76965"/>
                  </a:lnTo>
                  <a:lnTo>
                    <a:pt x="11902" y="11902"/>
                  </a:lnTo>
                  <a:lnTo>
                    <a:pt x="499079" y="11902"/>
                  </a:lnTo>
                  <a:lnTo>
                    <a:pt x="499079" y="76965"/>
                  </a:lnTo>
                  <a:close/>
                </a:path>
              </a:pathLst>
            </a:custGeom>
            <a:grpFill/>
            <a:ln w="952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9E70DB87-12B9-4319-9C77-89CFE2DAC855}"/>
                </a:ext>
              </a:extLst>
            </p:cNvPr>
            <p:cNvSpPr/>
            <p:nvPr/>
          </p:nvSpPr>
          <p:spPr>
            <a:xfrm>
              <a:off x="4917179" y="2954442"/>
              <a:ext cx="269773" cy="507807"/>
            </a:xfrm>
            <a:custGeom>
              <a:avLst/>
              <a:gdLst>
                <a:gd name="connsiteX0" fmla="*/ 11902 w 269772"/>
                <a:gd name="connsiteY0" fmla="*/ 507014 h 507807"/>
                <a:gd name="connsiteX1" fmla="*/ 11902 w 269772"/>
                <a:gd name="connsiteY1" fmla="*/ 19836 h 507807"/>
                <a:gd name="connsiteX2" fmla="*/ 96007 w 269772"/>
                <a:gd name="connsiteY2" fmla="*/ 19836 h 507807"/>
                <a:gd name="connsiteX3" fmla="*/ 96007 w 269772"/>
                <a:gd name="connsiteY3" fmla="*/ 83312 h 507807"/>
                <a:gd name="connsiteX4" fmla="*/ 215024 w 269772"/>
                <a:gd name="connsiteY4" fmla="*/ 11902 h 507807"/>
                <a:gd name="connsiteX5" fmla="*/ 272153 w 269772"/>
                <a:gd name="connsiteY5" fmla="*/ 30945 h 507807"/>
                <a:gd name="connsiteX6" fmla="*/ 272153 w 269772"/>
                <a:gd name="connsiteY6" fmla="*/ 107116 h 507807"/>
                <a:gd name="connsiteX7" fmla="*/ 191221 w 269772"/>
                <a:gd name="connsiteY7" fmla="*/ 80138 h 507807"/>
                <a:gd name="connsiteX8" fmla="*/ 96007 w 269772"/>
                <a:gd name="connsiteY8" fmla="*/ 172178 h 507807"/>
                <a:gd name="connsiteX9" fmla="*/ 96007 w 269772"/>
                <a:gd name="connsiteY9" fmla="*/ 507014 h 507807"/>
                <a:gd name="connsiteX10" fmla="*/ 11902 w 269772"/>
                <a:gd name="connsiteY10" fmla="*/ 507014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772" h="507807">
                  <a:moveTo>
                    <a:pt x="11902" y="507014"/>
                  </a:moveTo>
                  <a:lnTo>
                    <a:pt x="11902" y="19836"/>
                  </a:lnTo>
                  <a:lnTo>
                    <a:pt x="96007" y="19836"/>
                  </a:lnTo>
                  <a:lnTo>
                    <a:pt x="96007" y="83312"/>
                  </a:lnTo>
                  <a:cubicBezTo>
                    <a:pt x="107116" y="67443"/>
                    <a:pt x="145201" y="11902"/>
                    <a:pt x="215024" y="11902"/>
                  </a:cubicBezTo>
                  <a:cubicBezTo>
                    <a:pt x="245176" y="11902"/>
                    <a:pt x="261045" y="23010"/>
                    <a:pt x="272153" y="30945"/>
                  </a:cubicBezTo>
                  <a:lnTo>
                    <a:pt x="272153" y="107116"/>
                  </a:lnTo>
                  <a:cubicBezTo>
                    <a:pt x="259458" y="97594"/>
                    <a:pt x="232480" y="80138"/>
                    <a:pt x="191221" y="80138"/>
                  </a:cubicBezTo>
                  <a:cubicBezTo>
                    <a:pt x="107116" y="80138"/>
                    <a:pt x="96007" y="146788"/>
                    <a:pt x="96007" y="172178"/>
                  </a:cubicBezTo>
                  <a:lnTo>
                    <a:pt x="96007" y="507014"/>
                  </a:lnTo>
                  <a:lnTo>
                    <a:pt x="11902" y="507014"/>
                  </a:lnTo>
                  <a:close/>
                </a:path>
              </a:pathLst>
            </a:custGeom>
            <a:grpFill/>
            <a:ln w="95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1D191400-2E0B-4701-9D52-9BE5911BBCAB}"/>
                </a:ext>
              </a:extLst>
            </p:cNvPr>
            <p:cNvSpPr/>
            <p:nvPr/>
          </p:nvSpPr>
          <p:spPr>
            <a:xfrm>
              <a:off x="5248841" y="2962377"/>
              <a:ext cx="412593" cy="507807"/>
            </a:xfrm>
            <a:custGeom>
              <a:avLst/>
              <a:gdLst>
                <a:gd name="connsiteX0" fmla="*/ 319760 w 412593"/>
                <a:gd name="connsiteY0" fmla="*/ 499079 h 507807"/>
                <a:gd name="connsiteX1" fmla="*/ 319760 w 412593"/>
                <a:gd name="connsiteY1" fmla="*/ 441951 h 507807"/>
                <a:gd name="connsiteX2" fmla="*/ 159483 w 412593"/>
                <a:gd name="connsiteY2" fmla="*/ 508601 h 507807"/>
                <a:gd name="connsiteX3" fmla="*/ 65856 w 412593"/>
                <a:gd name="connsiteY3" fmla="*/ 480037 h 507807"/>
                <a:gd name="connsiteX4" fmla="*/ 11902 w 412593"/>
                <a:gd name="connsiteY4" fmla="*/ 330868 h 507807"/>
                <a:gd name="connsiteX5" fmla="*/ 11902 w 412593"/>
                <a:gd name="connsiteY5" fmla="*/ 11902 h 507807"/>
                <a:gd name="connsiteX6" fmla="*/ 94420 w 412593"/>
                <a:gd name="connsiteY6" fmla="*/ 11902 h 507807"/>
                <a:gd name="connsiteX7" fmla="*/ 94420 w 412593"/>
                <a:gd name="connsiteY7" fmla="*/ 308652 h 507807"/>
                <a:gd name="connsiteX8" fmla="*/ 194395 w 412593"/>
                <a:gd name="connsiteY8" fmla="*/ 454646 h 507807"/>
                <a:gd name="connsiteX9" fmla="*/ 291195 w 412593"/>
                <a:gd name="connsiteY9" fmla="*/ 419734 h 507807"/>
                <a:gd name="connsiteX10" fmla="*/ 319760 w 412593"/>
                <a:gd name="connsiteY10" fmla="*/ 341976 h 507807"/>
                <a:gd name="connsiteX11" fmla="*/ 319760 w 412593"/>
                <a:gd name="connsiteY11" fmla="*/ 11902 h 507807"/>
                <a:gd name="connsiteX12" fmla="*/ 402278 w 412593"/>
                <a:gd name="connsiteY12" fmla="*/ 11902 h 507807"/>
                <a:gd name="connsiteX13" fmla="*/ 402278 w 412593"/>
                <a:gd name="connsiteY13" fmla="*/ 499079 h 507807"/>
                <a:gd name="connsiteX14" fmla="*/ 319760 w 412593"/>
                <a:gd name="connsiteY14" fmla="*/ 499079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593" h="507807">
                  <a:moveTo>
                    <a:pt x="319760" y="499079"/>
                  </a:moveTo>
                  <a:lnTo>
                    <a:pt x="319760" y="441951"/>
                  </a:lnTo>
                  <a:cubicBezTo>
                    <a:pt x="294369" y="465754"/>
                    <a:pt x="240415" y="508601"/>
                    <a:pt x="159483" y="508601"/>
                  </a:cubicBezTo>
                  <a:cubicBezTo>
                    <a:pt x="129332" y="508601"/>
                    <a:pt x="97594" y="505427"/>
                    <a:pt x="65856" y="480037"/>
                  </a:cubicBezTo>
                  <a:cubicBezTo>
                    <a:pt x="16662" y="441951"/>
                    <a:pt x="11902" y="386410"/>
                    <a:pt x="11902" y="330868"/>
                  </a:cubicBezTo>
                  <a:lnTo>
                    <a:pt x="11902" y="11902"/>
                  </a:lnTo>
                  <a:lnTo>
                    <a:pt x="94420" y="11902"/>
                  </a:lnTo>
                  <a:lnTo>
                    <a:pt x="94420" y="308652"/>
                  </a:lnTo>
                  <a:cubicBezTo>
                    <a:pt x="94420" y="375301"/>
                    <a:pt x="100768" y="454646"/>
                    <a:pt x="194395" y="454646"/>
                  </a:cubicBezTo>
                  <a:cubicBezTo>
                    <a:pt x="226133" y="454646"/>
                    <a:pt x="268979" y="441951"/>
                    <a:pt x="291195" y="419734"/>
                  </a:cubicBezTo>
                  <a:cubicBezTo>
                    <a:pt x="314999" y="394344"/>
                    <a:pt x="319760" y="373714"/>
                    <a:pt x="319760" y="341976"/>
                  </a:cubicBezTo>
                  <a:lnTo>
                    <a:pt x="319760" y="11902"/>
                  </a:lnTo>
                  <a:lnTo>
                    <a:pt x="402278" y="11902"/>
                  </a:lnTo>
                  <a:lnTo>
                    <a:pt x="402278" y="499079"/>
                  </a:lnTo>
                  <a:lnTo>
                    <a:pt x="319760" y="499079"/>
                  </a:lnTo>
                  <a:close/>
                </a:path>
              </a:pathLst>
            </a:custGeom>
            <a:grpFill/>
            <a:ln w="95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62976DA9-578A-446C-931F-46CFFEDDF843}"/>
                </a:ext>
              </a:extLst>
            </p:cNvPr>
            <p:cNvSpPr/>
            <p:nvPr/>
          </p:nvSpPr>
          <p:spPr>
            <a:xfrm>
              <a:off x="5697933" y="2951269"/>
              <a:ext cx="380855" cy="523676"/>
            </a:xfrm>
            <a:custGeom>
              <a:avLst/>
              <a:gdLst>
                <a:gd name="connsiteX0" fmla="*/ 288022 w 380855"/>
                <a:gd name="connsiteY0" fmla="*/ 162657 h 523676"/>
                <a:gd name="connsiteX1" fmla="*/ 288022 w 380855"/>
                <a:gd name="connsiteY1" fmla="*/ 148375 h 523676"/>
                <a:gd name="connsiteX2" fmla="*/ 195982 w 380855"/>
                <a:gd name="connsiteY2" fmla="*/ 64269 h 523676"/>
                <a:gd name="connsiteX3" fmla="*/ 102355 w 380855"/>
                <a:gd name="connsiteY3" fmla="*/ 137267 h 523676"/>
                <a:gd name="connsiteX4" fmla="*/ 197569 w 380855"/>
                <a:gd name="connsiteY4" fmla="*/ 216612 h 523676"/>
                <a:gd name="connsiteX5" fmla="*/ 248349 w 380855"/>
                <a:gd name="connsiteY5" fmla="*/ 230894 h 523676"/>
                <a:gd name="connsiteX6" fmla="*/ 376888 w 380855"/>
                <a:gd name="connsiteY6" fmla="*/ 373714 h 523676"/>
                <a:gd name="connsiteX7" fmla="*/ 192808 w 380855"/>
                <a:gd name="connsiteY7" fmla="*/ 521296 h 523676"/>
                <a:gd name="connsiteX8" fmla="*/ 11902 w 380855"/>
                <a:gd name="connsiteY8" fmla="*/ 373714 h 523676"/>
                <a:gd name="connsiteX9" fmla="*/ 11902 w 380855"/>
                <a:gd name="connsiteY9" fmla="*/ 361019 h 523676"/>
                <a:gd name="connsiteX10" fmla="*/ 96007 w 380855"/>
                <a:gd name="connsiteY10" fmla="*/ 361019 h 523676"/>
                <a:gd name="connsiteX11" fmla="*/ 96007 w 380855"/>
                <a:gd name="connsiteY11" fmla="*/ 373714 h 523676"/>
                <a:gd name="connsiteX12" fmla="*/ 200742 w 380855"/>
                <a:gd name="connsiteY12" fmla="*/ 467341 h 523676"/>
                <a:gd name="connsiteX13" fmla="*/ 295956 w 380855"/>
                <a:gd name="connsiteY13" fmla="*/ 391170 h 523676"/>
                <a:gd name="connsiteX14" fmla="*/ 203916 w 380855"/>
                <a:gd name="connsiteY14" fmla="*/ 302304 h 523676"/>
                <a:gd name="connsiteX15" fmla="*/ 142027 w 380855"/>
                <a:gd name="connsiteY15" fmla="*/ 283261 h 523676"/>
                <a:gd name="connsiteX16" fmla="*/ 27771 w 380855"/>
                <a:gd name="connsiteY16" fmla="*/ 157896 h 523676"/>
                <a:gd name="connsiteX17" fmla="*/ 200742 w 380855"/>
                <a:gd name="connsiteY17" fmla="*/ 11902 h 523676"/>
                <a:gd name="connsiteX18" fmla="*/ 368954 w 380855"/>
                <a:gd name="connsiteY18" fmla="*/ 156309 h 523676"/>
                <a:gd name="connsiteX19" fmla="*/ 368954 w 380855"/>
                <a:gd name="connsiteY19" fmla="*/ 162657 h 523676"/>
                <a:gd name="connsiteX20" fmla="*/ 288022 w 380855"/>
                <a:gd name="connsiteY20" fmla="*/ 162657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0855" h="523676">
                  <a:moveTo>
                    <a:pt x="288022" y="162657"/>
                  </a:moveTo>
                  <a:lnTo>
                    <a:pt x="288022" y="148375"/>
                  </a:lnTo>
                  <a:cubicBezTo>
                    <a:pt x="288022" y="115050"/>
                    <a:pt x="272153" y="64269"/>
                    <a:pt x="195982" y="64269"/>
                  </a:cubicBezTo>
                  <a:cubicBezTo>
                    <a:pt x="130919" y="64269"/>
                    <a:pt x="102355" y="100768"/>
                    <a:pt x="102355" y="137267"/>
                  </a:cubicBezTo>
                  <a:cubicBezTo>
                    <a:pt x="102355" y="184874"/>
                    <a:pt x="151548" y="203916"/>
                    <a:pt x="197569" y="216612"/>
                  </a:cubicBezTo>
                  <a:lnTo>
                    <a:pt x="248349" y="230894"/>
                  </a:lnTo>
                  <a:cubicBezTo>
                    <a:pt x="330868" y="254697"/>
                    <a:pt x="376888" y="295956"/>
                    <a:pt x="376888" y="373714"/>
                  </a:cubicBezTo>
                  <a:cubicBezTo>
                    <a:pt x="376888" y="446712"/>
                    <a:pt x="330868" y="521296"/>
                    <a:pt x="192808" y="521296"/>
                  </a:cubicBezTo>
                  <a:cubicBezTo>
                    <a:pt x="56335" y="521296"/>
                    <a:pt x="11902" y="454646"/>
                    <a:pt x="11902" y="373714"/>
                  </a:cubicBezTo>
                  <a:lnTo>
                    <a:pt x="11902" y="361019"/>
                  </a:lnTo>
                  <a:lnTo>
                    <a:pt x="96007" y="361019"/>
                  </a:lnTo>
                  <a:lnTo>
                    <a:pt x="96007" y="373714"/>
                  </a:lnTo>
                  <a:cubicBezTo>
                    <a:pt x="96007" y="414974"/>
                    <a:pt x="115050" y="467341"/>
                    <a:pt x="200742" y="467341"/>
                  </a:cubicBezTo>
                  <a:cubicBezTo>
                    <a:pt x="272153" y="467341"/>
                    <a:pt x="295956" y="430843"/>
                    <a:pt x="295956" y="391170"/>
                  </a:cubicBezTo>
                  <a:cubicBezTo>
                    <a:pt x="295956" y="330868"/>
                    <a:pt x="248349" y="316586"/>
                    <a:pt x="203916" y="302304"/>
                  </a:cubicBezTo>
                  <a:lnTo>
                    <a:pt x="142027" y="283261"/>
                  </a:lnTo>
                  <a:cubicBezTo>
                    <a:pt x="111876" y="273740"/>
                    <a:pt x="27771" y="249936"/>
                    <a:pt x="27771" y="157896"/>
                  </a:cubicBezTo>
                  <a:cubicBezTo>
                    <a:pt x="27771" y="88073"/>
                    <a:pt x="69030" y="11902"/>
                    <a:pt x="200742" y="11902"/>
                  </a:cubicBezTo>
                  <a:cubicBezTo>
                    <a:pt x="284848" y="11902"/>
                    <a:pt x="368954" y="46813"/>
                    <a:pt x="368954" y="156309"/>
                  </a:cubicBezTo>
                  <a:lnTo>
                    <a:pt x="368954" y="162657"/>
                  </a:lnTo>
                  <a:lnTo>
                    <a:pt x="288022" y="162657"/>
                  </a:lnTo>
                  <a:close/>
                </a:path>
              </a:pathLst>
            </a:custGeom>
            <a:grpFill/>
            <a:ln w="95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7C5C787D-5C59-49BA-A264-A611C7B3538D}"/>
                </a:ext>
              </a:extLst>
            </p:cNvPr>
            <p:cNvSpPr/>
            <p:nvPr/>
          </p:nvSpPr>
          <p:spPr>
            <a:xfrm>
              <a:off x="6131155" y="2840186"/>
              <a:ext cx="888662" cy="634759"/>
            </a:xfrm>
            <a:custGeom>
              <a:avLst/>
              <a:gdLst>
                <a:gd name="connsiteX0" fmla="*/ 802177 w 888662"/>
                <a:gd name="connsiteY0" fmla="*/ 134093 h 634759"/>
                <a:gd name="connsiteX1" fmla="*/ 692681 w 888662"/>
                <a:gd name="connsiteY1" fmla="*/ 535578 h 634759"/>
                <a:gd name="connsiteX2" fmla="*/ 581598 w 888662"/>
                <a:gd name="connsiteY2" fmla="*/ 134093 h 634759"/>
                <a:gd name="connsiteX3" fmla="*/ 503840 w 888662"/>
                <a:gd name="connsiteY3" fmla="*/ 134093 h 634759"/>
                <a:gd name="connsiteX4" fmla="*/ 378475 w 888662"/>
                <a:gd name="connsiteY4" fmla="*/ 533991 h 634759"/>
                <a:gd name="connsiteX5" fmla="*/ 273740 w 888662"/>
                <a:gd name="connsiteY5" fmla="*/ 132506 h 634759"/>
                <a:gd name="connsiteX6" fmla="*/ 97594 w 888662"/>
                <a:gd name="connsiteY6" fmla="*/ 132506 h 634759"/>
                <a:gd name="connsiteX7" fmla="*/ 97594 w 888662"/>
                <a:gd name="connsiteY7" fmla="*/ 11902 h 634759"/>
                <a:gd name="connsiteX8" fmla="*/ 13489 w 888662"/>
                <a:gd name="connsiteY8" fmla="*/ 26184 h 634759"/>
                <a:gd name="connsiteX9" fmla="*/ 11902 w 888662"/>
                <a:gd name="connsiteY9" fmla="*/ 475276 h 634759"/>
                <a:gd name="connsiteX10" fmla="*/ 48400 w 888662"/>
                <a:gd name="connsiteY10" fmla="*/ 608575 h 634759"/>
                <a:gd name="connsiteX11" fmla="*/ 124572 w 888662"/>
                <a:gd name="connsiteY11" fmla="*/ 630792 h 634759"/>
                <a:gd name="connsiteX12" fmla="*/ 216612 w 888662"/>
                <a:gd name="connsiteY12" fmla="*/ 614923 h 634759"/>
                <a:gd name="connsiteX13" fmla="*/ 216612 w 888662"/>
                <a:gd name="connsiteY13" fmla="*/ 557795 h 634759"/>
                <a:gd name="connsiteX14" fmla="*/ 161070 w 888662"/>
                <a:gd name="connsiteY14" fmla="*/ 568903 h 634759"/>
                <a:gd name="connsiteX15" fmla="*/ 97594 w 888662"/>
                <a:gd name="connsiteY15" fmla="*/ 478450 h 634759"/>
                <a:gd name="connsiteX16" fmla="*/ 99181 w 888662"/>
                <a:gd name="connsiteY16" fmla="*/ 183287 h 634759"/>
                <a:gd name="connsiteX17" fmla="*/ 202329 w 888662"/>
                <a:gd name="connsiteY17" fmla="*/ 183287 h 634759"/>
                <a:gd name="connsiteX18" fmla="*/ 329281 w 888662"/>
                <a:gd name="connsiteY18" fmla="*/ 621270 h 634759"/>
                <a:gd name="connsiteX19" fmla="*/ 418147 w 888662"/>
                <a:gd name="connsiteY19" fmla="*/ 621270 h 634759"/>
                <a:gd name="connsiteX20" fmla="*/ 535578 w 888662"/>
                <a:gd name="connsiteY20" fmla="*/ 246763 h 634759"/>
                <a:gd name="connsiteX21" fmla="*/ 643487 w 888662"/>
                <a:gd name="connsiteY21" fmla="*/ 621270 h 634759"/>
                <a:gd name="connsiteX22" fmla="*/ 733940 w 888662"/>
                <a:gd name="connsiteY22" fmla="*/ 621270 h 634759"/>
                <a:gd name="connsiteX23" fmla="*/ 878348 w 888662"/>
                <a:gd name="connsiteY23" fmla="*/ 134093 h 634759"/>
                <a:gd name="connsiteX24" fmla="*/ 802177 w 888662"/>
                <a:gd name="connsiteY24" fmla="*/ 134093 h 634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8662" h="634759">
                  <a:moveTo>
                    <a:pt x="802177" y="134093"/>
                  </a:moveTo>
                  <a:lnTo>
                    <a:pt x="692681" y="535578"/>
                  </a:lnTo>
                  <a:lnTo>
                    <a:pt x="581598" y="134093"/>
                  </a:lnTo>
                  <a:lnTo>
                    <a:pt x="503840" y="134093"/>
                  </a:lnTo>
                  <a:lnTo>
                    <a:pt x="378475" y="533991"/>
                  </a:lnTo>
                  <a:lnTo>
                    <a:pt x="273740" y="132506"/>
                  </a:lnTo>
                  <a:lnTo>
                    <a:pt x="97594" y="132506"/>
                  </a:lnTo>
                  <a:lnTo>
                    <a:pt x="97594" y="11902"/>
                  </a:lnTo>
                  <a:lnTo>
                    <a:pt x="13489" y="26184"/>
                  </a:lnTo>
                  <a:lnTo>
                    <a:pt x="11902" y="475276"/>
                  </a:lnTo>
                  <a:cubicBezTo>
                    <a:pt x="11902" y="553034"/>
                    <a:pt x="15076" y="583185"/>
                    <a:pt x="48400" y="608575"/>
                  </a:cubicBezTo>
                  <a:cubicBezTo>
                    <a:pt x="76965" y="630792"/>
                    <a:pt x="113463" y="630792"/>
                    <a:pt x="124572" y="630792"/>
                  </a:cubicBezTo>
                  <a:cubicBezTo>
                    <a:pt x="167418" y="630792"/>
                    <a:pt x="199156" y="619684"/>
                    <a:pt x="216612" y="614923"/>
                  </a:cubicBezTo>
                  <a:lnTo>
                    <a:pt x="216612" y="557795"/>
                  </a:lnTo>
                  <a:cubicBezTo>
                    <a:pt x="207090" y="560968"/>
                    <a:pt x="188047" y="568903"/>
                    <a:pt x="161070" y="568903"/>
                  </a:cubicBezTo>
                  <a:cubicBezTo>
                    <a:pt x="103942" y="568903"/>
                    <a:pt x="97594" y="529230"/>
                    <a:pt x="97594" y="478450"/>
                  </a:cubicBezTo>
                  <a:lnTo>
                    <a:pt x="99181" y="183287"/>
                  </a:lnTo>
                  <a:lnTo>
                    <a:pt x="202329" y="183287"/>
                  </a:lnTo>
                  <a:lnTo>
                    <a:pt x="329281" y="621270"/>
                  </a:lnTo>
                  <a:lnTo>
                    <a:pt x="418147" y="621270"/>
                  </a:lnTo>
                  <a:lnTo>
                    <a:pt x="535578" y="246763"/>
                  </a:lnTo>
                  <a:lnTo>
                    <a:pt x="643487" y="621270"/>
                  </a:lnTo>
                  <a:lnTo>
                    <a:pt x="733940" y="621270"/>
                  </a:lnTo>
                  <a:lnTo>
                    <a:pt x="878348" y="134093"/>
                  </a:lnTo>
                  <a:lnTo>
                    <a:pt x="802177" y="134093"/>
                  </a:lnTo>
                  <a:close/>
                </a:path>
              </a:pathLst>
            </a:custGeom>
            <a:grpFill/>
            <a:ln w="9525"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83ED28D6-5C8D-4B75-B156-C7F203E77762}"/>
                </a:ext>
              </a:extLst>
            </p:cNvPr>
            <p:cNvSpPr/>
            <p:nvPr/>
          </p:nvSpPr>
          <p:spPr>
            <a:xfrm>
              <a:off x="7013470" y="2951269"/>
              <a:ext cx="412593" cy="523676"/>
            </a:xfrm>
            <a:custGeom>
              <a:avLst/>
              <a:gdLst>
                <a:gd name="connsiteX0" fmla="*/ 348324 w 412593"/>
                <a:gd name="connsiteY0" fmla="*/ 510188 h 523676"/>
                <a:gd name="connsiteX1" fmla="*/ 308651 w 412593"/>
                <a:gd name="connsiteY1" fmla="*/ 470515 h 523676"/>
                <a:gd name="connsiteX2" fmla="*/ 308651 w 412593"/>
                <a:gd name="connsiteY2" fmla="*/ 456233 h 523676"/>
                <a:gd name="connsiteX3" fmla="*/ 164244 w 412593"/>
                <a:gd name="connsiteY3" fmla="*/ 519709 h 523676"/>
                <a:gd name="connsiteX4" fmla="*/ 11902 w 412593"/>
                <a:gd name="connsiteY4" fmla="*/ 378475 h 523676"/>
                <a:gd name="connsiteX5" fmla="*/ 73791 w 412593"/>
                <a:gd name="connsiteY5" fmla="*/ 264218 h 523676"/>
                <a:gd name="connsiteX6" fmla="*/ 310238 w 412593"/>
                <a:gd name="connsiteY6" fmla="*/ 215025 h 523676"/>
                <a:gd name="connsiteX7" fmla="*/ 310238 w 412593"/>
                <a:gd name="connsiteY7" fmla="*/ 162657 h 523676"/>
                <a:gd name="connsiteX8" fmla="*/ 218198 w 412593"/>
                <a:gd name="connsiteY8" fmla="*/ 65856 h 523676"/>
                <a:gd name="connsiteX9" fmla="*/ 110289 w 412593"/>
                <a:gd name="connsiteY9" fmla="*/ 170591 h 523676"/>
                <a:gd name="connsiteX10" fmla="*/ 110289 w 412593"/>
                <a:gd name="connsiteY10" fmla="*/ 176939 h 523676"/>
                <a:gd name="connsiteX11" fmla="*/ 30944 w 412593"/>
                <a:gd name="connsiteY11" fmla="*/ 176939 h 523676"/>
                <a:gd name="connsiteX12" fmla="*/ 30944 w 412593"/>
                <a:gd name="connsiteY12" fmla="*/ 162657 h 523676"/>
                <a:gd name="connsiteX13" fmla="*/ 224546 w 412593"/>
                <a:gd name="connsiteY13" fmla="*/ 11902 h 523676"/>
                <a:gd name="connsiteX14" fmla="*/ 370541 w 412593"/>
                <a:gd name="connsiteY14" fmla="*/ 67443 h 523676"/>
                <a:gd name="connsiteX15" fmla="*/ 392757 w 412593"/>
                <a:gd name="connsiteY15" fmla="*/ 172178 h 523676"/>
                <a:gd name="connsiteX16" fmla="*/ 392757 w 412593"/>
                <a:gd name="connsiteY16" fmla="*/ 438777 h 523676"/>
                <a:gd name="connsiteX17" fmla="*/ 414974 w 412593"/>
                <a:gd name="connsiteY17" fmla="*/ 497492 h 523676"/>
                <a:gd name="connsiteX18" fmla="*/ 414974 w 412593"/>
                <a:gd name="connsiteY18" fmla="*/ 510188 h 523676"/>
                <a:gd name="connsiteX19" fmla="*/ 348324 w 412593"/>
                <a:gd name="connsiteY19" fmla="*/ 510188 h 523676"/>
                <a:gd name="connsiteX20" fmla="*/ 307065 w 412593"/>
                <a:gd name="connsiteY20" fmla="*/ 261045 h 523676"/>
                <a:gd name="connsiteX21" fmla="*/ 142027 w 412593"/>
                <a:gd name="connsiteY21" fmla="*/ 297543 h 523676"/>
                <a:gd name="connsiteX22" fmla="*/ 97594 w 412593"/>
                <a:gd name="connsiteY22" fmla="*/ 376888 h 523676"/>
                <a:gd name="connsiteX23" fmla="*/ 186460 w 412593"/>
                <a:gd name="connsiteY23" fmla="*/ 464168 h 523676"/>
                <a:gd name="connsiteX24" fmla="*/ 261045 w 412593"/>
                <a:gd name="connsiteY24" fmla="*/ 443538 h 523676"/>
                <a:gd name="connsiteX25" fmla="*/ 305478 w 412593"/>
                <a:gd name="connsiteY25" fmla="*/ 334042 h 523676"/>
                <a:gd name="connsiteX26" fmla="*/ 305478 w 412593"/>
                <a:gd name="connsiteY26" fmla="*/ 261045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2593" h="523676">
                  <a:moveTo>
                    <a:pt x="348324" y="510188"/>
                  </a:moveTo>
                  <a:cubicBezTo>
                    <a:pt x="316586" y="510188"/>
                    <a:pt x="308651" y="499079"/>
                    <a:pt x="308651" y="470515"/>
                  </a:cubicBezTo>
                  <a:lnTo>
                    <a:pt x="308651" y="456233"/>
                  </a:lnTo>
                  <a:cubicBezTo>
                    <a:pt x="267392" y="503840"/>
                    <a:pt x="210264" y="519709"/>
                    <a:pt x="164244" y="519709"/>
                  </a:cubicBezTo>
                  <a:cubicBezTo>
                    <a:pt x="70617" y="519709"/>
                    <a:pt x="11902" y="472102"/>
                    <a:pt x="11902" y="378475"/>
                  </a:cubicBezTo>
                  <a:cubicBezTo>
                    <a:pt x="11902" y="311825"/>
                    <a:pt x="51574" y="276914"/>
                    <a:pt x="73791" y="264218"/>
                  </a:cubicBezTo>
                  <a:cubicBezTo>
                    <a:pt x="107116" y="245176"/>
                    <a:pt x="153135" y="229307"/>
                    <a:pt x="310238" y="215025"/>
                  </a:cubicBezTo>
                  <a:lnTo>
                    <a:pt x="310238" y="162657"/>
                  </a:lnTo>
                  <a:cubicBezTo>
                    <a:pt x="310238" y="97594"/>
                    <a:pt x="283261" y="65856"/>
                    <a:pt x="218198" y="65856"/>
                  </a:cubicBezTo>
                  <a:cubicBezTo>
                    <a:pt x="188047" y="65856"/>
                    <a:pt x="110289" y="69030"/>
                    <a:pt x="110289" y="170591"/>
                  </a:cubicBezTo>
                  <a:lnTo>
                    <a:pt x="110289" y="176939"/>
                  </a:lnTo>
                  <a:lnTo>
                    <a:pt x="30944" y="176939"/>
                  </a:lnTo>
                  <a:lnTo>
                    <a:pt x="30944" y="162657"/>
                  </a:lnTo>
                  <a:cubicBezTo>
                    <a:pt x="30944" y="46813"/>
                    <a:pt x="129332" y="11902"/>
                    <a:pt x="224546" y="11902"/>
                  </a:cubicBezTo>
                  <a:cubicBezTo>
                    <a:pt x="302304" y="11902"/>
                    <a:pt x="348324" y="35705"/>
                    <a:pt x="370541" y="67443"/>
                  </a:cubicBezTo>
                  <a:cubicBezTo>
                    <a:pt x="389583" y="94420"/>
                    <a:pt x="392757" y="135680"/>
                    <a:pt x="392757" y="172178"/>
                  </a:cubicBezTo>
                  <a:lnTo>
                    <a:pt x="392757" y="438777"/>
                  </a:lnTo>
                  <a:cubicBezTo>
                    <a:pt x="392757" y="475276"/>
                    <a:pt x="397518" y="495906"/>
                    <a:pt x="414974" y="497492"/>
                  </a:cubicBezTo>
                  <a:lnTo>
                    <a:pt x="414974" y="510188"/>
                  </a:lnTo>
                  <a:lnTo>
                    <a:pt x="348324" y="510188"/>
                  </a:lnTo>
                  <a:close/>
                  <a:moveTo>
                    <a:pt x="307065" y="261045"/>
                  </a:moveTo>
                  <a:cubicBezTo>
                    <a:pt x="207090" y="272153"/>
                    <a:pt x="164244" y="284848"/>
                    <a:pt x="142027" y="297543"/>
                  </a:cubicBezTo>
                  <a:cubicBezTo>
                    <a:pt x="108703" y="316586"/>
                    <a:pt x="97594" y="346737"/>
                    <a:pt x="97594" y="376888"/>
                  </a:cubicBezTo>
                  <a:cubicBezTo>
                    <a:pt x="97594" y="430843"/>
                    <a:pt x="129332" y="464168"/>
                    <a:pt x="186460" y="464168"/>
                  </a:cubicBezTo>
                  <a:cubicBezTo>
                    <a:pt x="216611" y="464168"/>
                    <a:pt x="242002" y="456233"/>
                    <a:pt x="261045" y="443538"/>
                  </a:cubicBezTo>
                  <a:cubicBezTo>
                    <a:pt x="302304" y="416561"/>
                    <a:pt x="305478" y="370541"/>
                    <a:pt x="305478" y="334042"/>
                  </a:cubicBezTo>
                  <a:lnTo>
                    <a:pt x="305478" y="261045"/>
                  </a:lnTo>
                  <a:close/>
                </a:path>
              </a:pathLst>
            </a:custGeom>
            <a:grpFill/>
            <a:ln w="952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A6423303-2D8A-442A-A53C-89C3524DFDA2}"/>
                </a:ext>
              </a:extLst>
            </p:cNvPr>
            <p:cNvSpPr/>
            <p:nvPr/>
          </p:nvSpPr>
          <p:spPr>
            <a:xfrm>
              <a:off x="7432411" y="2962377"/>
              <a:ext cx="444331" cy="507807"/>
            </a:xfrm>
            <a:custGeom>
              <a:avLst/>
              <a:gdLst>
                <a:gd name="connsiteX0" fmla="*/ 262632 w 444331"/>
                <a:gd name="connsiteY0" fmla="*/ 499079 h 507807"/>
                <a:gd name="connsiteX1" fmla="*/ 173765 w 444331"/>
                <a:gd name="connsiteY1" fmla="*/ 499079 h 507807"/>
                <a:gd name="connsiteX2" fmla="*/ 11902 w 444331"/>
                <a:gd name="connsiteY2" fmla="*/ 11902 h 507807"/>
                <a:gd name="connsiteX3" fmla="*/ 103942 w 444331"/>
                <a:gd name="connsiteY3" fmla="*/ 11902 h 507807"/>
                <a:gd name="connsiteX4" fmla="*/ 226133 w 444331"/>
                <a:gd name="connsiteY4" fmla="*/ 411800 h 507807"/>
                <a:gd name="connsiteX5" fmla="*/ 364193 w 444331"/>
                <a:gd name="connsiteY5" fmla="*/ 11902 h 507807"/>
                <a:gd name="connsiteX6" fmla="*/ 440364 w 444331"/>
                <a:gd name="connsiteY6" fmla="*/ 11902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331" h="507807">
                  <a:moveTo>
                    <a:pt x="262632" y="499079"/>
                  </a:moveTo>
                  <a:lnTo>
                    <a:pt x="173765" y="499079"/>
                  </a:lnTo>
                  <a:lnTo>
                    <a:pt x="11902" y="11902"/>
                  </a:lnTo>
                  <a:lnTo>
                    <a:pt x="103942" y="11902"/>
                  </a:lnTo>
                  <a:lnTo>
                    <a:pt x="226133" y="411800"/>
                  </a:lnTo>
                  <a:lnTo>
                    <a:pt x="364193" y="11902"/>
                  </a:lnTo>
                  <a:lnTo>
                    <a:pt x="440364" y="11902"/>
                  </a:lnTo>
                  <a:close/>
                </a:path>
              </a:pathLst>
            </a:custGeom>
            <a:grpFill/>
            <a:ln w="952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78A1BBE-E67E-4255-85FE-C8786639AC5C}"/>
                </a:ext>
              </a:extLst>
            </p:cNvPr>
            <p:cNvSpPr/>
            <p:nvPr/>
          </p:nvSpPr>
          <p:spPr>
            <a:xfrm>
              <a:off x="7871982" y="2951269"/>
              <a:ext cx="428462" cy="523676"/>
            </a:xfrm>
            <a:custGeom>
              <a:avLst/>
              <a:gdLst>
                <a:gd name="connsiteX0" fmla="*/ 99181 w 428462"/>
                <a:gd name="connsiteY0" fmla="*/ 268979 h 523676"/>
                <a:gd name="connsiteX1" fmla="*/ 227720 w 428462"/>
                <a:gd name="connsiteY1" fmla="*/ 465754 h 523676"/>
                <a:gd name="connsiteX2" fmla="*/ 340389 w 428462"/>
                <a:gd name="connsiteY2" fmla="*/ 361019 h 523676"/>
                <a:gd name="connsiteX3" fmla="*/ 422908 w 428462"/>
                <a:gd name="connsiteY3" fmla="*/ 361019 h 523676"/>
                <a:gd name="connsiteX4" fmla="*/ 224546 w 428462"/>
                <a:gd name="connsiteY4" fmla="*/ 519709 h 523676"/>
                <a:gd name="connsiteX5" fmla="*/ 11902 w 428462"/>
                <a:gd name="connsiteY5" fmla="*/ 280087 h 523676"/>
                <a:gd name="connsiteX6" fmla="*/ 230893 w 428462"/>
                <a:gd name="connsiteY6" fmla="*/ 11902 h 523676"/>
                <a:gd name="connsiteX7" fmla="*/ 426082 w 428462"/>
                <a:gd name="connsiteY7" fmla="*/ 240415 h 523676"/>
                <a:gd name="connsiteX8" fmla="*/ 426082 w 428462"/>
                <a:gd name="connsiteY8" fmla="*/ 264218 h 523676"/>
                <a:gd name="connsiteX9" fmla="*/ 100768 w 428462"/>
                <a:gd name="connsiteY9" fmla="*/ 264218 h 523676"/>
                <a:gd name="connsiteX10" fmla="*/ 100768 w 428462"/>
                <a:gd name="connsiteY10" fmla="*/ 268979 h 523676"/>
                <a:gd name="connsiteX11" fmla="*/ 340389 w 428462"/>
                <a:gd name="connsiteY11" fmla="*/ 213438 h 523676"/>
                <a:gd name="connsiteX12" fmla="*/ 229306 w 428462"/>
                <a:gd name="connsiteY12" fmla="*/ 65856 h 523676"/>
                <a:gd name="connsiteX13" fmla="*/ 100768 w 428462"/>
                <a:gd name="connsiteY13" fmla="*/ 213438 h 523676"/>
                <a:gd name="connsiteX14" fmla="*/ 340389 w 428462"/>
                <a:gd name="connsiteY14" fmla="*/ 213438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462" h="523676">
                  <a:moveTo>
                    <a:pt x="99181" y="268979"/>
                  </a:moveTo>
                  <a:cubicBezTo>
                    <a:pt x="99181" y="329281"/>
                    <a:pt x="100768" y="465754"/>
                    <a:pt x="227720" y="465754"/>
                  </a:cubicBezTo>
                  <a:cubicBezTo>
                    <a:pt x="259458" y="465754"/>
                    <a:pt x="334042" y="453059"/>
                    <a:pt x="340389" y="361019"/>
                  </a:cubicBezTo>
                  <a:lnTo>
                    <a:pt x="422908" y="361019"/>
                  </a:lnTo>
                  <a:cubicBezTo>
                    <a:pt x="422908" y="443538"/>
                    <a:pt x="356258" y="519709"/>
                    <a:pt x="224546" y="519709"/>
                  </a:cubicBezTo>
                  <a:cubicBezTo>
                    <a:pt x="70617" y="519709"/>
                    <a:pt x="11902" y="419735"/>
                    <a:pt x="11902" y="280087"/>
                  </a:cubicBezTo>
                  <a:cubicBezTo>
                    <a:pt x="11902" y="121398"/>
                    <a:pt x="75378" y="11902"/>
                    <a:pt x="230893" y="11902"/>
                  </a:cubicBezTo>
                  <a:cubicBezTo>
                    <a:pt x="356258" y="11902"/>
                    <a:pt x="426082" y="83312"/>
                    <a:pt x="426082" y="240415"/>
                  </a:cubicBezTo>
                  <a:lnTo>
                    <a:pt x="426082" y="264218"/>
                  </a:lnTo>
                  <a:lnTo>
                    <a:pt x="100768" y="264218"/>
                  </a:lnTo>
                  <a:lnTo>
                    <a:pt x="100768" y="268979"/>
                  </a:lnTo>
                  <a:close/>
                  <a:moveTo>
                    <a:pt x="340389" y="213438"/>
                  </a:moveTo>
                  <a:cubicBezTo>
                    <a:pt x="338803" y="183287"/>
                    <a:pt x="337216" y="65856"/>
                    <a:pt x="229306" y="65856"/>
                  </a:cubicBezTo>
                  <a:cubicBezTo>
                    <a:pt x="159483" y="65856"/>
                    <a:pt x="107116" y="115050"/>
                    <a:pt x="100768" y="213438"/>
                  </a:cubicBezTo>
                  <a:lnTo>
                    <a:pt x="340389" y="213438"/>
                  </a:lnTo>
                  <a:close/>
                </a:path>
              </a:pathLst>
            </a:custGeom>
            <a:grpFill/>
            <a:ln w="95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1D2B8B27-91BB-4D28-930E-EE0DF86781FB}"/>
                </a:ext>
              </a:extLst>
            </p:cNvPr>
            <p:cNvSpPr/>
            <p:nvPr/>
          </p:nvSpPr>
          <p:spPr>
            <a:xfrm>
              <a:off x="3671465" y="2795753"/>
              <a:ext cx="444331" cy="539545"/>
            </a:xfrm>
            <a:custGeom>
              <a:avLst/>
              <a:gdLst>
                <a:gd name="connsiteX0" fmla="*/ 11902 w 444331"/>
                <a:gd name="connsiteY0" fmla="*/ 11902 h 539545"/>
                <a:gd name="connsiteX1" fmla="*/ 11902 w 444331"/>
                <a:gd name="connsiteY1" fmla="*/ 11902 h 539545"/>
                <a:gd name="connsiteX2" fmla="*/ 11902 w 444331"/>
                <a:gd name="connsiteY2" fmla="*/ 533991 h 539545"/>
                <a:gd name="connsiteX3" fmla="*/ 275327 w 444331"/>
                <a:gd name="connsiteY3" fmla="*/ 353085 h 539545"/>
                <a:gd name="connsiteX4" fmla="*/ 445125 w 444331"/>
                <a:gd name="connsiteY4" fmla="*/ 176939 h 539545"/>
                <a:gd name="connsiteX5" fmla="*/ 11902 w 444331"/>
                <a:gd name="connsiteY5" fmla="*/ 11902 h 53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331" h="539545">
                  <a:moveTo>
                    <a:pt x="11902" y="11902"/>
                  </a:moveTo>
                  <a:lnTo>
                    <a:pt x="11902" y="11902"/>
                  </a:lnTo>
                  <a:lnTo>
                    <a:pt x="11902" y="533991"/>
                  </a:lnTo>
                  <a:cubicBezTo>
                    <a:pt x="11902" y="533991"/>
                    <a:pt x="159483" y="449886"/>
                    <a:pt x="275327" y="353085"/>
                  </a:cubicBezTo>
                  <a:cubicBezTo>
                    <a:pt x="392757" y="256284"/>
                    <a:pt x="445125" y="176939"/>
                    <a:pt x="445125" y="176939"/>
                  </a:cubicBezTo>
                  <a:cubicBezTo>
                    <a:pt x="329281" y="73791"/>
                    <a:pt x="178526" y="11902"/>
                    <a:pt x="11902" y="11902"/>
                  </a:cubicBezTo>
                </a:path>
              </a:pathLst>
            </a:custGeom>
            <a:grpFill/>
            <a:ln w="9525"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CA96584-2FF2-4AA9-9043-6F56C2A02EDD}"/>
                </a:ext>
              </a:extLst>
            </p:cNvPr>
            <p:cNvSpPr/>
            <p:nvPr/>
          </p:nvSpPr>
          <p:spPr>
            <a:xfrm>
              <a:off x="3888870" y="2760841"/>
              <a:ext cx="491938" cy="491938"/>
            </a:xfrm>
            <a:custGeom>
              <a:avLst/>
              <a:gdLst>
                <a:gd name="connsiteX0" fmla="*/ 11902 w 491938"/>
                <a:gd name="connsiteY0" fmla="*/ 11902 h 491938"/>
                <a:gd name="connsiteX1" fmla="*/ 481623 w 491938"/>
                <a:gd name="connsiteY1" fmla="*/ 481623 h 491938"/>
                <a:gd name="connsiteX2" fmla="*/ 481623 w 491938"/>
                <a:gd name="connsiteY2" fmla="*/ 11902 h 491938"/>
                <a:gd name="connsiteX3" fmla="*/ 11902 w 491938"/>
                <a:gd name="connsiteY3" fmla="*/ 11902 h 491938"/>
              </a:gdLst>
              <a:ahLst/>
              <a:cxnLst>
                <a:cxn ang="0">
                  <a:pos x="connsiteX0" y="connsiteY0"/>
                </a:cxn>
                <a:cxn ang="0">
                  <a:pos x="connsiteX1" y="connsiteY1"/>
                </a:cxn>
                <a:cxn ang="0">
                  <a:pos x="connsiteX2" y="connsiteY2"/>
                </a:cxn>
                <a:cxn ang="0">
                  <a:pos x="connsiteX3" y="connsiteY3"/>
                </a:cxn>
              </a:cxnLst>
              <a:rect l="l" t="t" r="r" b="b"/>
              <a:pathLst>
                <a:path w="491938" h="491938">
                  <a:moveTo>
                    <a:pt x="11902" y="11902"/>
                  </a:moveTo>
                  <a:cubicBezTo>
                    <a:pt x="235654" y="83312"/>
                    <a:pt x="411800" y="259458"/>
                    <a:pt x="481623" y="481623"/>
                  </a:cubicBezTo>
                  <a:lnTo>
                    <a:pt x="481623" y="11902"/>
                  </a:lnTo>
                  <a:lnTo>
                    <a:pt x="11902" y="11902"/>
                  </a:lnTo>
                  <a:close/>
                </a:path>
              </a:pathLst>
            </a:custGeom>
            <a:solidFill>
              <a:schemeClr val="accent1"/>
            </a:solidFill>
            <a:ln w="9525"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68CB213D-5D09-4CFB-B19E-C37AB838DC49}"/>
                </a:ext>
              </a:extLst>
            </p:cNvPr>
            <p:cNvSpPr/>
            <p:nvPr/>
          </p:nvSpPr>
          <p:spPr>
            <a:xfrm>
              <a:off x="3803177" y="3016331"/>
              <a:ext cx="539545" cy="444331"/>
            </a:xfrm>
            <a:custGeom>
              <a:avLst/>
              <a:gdLst>
                <a:gd name="connsiteX0" fmla="*/ 533991 w 539545"/>
                <a:gd name="connsiteY0" fmla="*/ 445125 h 444331"/>
                <a:gd name="connsiteX1" fmla="*/ 533991 w 539545"/>
                <a:gd name="connsiteY1" fmla="*/ 445125 h 444331"/>
                <a:gd name="connsiteX2" fmla="*/ 11902 w 539545"/>
                <a:gd name="connsiteY2" fmla="*/ 445125 h 444331"/>
                <a:gd name="connsiteX3" fmla="*/ 192808 w 539545"/>
                <a:gd name="connsiteY3" fmla="*/ 181700 h 444331"/>
                <a:gd name="connsiteX4" fmla="*/ 368954 w 539545"/>
                <a:gd name="connsiteY4" fmla="*/ 11902 h 444331"/>
                <a:gd name="connsiteX5" fmla="*/ 533991 w 539545"/>
                <a:gd name="connsiteY5" fmla="*/ 445125 h 44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545" h="444331">
                  <a:moveTo>
                    <a:pt x="533991" y="445125"/>
                  </a:moveTo>
                  <a:lnTo>
                    <a:pt x="533991" y="445125"/>
                  </a:lnTo>
                  <a:lnTo>
                    <a:pt x="11902" y="445125"/>
                  </a:lnTo>
                  <a:cubicBezTo>
                    <a:pt x="11902" y="445125"/>
                    <a:pt x="96007" y="297543"/>
                    <a:pt x="192808" y="181700"/>
                  </a:cubicBezTo>
                  <a:cubicBezTo>
                    <a:pt x="289609" y="64269"/>
                    <a:pt x="368954" y="11902"/>
                    <a:pt x="368954" y="11902"/>
                  </a:cubicBezTo>
                  <a:cubicBezTo>
                    <a:pt x="470515" y="126158"/>
                    <a:pt x="533991" y="278501"/>
                    <a:pt x="533991" y="445125"/>
                  </a:cubicBezTo>
                </a:path>
              </a:pathLst>
            </a:custGeom>
            <a:grpFill/>
            <a:ln w="9525"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4A671809-0674-4FE6-B573-A6E1CBC67B79}"/>
                </a:ext>
              </a:extLst>
            </p:cNvPr>
            <p:cNvSpPr/>
            <p:nvPr/>
          </p:nvSpPr>
          <p:spPr>
            <a:xfrm>
              <a:off x="8365507" y="2954442"/>
              <a:ext cx="158690" cy="158690"/>
            </a:xfrm>
            <a:custGeom>
              <a:avLst/>
              <a:gdLst>
                <a:gd name="connsiteX0" fmla="*/ 86486 w 158689"/>
                <a:gd name="connsiteY0" fmla="*/ 161070 h 158689"/>
                <a:gd name="connsiteX1" fmla="*/ 11902 w 158689"/>
                <a:gd name="connsiteY1" fmla="*/ 86486 h 158689"/>
                <a:gd name="connsiteX2" fmla="*/ 86486 w 158689"/>
                <a:gd name="connsiteY2" fmla="*/ 11902 h 158689"/>
                <a:gd name="connsiteX3" fmla="*/ 161070 w 158689"/>
                <a:gd name="connsiteY3" fmla="*/ 86486 h 158689"/>
                <a:gd name="connsiteX4" fmla="*/ 86486 w 158689"/>
                <a:gd name="connsiteY4" fmla="*/ 161070 h 158689"/>
                <a:gd name="connsiteX5" fmla="*/ 86486 w 158689"/>
                <a:gd name="connsiteY5" fmla="*/ 19836 h 158689"/>
                <a:gd name="connsiteX6" fmla="*/ 19836 w 158689"/>
                <a:gd name="connsiteY6" fmla="*/ 88073 h 158689"/>
                <a:gd name="connsiteX7" fmla="*/ 86486 w 158689"/>
                <a:gd name="connsiteY7" fmla="*/ 154723 h 158689"/>
                <a:gd name="connsiteX8" fmla="*/ 153135 w 158689"/>
                <a:gd name="connsiteY8" fmla="*/ 88073 h 158689"/>
                <a:gd name="connsiteX9" fmla="*/ 86486 w 158689"/>
                <a:gd name="connsiteY9" fmla="*/ 19836 h 158689"/>
                <a:gd name="connsiteX10" fmla="*/ 92833 w 158689"/>
                <a:gd name="connsiteY10" fmla="*/ 42053 h 158689"/>
                <a:gd name="connsiteX11" fmla="*/ 119811 w 158689"/>
                <a:gd name="connsiteY11" fmla="*/ 64269 h 158689"/>
                <a:gd name="connsiteX12" fmla="*/ 102355 w 158689"/>
                <a:gd name="connsiteY12" fmla="*/ 88073 h 158689"/>
                <a:gd name="connsiteX13" fmla="*/ 116637 w 158689"/>
                <a:gd name="connsiteY13" fmla="*/ 103942 h 158689"/>
                <a:gd name="connsiteX14" fmla="*/ 121398 w 158689"/>
                <a:gd name="connsiteY14" fmla="*/ 121398 h 158689"/>
                <a:gd name="connsiteX15" fmla="*/ 126158 w 158689"/>
                <a:gd name="connsiteY15" fmla="*/ 132506 h 158689"/>
                <a:gd name="connsiteX16" fmla="*/ 110289 w 158689"/>
                <a:gd name="connsiteY16" fmla="*/ 132506 h 158689"/>
                <a:gd name="connsiteX17" fmla="*/ 107116 w 158689"/>
                <a:gd name="connsiteY17" fmla="*/ 126158 h 158689"/>
                <a:gd name="connsiteX18" fmla="*/ 102355 w 158689"/>
                <a:gd name="connsiteY18" fmla="*/ 110289 h 158689"/>
                <a:gd name="connsiteX19" fmla="*/ 78551 w 158689"/>
                <a:gd name="connsiteY19" fmla="*/ 94420 h 158689"/>
                <a:gd name="connsiteX20" fmla="*/ 72204 w 158689"/>
                <a:gd name="connsiteY20" fmla="*/ 94420 h 158689"/>
                <a:gd name="connsiteX21" fmla="*/ 72204 w 158689"/>
                <a:gd name="connsiteY21" fmla="*/ 132506 h 158689"/>
                <a:gd name="connsiteX22" fmla="*/ 56335 w 158689"/>
                <a:gd name="connsiteY22" fmla="*/ 132506 h 158689"/>
                <a:gd name="connsiteX23" fmla="*/ 56335 w 158689"/>
                <a:gd name="connsiteY23" fmla="*/ 43640 h 158689"/>
                <a:gd name="connsiteX24" fmla="*/ 92833 w 158689"/>
                <a:gd name="connsiteY24" fmla="*/ 43640 h 158689"/>
                <a:gd name="connsiteX25" fmla="*/ 72204 w 158689"/>
                <a:gd name="connsiteY25" fmla="*/ 83312 h 158689"/>
                <a:gd name="connsiteX26" fmla="*/ 81725 w 158689"/>
                <a:gd name="connsiteY26" fmla="*/ 83312 h 158689"/>
                <a:gd name="connsiteX27" fmla="*/ 105529 w 158689"/>
                <a:gd name="connsiteY27" fmla="*/ 67443 h 158689"/>
                <a:gd name="connsiteX28" fmla="*/ 86486 w 158689"/>
                <a:gd name="connsiteY28" fmla="*/ 53161 h 158689"/>
                <a:gd name="connsiteX29" fmla="*/ 73791 w 158689"/>
                <a:gd name="connsiteY29" fmla="*/ 53161 h 158689"/>
                <a:gd name="connsiteX30" fmla="*/ 73791 w 158689"/>
                <a:gd name="connsiteY30" fmla="*/ 83312 h 158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8689" h="158689">
                  <a:moveTo>
                    <a:pt x="86486" y="161070"/>
                  </a:moveTo>
                  <a:cubicBezTo>
                    <a:pt x="45226" y="161070"/>
                    <a:pt x="11902" y="127745"/>
                    <a:pt x="11902" y="86486"/>
                  </a:cubicBezTo>
                  <a:cubicBezTo>
                    <a:pt x="11902" y="45227"/>
                    <a:pt x="45226" y="11902"/>
                    <a:pt x="86486" y="11902"/>
                  </a:cubicBezTo>
                  <a:cubicBezTo>
                    <a:pt x="127745" y="11902"/>
                    <a:pt x="161070" y="45227"/>
                    <a:pt x="161070" y="86486"/>
                  </a:cubicBezTo>
                  <a:cubicBezTo>
                    <a:pt x="161070" y="127745"/>
                    <a:pt x="127745" y="161070"/>
                    <a:pt x="86486" y="161070"/>
                  </a:cubicBezTo>
                  <a:moveTo>
                    <a:pt x="86486" y="19836"/>
                  </a:moveTo>
                  <a:cubicBezTo>
                    <a:pt x="48400" y="19836"/>
                    <a:pt x="19836" y="49987"/>
                    <a:pt x="19836" y="88073"/>
                  </a:cubicBezTo>
                  <a:cubicBezTo>
                    <a:pt x="19836" y="124572"/>
                    <a:pt x="49987" y="154723"/>
                    <a:pt x="86486" y="154723"/>
                  </a:cubicBezTo>
                  <a:cubicBezTo>
                    <a:pt x="122985" y="154723"/>
                    <a:pt x="153135" y="124572"/>
                    <a:pt x="153135" y="88073"/>
                  </a:cubicBezTo>
                  <a:cubicBezTo>
                    <a:pt x="153135" y="49987"/>
                    <a:pt x="124571" y="19836"/>
                    <a:pt x="86486" y="19836"/>
                  </a:cubicBezTo>
                  <a:moveTo>
                    <a:pt x="92833" y="42053"/>
                  </a:moveTo>
                  <a:cubicBezTo>
                    <a:pt x="110289" y="42053"/>
                    <a:pt x="119811" y="48400"/>
                    <a:pt x="119811" y="64269"/>
                  </a:cubicBezTo>
                  <a:cubicBezTo>
                    <a:pt x="119811" y="76965"/>
                    <a:pt x="113463" y="83312"/>
                    <a:pt x="102355" y="88073"/>
                  </a:cubicBezTo>
                  <a:cubicBezTo>
                    <a:pt x="110289" y="89660"/>
                    <a:pt x="113463" y="94420"/>
                    <a:pt x="116637" y="103942"/>
                  </a:cubicBezTo>
                  <a:lnTo>
                    <a:pt x="121398" y="121398"/>
                  </a:lnTo>
                  <a:cubicBezTo>
                    <a:pt x="122985" y="126158"/>
                    <a:pt x="124571" y="129332"/>
                    <a:pt x="126158" y="132506"/>
                  </a:cubicBezTo>
                  <a:lnTo>
                    <a:pt x="110289" y="132506"/>
                  </a:lnTo>
                  <a:cubicBezTo>
                    <a:pt x="108702" y="130919"/>
                    <a:pt x="107116" y="129332"/>
                    <a:pt x="107116" y="126158"/>
                  </a:cubicBezTo>
                  <a:lnTo>
                    <a:pt x="102355" y="110289"/>
                  </a:lnTo>
                  <a:cubicBezTo>
                    <a:pt x="99181" y="97594"/>
                    <a:pt x="96007" y="94420"/>
                    <a:pt x="78551" y="94420"/>
                  </a:cubicBezTo>
                  <a:lnTo>
                    <a:pt x="72204" y="94420"/>
                  </a:lnTo>
                  <a:lnTo>
                    <a:pt x="72204" y="132506"/>
                  </a:lnTo>
                  <a:lnTo>
                    <a:pt x="56335" y="132506"/>
                  </a:lnTo>
                  <a:lnTo>
                    <a:pt x="56335" y="43640"/>
                  </a:lnTo>
                  <a:lnTo>
                    <a:pt x="92833" y="43640"/>
                  </a:lnTo>
                  <a:close/>
                  <a:moveTo>
                    <a:pt x="72204" y="83312"/>
                  </a:moveTo>
                  <a:lnTo>
                    <a:pt x="81725" y="83312"/>
                  </a:lnTo>
                  <a:cubicBezTo>
                    <a:pt x="97594" y="83312"/>
                    <a:pt x="105529" y="80138"/>
                    <a:pt x="105529" y="67443"/>
                  </a:cubicBezTo>
                  <a:cubicBezTo>
                    <a:pt x="105529" y="56335"/>
                    <a:pt x="100768" y="53161"/>
                    <a:pt x="86486" y="53161"/>
                  </a:cubicBezTo>
                  <a:lnTo>
                    <a:pt x="73791" y="53161"/>
                  </a:lnTo>
                  <a:lnTo>
                    <a:pt x="73791" y="83312"/>
                  </a:lnTo>
                  <a:close/>
                </a:path>
              </a:pathLst>
            </a:custGeom>
            <a:grpFill/>
            <a:ln w="9525" cap="flat">
              <a:noFill/>
              <a:prstDash val="solid"/>
              <a:miter/>
            </a:ln>
          </p:spPr>
          <p:txBody>
            <a:bodyPr rtlCol="0" anchor="ctr"/>
            <a:lstStyle/>
            <a:p>
              <a:endParaRPr lang="en-US"/>
            </a:p>
          </p:txBody>
        </p:sp>
      </p:grpSp>
      <p:sp>
        <p:nvSpPr>
          <p:cNvPr id="15" name="Rectangle 14">
            <a:extLst>
              <a:ext uri="{FF2B5EF4-FFF2-40B4-BE49-F238E27FC236}">
                <a16:creationId xmlns:a16="http://schemas.microsoft.com/office/drawing/2014/main" id="{D263FF33-00AE-4428-830E-14838A835872}"/>
              </a:ext>
            </a:extLst>
          </p:cNvPr>
          <p:cNvSpPr/>
          <p:nvPr userDrawn="1"/>
        </p:nvSpPr>
        <p:spPr>
          <a:xfrm>
            <a:off x="871046" y="5796171"/>
            <a:ext cx="10520218" cy="1061829"/>
          </a:xfrm>
          <a:prstGeom prst="rect">
            <a:avLst/>
          </a:prstGeom>
        </p:spPr>
        <p:txBody>
          <a:bodyPr wrap="square">
            <a:spAutoFit/>
          </a:bodyPr>
          <a:lstStyle/>
          <a:p>
            <a:pPr algn="ctr"/>
            <a:r>
              <a:rPr lang="en-SG" sz="900">
                <a:solidFill>
                  <a:schemeClr val="tx1"/>
                </a:solidFill>
              </a:rPr>
              <a:t>This presentation and the information contained herein (the “Materials”) is provided to the best of Trustwave’s reasonable knowledge and belief at the time of drafting, is confidential and proprietary and is not to be reproduced or distributed without the express written consent of Trustwave Holdings, Inc. (“Trustwave”). The Materials are provided solely for information purposes and are not a commitment, promise or legal obligation to purchase or deliver any product, features, functionalities or services, and should not be relied upon in any manner. Separate terms and conditions will be entered into in the event that Trustwave elects to enter any future transactions.  The Materials and any Trustwave product or service  offerings are subject to change without further notice at Trustwave’s sole and absolute discretion. THE MATERIALS ARE PROVIDED “AS IS”. TRUSTWAVE EXPRESSLY DISCLAIMS ANY AND ALL WARRANTIES, EXPRESS AND IMPLIED, INCLUDING WITHOUT LIMITATION WARRANTIES OF MERCHANTABILITY AND FITNESS FOR A PARTICULAR PURPOSE, WITH RESPECT TO THESE MATERIALS. IN NO EVENT SHALL TRUSTWAVE BE LIABLE FOR ANY DIRECT, INDIRECT, INCIDENTAL, PUNITIVE OR CONSEQUENTIAL DAMAGES OF ANY KIND WHATSOEVER WITH RESPECT TO THESE MATERIALS.</a:t>
            </a:r>
          </a:p>
        </p:txBody>
      </p:sp>
    </p:spTree>
    <p:extLst>
      <p:ext uri="{BB962C8B-B14F-4D97-AF65-F5344CB8AC3E}">
        <p14:creationId xmlns:p14="http://schemas.microsoft.com/office/powerpoint/2010/main" val="36701744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Red)">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32195F4-DB27-4A99-B34C-7E934B9B1D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15181" y="2511894"/>
            <a:ext cx="5411319" cy="1983622"/>
          </a:xfrm>
          <a:prstGeom prst="rect">
            <a:avLst/>
          </a:prstGeom>
        </p:spPr>
      </p:pic>
      <p:sp>
        <p:nvSpPr>
          <p:cNvPr id="3" name="Rectangle 2">
            <a:extLst>
              <a:ext uri="{FF2B5EF4-FFF2-40B4-BE49-F238E27FC236}">
                <a16:creationId xmlns:a16="http://schemas.microsoft.com/office/drawing/2014/main" id="{6C55807C-619D-4303-8309-CD20D1267D35}"/>
              </a:ext>
            </a:extLst>
          </p:cNvPr>
          <p:cNvSpPr/>
          <p:nvPr userDrawn="1"/>
        </p:nvSpPr>
        <p:spPr>
          <a:xfrm>
            <a:off x="1016000" y="5796171"/>
            <a:ext cx="10529453" cy="1061829"/>
          </a:xfrm>
          <a:prstGeom prst="rect">
            <a:avLst/>
          </a:prstGeom>
        </p:spPr>
        <p:txBody>
          <a:bodyPr wrap="square">
            <a:spAutoFit/>
          </a:bodyPr>
          <a:lstStyle/>
          <a:p>
            <a:pPr algn="ctr"/>
            <a:r>
              <a:rPr lang="en-SG" sz="900">
                <a:solidFill>
                  <a:schemeClr val="bg1"/>
                </a:solidFill>
              </a:rPr>
              <a:t>This presentation and the information contained herein (the “Materials”) is provided to the best of Trustwave’s reasonable knowledge and belief at the time of drafting, is confidential and proprietary and is not to be reproduced or distributed without the express written consent of Trustwave Holdings, Inc. (“Trustwave”). The Materials are provided solely for information purposes and are not a commitment, promise or legal obligation to purchase or deliver any product, features, functionalities or services, and should not be relied upon in any manner. Separate terms and conditions will be entered into in the event that Trustwave elects to enter any future transactions.  The Materials and any Trustwave product or service  offerings are subject to change without further notice at Trustwave’s sole and absolute discretion. THE MATERIALS ARE PROVIDED “AS IS”. TRUSTWAVE EXPRESSLY DISCLAIMS ANY AND ALL WARRANTIES, EXPRESS AND IMPLIED, INCLUDING WITHOUT LIMITATION WARRANTIES OF MERCHANTABILITY AND FITNESS FOR A PARTICULAR PURPOSE, WITH RESPECT TO THESE MATERIALS. IN NO EVENT SHALL TRUSTWAVE BE LIABLE FOR ANY DIRECT, INDIRECT, INCIDENTAL, PUNITIVE OR CONSEQUENTIAL DAMAGES OF ANY KIND WHATSOEVER WITH RESPECT TO THESE MATERIALS.</a:t>
            </a:r>
          </a:p>
        </p:txBody>
      </p:sp>
    </p:spTree>
    <p:extLst>
      <p:ext uri="{BB962C8B-B14F-4D97-AF65-F5344CB8AC3E}">
        <p14:creationId xmlns:p14="http://schemas.microsoft.com/office/powerpoint/2010/main" val="8575934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Black)">
    <p:bg>
      <p:bgPr>
        <a:solidFill>
          <a:schemeClr val="tx1"/>
        </a:solidFill>
        <a:effectLst/>
      </p:bgPr>
    </p:bg>
    <p:spTree>
      <p:nvGrpSpPr>
        <p:cNvPr id="1" name=""/>
        <p:cNvGrpSpPr/>
        <p:nvPr/>
      </p:nvGrpSpPr>
      <p:grpSpPr>
        <a:xfrm>
          <a:off x="0" y="0"/>
          <a:ext cx="0" cy="0"/>
          <a:chOff x="0" y="0"/>
          <a:chExt cx="0" cy="0"/>
        </a:xfrm>
      </p:grpSpPr>
      <p:grpSp>
        <p:nvGrpSpPr>
          <p:cNvPr id="2" name="Graphic 55">
            <a:extLst>
              <a:ext uri="{FF2B5EF4-FFF2-40B4-BE49-F238E27FC236}">
                <a16:creationId xmlns:a16="http://schemas.microsoft.com/office/drawing/2014/main" id="{B6BB667C-85CA-4829-B15D-E7D534DCA8FD}"/>
              </a:ext>
            </a:extLst>
          </p:cNvPr>
          <p:cNvGrpSpPr/>
          <p:nvPr/>
        </p:nvGrpSpPr>
        <p:grpSpPr>
          <a:xfrm>
            <a:off x="3415181" y="2516536"/>
            <a:ext cx="5411319" cy="1983622"/>
            <a:chOff x="3415181" y="2303021"/>
            <a:chExt cx="5411319" cy="1983622"/>
          </a:xfrm>
          <a:solidFill>
            <a:schemeClr val="bg1"/>
          </a:solidFill>
        </p:grpSpPr>
        <p:sp>
          <p:nvSpPr>
            <p:cNvPr id="3" name="Freeform: Shape 2">
              <a:extLst>
                <a:ext uri="{FF2B5EF4-FFF2-40B4-BE49-F238E27FC236}">
                  <a16:creationId xmlns:a16="http://schemas.microsoft.com/office/drawing/2014/main" id="{BF12CF75-6935-4C44-9D16-1600C8A3622E}"/>
                </a:ext>
              </a:extLst>
            </p:cNvPr>
            <p:cNvSpPr/>
            <p:nvPr/>
          </p:nvSpPr>
          <p:spPr>
            <a:xfrm>
              <a:off x="4490304" y="2760841"/>
              <a:ext cx="507807" cy="698235"/>
            </a:xfrm>
            <a:custGeom>
              <a:avLst/>
              <a:gdLst>
                <a:gd name="connsiteX0" fmla="*/ 302304 w 507807"/>
                <a:gd name="connsiteY0" fmla="*/ 76965 h 698234"/>
                <a:gd name="connsiteX1" fmla="*/ 302304 w 507807"/>
                <a:gd name="connsiteY1" fmla="*/ 700615 h 698234"/>
                <a:gd name="connsiteX2" fmla="*/ 208677 w 507807"/>
                <a:gd name="connsiteY2" fmla="*/ 700615 h 698234"/>
                <a:gd name="connsiteX3" fmla="*/ 208677 w 507807"/>
                <a:gd name="connsiteY3" fmla="*/ 76965 h 698234"/>
                <a:gd name="connsiteX4" fmla="*/ 11902 w 507807"/>
                <a:gd name="connsiteY4" fmla="*/ 76965 h 698234"/>
                <a:gd name="connsiteX5" fmla="*/ 11902 w 507807"/>
                <a:gd name="connsiteY5" fmla="*/ 11902 h 698234"/>
                <a:gd name="connsiteX6" fmla="*/ 499079 w 507807"/>
                <a:gd name="connsiteY6" fmla="*/ 11902 h 698234"/>
                <a:gd name="connsiteX7" fmla="*/ 499079 w 507807"/>
                <a:gd name="connsiteY7" fmla="*/ 76965 h 698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807" h="698234">
                  <a:moveTo>
                    <a:pt x="302304" y="76965"/>
                  </a:moveTo>
                  <a:lnTo>
                    <a:pt x="302304" y="700615"/>
                  </a:lnTo>
                  <a:lnTo>
                    <a:pt x="208677" y="700615"/>
                  </a:lnTo>
                  <a:lnTo>
                    <a:pt x="208677" y="76965"/>
                  </a:lnTo>
                  <a:lnTo>
                    <a:pt x="11902" y="76965"/>
                  </a:lnTo>
                  <a:lnTo>
                    <a:pt x="11902" y="11902"/>
                  </a:lnTo>
                  <a:lnTo>
                    <a:pt x="499079" y="11902"/>
                  </a:lnTo>
                  <a:lnTo>
                    <a:pt x="499079" y="76965"/>
                  </a:lnTo>
                  <a:close/>
                </a:path>
              </a:pathLst>
            </a:custGeom>
            <a:grpFill/>
            <a:ln w="952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19709B35-87CC-4087-BC9D-86D95E7A3C2B}"/>
                </a:ext>
              </a:extLst>
            </p:cNvPr>
            <p:cNvSpPr/>
            <p:nvPr/>
          </p:nvSpPr>
          <p:spPr>
            <a:xfrm>
              <a:off x="4917179" y="2954442"/>
              <a:ext cx="269773" cy="507807"/>
            </a:xfrm>
            <a:custGeom>
              <a:avLst/>
              <a:gdLst>
                <a:gd name="connsiteX0" fmla="*/ 11902 w 269772"/>
                <a:gd name="connsiteY0" fmla="*/ 507014 h 507807"/>
                <a:gd name="connsiteX1" fmla="*/ 11902 w 269772"/>
                <a:gd name="connsiteY1" fmla="*/ 19836 h 507807"/>
                <a:gd name="connsiteX2" fmla="*/ 96007 w 269772"/>
                <a:gd name="connsiteY2" fmla="*/ 19836 h 507807"/>
                <a:gd name="connsiteX3" fmla="*/ 96007 w 269772"/>
                <a:gd name="connsiteY3" fmla="*/ 83312 h 507807"/>
                <a:gd name="connsiteX4" fmla="*/ 215024 w 269772"/>
                <a:gd name="connsiteY4" fmla="*/ 11902 h 507807"/>
                <a:gd name="connsiteX5" fmla="*/ 272153 w 269772"/>
                <a:gd name="connsiteY5" fmla="*/ 30945 h 507807"/>
                <a:gd name="connsiteX6" fmla="*/ 272153 w 269772"/>
                <a:gd name="connsiteY6" fmla="*/ 107116 h 507807"/>
                <a:gd name="connsiteX7" fmla="*/ 191221 w 269772"/>
                <a:gd name="connsiteY7" fmla="*/ 80138 h 507807"/>
                <a:gd name="connsiteX8" fmla="*/ 96007 w 269772"/>
                <a:gd name="connsiteY8" fmla="*/ 172178 h 507807"/>
                <a:gd name="connsiteX9" fmla="*/ 96007 w 269772"/>
                <a:gd name="connsiteY9" fmla="*/ 507014 h 507807"/>
                <a:gd name="connsiteX10" fmla="*/ 11902 w 269772"/>
                <a:gd name="connsiteY10" fmla="*/ 507014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772" h="507807">
                  <a:moveTo>
                    <a:pt x="11902" y="507014"/>
                  </a:moveTo>
                  <a:lnTo>
                    <a:pt x="11902" y="19836"/>
                  </a:lnTo>
                  <a:lnTo>
                    <a:pt x="96007" y="19836"/>
                  </a:lnTo>
                  <a:lnTo>
                    <a:pt x="96007" y="83312"/>
                  </a:lnTo>
                  <a:cubicBezTo>
                    <a:pt x="107116" y="67443"/>
                    <a:pt x="145201" y="11902"/>
                    <a:pt x="215024" y="11902"/>
                  </a:cubicBezTo>
                  <a:cubicBezTo>
                    <a:pt x="245176" y="11902"/>
                    <a:pt x="261045" y="23010"/>
                    <a:pt x="272153" y="30945"/>
                  </a:cubicBezTo>
                  <a:lnTo>
                    <a:pt x="272153" y="107116"/>
                  </a:lnTo>
                  <a:cubicBezTo>
                    <a:pt x="259458" y="97594"/>
                    <a:pt x="232480" y="80138"/>
                    <a:pt x="191221" y="80138"/>
                  </a:cubicBezTo>
                  <a:cubicBezTo>
                    <a:pt x="107116" y="80138"/>
                    <a:pt x="96007" y="146788"/>
                    <a:pt x="96007" y="172178"/>
                  </a:cubicBezTo>
                  <a:lnTo>
                    <a:pt x="96007" y="507014"/>
                  </a:lnTo>
                  <a:lnTo>
                    <a:pt x="11902" y="507014"/>
                  </a:lnTo>
                  <a:close/>
                </a:path>
              </a:pathLst>
            </a:custGeom>
            <a:grpFill/>
            <a:ln w="9525"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F38DEB19-4705-413B-A1B3-963CBA8A4F13}"/>
                </a:ext>
              </a:extLst>
            </p:cNvPr>
            <p:cNvSpPr/>
            <p:nvPr/>
          </p:nvSpPr>
          <p:spPr>
            <a:xfrm>
              <a:off x="5248841" y="2962377"/>
              <a:ext cx="412593" cy="507807"/>
            </a:xfrm>
            <a:custGeom>
              <a:avLst/>
              <a:gdLst>
                <a:gd name="connsiteX0" fmla="*/ 319760 w 412593"/>
                <a:gd name="connsiteY0" fmla="*/ 499079 h 507807"/>
                <a:gd name="connsiteX1" fmla="*/ 319760 w 412593"/>
                <a:gd name="connsiteY1" fmla="*/ 441951 h 507807"/>
                <a:gd name="connsiteX2" fmla="*/ 159483 w 412593"/>
                <a:gd name="connsiteY2" fmla="*/ 508601 h 507807"/>
                <a:gd name="connsiteX3" fmla="*/ 65856 w 412593"/>
                <a:gd name="connsiteY3" fmla="*/ 480037 h 507807"/>
                <a:gd name="connsiteX4" fmla="*/ 11902 w 412593"/>
                <a:gd name="connsiteY4" fmla="*/ 330868 h 507807"/>
                <a:gd name="connsiteX5" fmla="*/ 11902 w 412593"/>
                <a:gd name="connsiteY5" fmla="*/ 11902 h 507807"/>
                <a:gd name="connsiteX6" fmla="*/ 94420 w 412593"/>
                <a:gd name="connsiteY6" fmla="*/ 11902 h 507807"/>
                <a:gd name="connsiteX7" fmla="*/ 94420 w 412593"/>
                <a:gd name="connsiteY7" fmla="*/ 308652 h 507807"/>
                <a:gd name="connsiteX8" fmla="*/ 194395 w 412593"/>
                <a:gd name="connsiteY8" fmla="*/ 454646 h 507807"/>
                <a:gd name="connsiteX9" fmla="*/ 291195 w 412593"/>
                <a:gd name="connsiteY9" fmla="*/ 419734 h 507807"/>
                <a:gd name="connsiteX10" fmla="*/ 319760 w 412593"/>
                <a:gd name="connsiteY10" fmla="*/ 341976 h 507807"/>
                <a:gd name="connsiteX11" fmla="*/ 319760 w 412593"/>
                <a:gd name="connsiteY11" fmla="*/ 11902 h 507807"/>
                <a:gd name="connsiteX12" fmla="*/ 402278 w 412593"/>
                <a:gd name="connsiteY12" fmla="*/ 11902 h 507807"/>
                <a:gd name="connsiteX13" fmla="*/ 402278 w 412593"/>
                <a:gd name="connsiteY13" fmla="*/ 499079 h 507807"/>
                <a:gd name="connsiteX14" fmla="*/ 319760 w 412593"/>
                <a:gd name="connsiteY14" fmla="*/ 499079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593" h="507807">
                  <a:moveTo>
                    <a:pt x="319760" y="499079"/>
                  </a:moveTo>
                  <a:lnTo>
                    <a:pt x="319760" y="441951"/>
                  </a:lnTo>
                  <a:cubicBezTo>
                    <a:pt x="294369" y="465754"/>
                    <a:pt x="240415" y="508601"/>
                    <a:pt x="159483" y="508601"/>
                  </a:cubicBezTo>
                  <a:cubicBezTo>
                    <a:pt x="129332" y="508601"/>
                    <a:pt x="97594" y="505427"/>
                    <a:pt x="65856" y="480037"/>
                  </a:cubicBezTo>
                  <a:cubicBezTo>
                    <a:pt x="16662" y="441951"/>
                    <a:pt x="11902" y="386410"/>
                    <a:pt x="11902" y="330868"/>
                  </a:cubicBezTo>
                  <a:lnTo>
                    <a:pt x="11902" y="11902"/>
                  </a:lnTo>
                  <a:lnTo>
                    <a:pt x="94420" y="11902"/>
                  </a:lnTo>
                  <a:lnTo>
                    <a:pt x="94420" y="308652"/>
                  </a:lnTo>
                  <a:cubicBezTo>
                    <a:pt x="94420" y="375301"/>
                    <a:pt x="100768" y="454646"/>
                    <a:pt x="194395" y="454646"/>
                  </a:cubicBezTo>
                  <a:cubicBezTo>
                    <a:pt x="226133" y="454646"/>
                    <a:pt x="268979" y="441951"/>
                    <a:pt x="291195" y="419734"/>
                  </a:cubicBezTo>
                  <a:cubicBezTo>
                    <a:pt x="314999" y="394344"/>
                    <a:pt x="319760" y="373714"/>
                    <a:pt x="319760" y="341976"/>
                  </a:cubicBezTo>
                  <a:lnTo>
                    <a:pt x="319760" y="11902"/>
                  </a:lnTo>
                  <a:lnTo>
                    <a:pt x="402278" y="11902"/>
                  </a:lnTo>
                  <a:lnTo>
                    <a:pt x="402278" y="499079"/>
                  </a:lnTo>
                  <a:lnTo>
                    <a:pt x="319760" y="499079"/>
                  </a:lnTo>
                  <a:close/>
                </a:path>
              </a:pathLst>
            </a:custGeom>
            <a:grp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10F48896-DDD7-4630-B669-30BA4075F2B5}"/>
                </a:ext>
              </a:extLst>
            </p:cNvPr>
            <p:cNvSpPr/>
            <p:nvPr/>
          </p:nvSpPr>
          <p:spPr>
            <a:xfrm>
              <a:off x="5697933" y="2951269"/>
              <a:ext cx="380855" cy="523676"/>
            </a:xfrm>
            <a:custGeom>
              <a:avLst/>
              <a:gdLst>
                <a:gd name="connsiteX0" fmla="*/ 288022 w 380855"/>
                <a:gd name="connsiteY0" fmla="*/ 162657 h 523676"/>
                <a:gd name="connsiteX1" fmla="*/ 288022 w 380855"/>
                <a:gd name="connsiteY1" fmla="*/ 148375 h 523676"/>
                <a:gd name="connsiteX2" fmla="*/ 195982 w 380855"/>
                <a:gd name="connsiteY2" fmla="*/ 64269 h 523676"/>
                <a:gd name="connsiteX3" fmla="*/ 102355 w 380855"/>
                <a:gd name="connsiteY3" fmla="*/ 137267 h 523676"/>
                <a:gd name="connsiteX4" fmla="*/ 197569 w 380855"/>
                <a:gd name="connsiteY4" fmla="*/ 216612 h 523676"/>
                <a:gd name="connsiteX5" fmla="*/ 248349 w 380855"/>
                <a:gd name="connsiteY5" fmla="*/ 230894 h 523676"/>
                <a:gd name="connsiteX6" fmla="*/ 376888 w 380855"/>
                <a:gd name="connsiteY6" fmla="*/ 373714 h 523676"/>
                <a:gd name="connsiteX7" fmla="*/ 192808 w 380855"/>
                <a:gd name="connsiteY7" fmla="*/ 521296 h 523676"/>
                <a:gd name="connsiteX8" fmla="*/ 11902 w 380855"/>
                <a:gd name="connsiteY8" fmla="*/ 373714 h 523676"/>
                <a:gd name="connsiteX9" fmla="*/ 11902 w 380855"/>
                <a:gd name="connsiteY9" fmla="*/ 361019 h 523676"/>
                <a:gd name="connsiteX10" fmla="*/ 96007 w 380855"/>
                <a:gd name="connsiteY10" fmla="*/ 361019 h 523676"/>
                <a:gd name="connsiteX11" fmla="*/ 96007 w 380855"/>
                <a:gd name="connsiteY11" fmla="*/ 373714 h 523676"/>
                <a:gd name="connsiteX12" fmla="*/ 200742 w 380855"/>
                <a:gd name="connsiteY12" fmla="*/ 467341 h 523676"/>
                <a:gd name="connsiteX13" fmla="*/ 295956 w 380855"/>
                <a:gd name="connsiteY13" fmla="*/ 391170 h 523676"/>
                <a:gd name="connsiteX14" fmla="*/ 203916 w 380855"/>
                <a:gd name="connsiteY14" fmla="*/ 302304 h 523676"/>
                <a:gd name="connsiteX15" fmla="*/ 142027 w 380855"/>
                <a:gd name="connsiteY15" fmla="*/ 283261 h 523676"/>
                <a:gd name="connsiteX16" fmla="*/ 27771 w 380855"/>
                <a:gd name="connsiteY16" fmla="*/ 157896 h 523676"/>
                <a:gd name="connsiteX17" fmla="*/ 200742 w 380855"/>
                <a:gd name="connsiteY17" fmla="*/ 11902 h 523676"/>
                <a:gd name="connsiteX18" fmla="*/ 368954 w 380855"/>
                <a:gd name="connsiteY18" fmla="*/ 156309 h 523676"/>
                <a:gd name="connsiteX19" fmla="*/ 368954 w 380855"/>
                <a:gd name="connsiteY19" fmla="*/ 162657 h 523676"/>
                <a:gd name="connsiteX20" fmla="*/ 288022 w 380855"/>
                <a:gd name="connsiteY20" fmla="*/ 162657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0855" h="523676">
                  <a:moveTo>
                    <a:pt x="288022" y="162657"/>
                  </a:moveTo>
                  <a:lnTo>
                    <a:pt x="288022" y="148375"/>
                  </a:lnTo>
                  <a:cubicBezTo>
                    <a:pt x="288022" y="115050"/>
                    <a:pt x="272153" y="64269"/>
                    <a:pt x="195982" y="64269"/>
                  </a:cubicBezTo>
                  <a:cubicBezTo>
                    <a:pt x="130919" y="64269"/>
                    <a:pt x="102355" y="100768"/>
                    <a:pt x="102355" y="137267"/>
                  </a:cubicBezTo>
                  <a:cubicBezTo>
                    <a:pt x="102355" y="184874"/>
                    <a:pt x="151548" y="203916"/>
                    <a:pt x="197569" y="216612"/>
                  </a:cubicBezTo>
                  <a:lnTo>
                    <a:pt x="248349" y="230894"/>
                  </a:lnTo>
                  <a:cubicBezTo>
                    <a:pt x="330868" y="254697"/>
                    <a:pt x="376888" y="295956"/>
                    <a:pt x="376888" y="373714"/>
                  </a:cubicBezTo>
                  <a:cubicBezTo>
                    <a:pt x="376888" y="446712"/>
                    <a:pt x="330868" y="521296"/>
                    <a:pt x="192808" y="521296"/>
                  </a:cubicBezTo>
                  <a:cubicBezTo>
                    <a:pt x="56335" y="521296"/>
                    <a:pt x="11902" y="454646"/>
                    <a:pt x="11902" y="373714"/>
                  </a:cubicBezTo>
                  <a:lnTo>
                    <a:pt x="11902" y="361019"/>
                  </a:lnTo>
                  <a:lnTo>
                    <a:pt x="96007" y="361019"/>
                  </a:lnTo>
                  <a:lnTo>
                    <a:pt x="96007" y="373714"/>
                  </a:lnTo>
                  <a:cubicBezTo>
                    <a:pt x="96007" y="414974"/>
                    <a:pt x="115050" y="467341"/>
                    <a:pt x="200742" y="467341"/>
                  </a:cubicBezTo>
                  <a:cubicBezTo>
                    <a:pt x="272153" y="467341"/>
                    <a:pt x="295956" y="430843"/>
                    <a:pt x="295956" y="391170"/>
                  </a:cubicBezTo>
                  <a:cubicBezTo>
                    <a:pt x="295956" y="330868"/>
                    <a:pt x="248349" y="316586"/>
                    <a:pt x="203916" y="302304"/>
                  </a:cubicBezTo>
                  <a:lnTo>
                    <a:pt x="142027" y="283261"/>
                  </a:lnTo>
                  <a:cubicBezTo>
                    <a:pt x="111876" y="273740"/>
                    <a:pt x="27771" y="249936"/>
                    <a:pt x="27771" y="157896"/>
                  </a:cubicBezTo>
                  <a:cubicBezTo>
                    <a:pt x="27771" y="88073"/>
                    <a:pt x="69030" y="11902"/>
                    <a:pt x="200742" y="11902"/>
                  </a:cubicBezTo>
                  <a:cubicBezTo>
                    <a:pt x="284848" y="11902"/>
                    <a:pt x="368954" y="46813"/>
                    <a:pt x="368954" y="156309"/>
                  </a:cubicBezTo>
                  <a:lnTo>
                    <a:pt x="368954" y="162657"/>
                  </a:lnTo>
                  <a:lnTo>
                    <a:pt x="288022" y="162657"/>
                  </a:lnTo>
                  <a:close/>
                </a:path>
              </a:pathLst>
            </a:custGeom>
            <a:grp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71C290F-4ED0-40FD-852E-52590B3A1E4B}"/>
                </a:ext>
              </a:extLst>
            </p:cNvPr>
            <p:cNvSpPr/>
            <p:nvPr/>
          </p:nvSpPr>
          <p:spPr>
            <a:xfrm>
              <a:off x="6131155" y="2840186"/>
              <a:ext cx="888662" cy="634759"/>
            </a:xfrm>
            <a:custGeom>
              <a:avLst/>
              <a:gdLst>
                <a:gd name="connsiteX0" fmla="*/ 802177 w 888662"/>
                <a:gd name="connsiteY0" fmla="*/ 134093 h 634759"/>
                <a:gd name="connsiteX1" fmla="*/ 692681 w 888662"/>
                <a:gd name="connsiteY1" fmla="*/ 535578 h 634759"/>
                <a:gd name="connsiteX2" fmla="*/ 581598 w 888662"/>
                <a:gd name="connsiteY2" fmla="*/ 134093 h 634759"/>
                <a:gd name="connsiteX3" fmla="*/ 503840 w 888662"/>
                <a:gd name="connsiteY3" fmla="*/ 134093 h 634759"/>
                <a:gd name="connsiteX4" fmla="*/ 378475 w 888662"/>
                <a:gd name="connsiteY4" fmla="*/ 533991 h 634759"/>
                <a:gd name="connsiteX5" fmla="*/ 273740 w 888662"/>
                <a:gd name="connsiteY5" fmla="*/ 132506 h 634759"/>
                <a:gd name="connsiteX6" fmla="*/ 97594 w 888662"/>
                <a:gd name="connsiteY6" fmla="*/ 132506 h 634759"/>
                <a:gd name="connsiteX7" fmla="*/ 97594 w 888662"/>
                <a:gd name="connsiteY7" fmla="*/ 11902 h 634759"/>
                <a:gd name="connsiteX8" fmla="*/ 13489 w 888662"/>
                <a:gd name="connsiteY8" fmla="*/ 26184 h 634759"/>
                <a:gd name="connsiteX9" fmla="*/ 11902 w 888662"/>
                <a:gd name="connsiteY9" fmla="*/ 475276 h 634759"/>
                <a:gd name="connsiteX10" fmla="*/ 48400 w 888662"/>
                <a:gd name="connsiteY10" fmla="*/ 608575 h 634759"/>
                <a:gd name="connsiteX11" fmla="*/ 124572 w 888662"/>
                <a:gd name="connsiteY11" fmla="*/ 630792 h 634759"/>
                <a:gd name="connsiteX12" fmla="*/ 216612 w 888662"/>
                <a:gd name="connsiteY12" fmla="*/ 614923 h 634759"/>
                <a:gd name="connsiteX13" fmla="*/ 216612 w 888662"/>
                <a:gd name="connsiteY13" fmla="*/ 557795 h 634759"/>
                <a:gd name="connsiteX14" fmla="*/ 161070 w 888662"/>
                <a:gd name="connsiteY14" fmla="*/ 568903 h 634759"/>
                <a:gd name="connsiteX15" fmla="*/ 97594 w 888662"/>
                <a:gd name="connsiteY15" fmla="*/ 478450 h 634759"/>
                <a:gd name="connsiteX16" fmla="*/ 99181 w 888662"/>
                <a:gd name="connsiteY16" fmla="*/ 183287 h 634759"/>
                <a:gd name="connsiteX17" fmla="*/ 202329 w 888662"/>
                <a:gd name="connsiteY17" fmla="*/ 183287 h 634759"/>
                <a:gd name="connsiteX18" fmla="*/ 329281 w 888662"/>
                <a:gd name="connsiteY18" fmla="*/ 621270 h 634759"/>
                <a:gd name="connsiteX19" fmla="*/ 418147 w 888662"/>
                <a:gd name="connsiteY19" fmla="*/ 621270 h 634759"/>
                <a:gd name="connsiteX20" fmla="*/ 535578 w 888662"/>
                <a:gd name="connsiteY20" fmla="*/ 246763 h 634759"/>
                <a:gd name="connsiteX21" fmla="*/ 643487 w 888662"/>
                <a:gd name="connsiteY21" fmla="*/ 621270 h 634759"/>
                <a:gd name="connsiteX22" fmla="*/ 733940 w 888662"/>
                <a:gd name="connsiteY22" fmla="*/ 621270 h 634759"/>
                <a:gd name="connsiteX23" fmla="*/ 878348 w 888662"/>
                <a:gd name="connsiteY23" fmla="*/ 134093 h 634759"/>
                <a:gd name="connsiteX24" fmla="*/ 802177 w 888662"/>
                <a:gd name="connsiteY24" fmla="*/ 134093 h 634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8662" h="634759">
                  <a:moveTo>
                    <a:pt x="802177" y="134093"/>
                  </a:moveTo>
                  <a:lnTo>
                    <a:pt x="692681" y="535578"/>
                  </a:lnTo>
                  <a:lnTo>
                    <a:pt x="581598" y="134093"/>
                  </a:lnTo>
                  <a:lnTo>
                    <a:pt x="503840" y="134093"/>
                  </a:lnTo>
                  <a:lnTo>
                    <a:pt x="378475" y="533991"/>
                  </a:lnTo>
                  <a:lnTo>
                    <a:pt x="273740" y="132506"/>
                  </a:lnTo>
                  <a:lnTo>
                    <a:pt x="97594" y="132506"/>
                  </a:lnTo>
                  <a:lnTo>
                    <a:pt x="97594" y="11902"/>
                  </a:lnTo>
                  <a:lnTo>
                    <a:pt x="13489" y="26184"/>
                  </a:lnTo>
                  <a:lnTo>
                    <a:pt x="11902" y="475276"/>
                  </a:lnTo>
                  <a:cubicBezTo>
                    <a:pt x="11902" y="553034"/>
                    <a:pt x="15076" y="583185"/>
                    <a:pt x="48400" y="608575"/>
                  </a:cubicBezTo>
                  <a:cubicBezTo>
                    <a:pt x="76965" y="630792"/>
                    <a:pt x="113463" y="630792"/>
                    <a:pt x="124572" y="630792"/>
                  </a:cubicBezTo>
                  <a:cubicBezTo>
                    <a:pt x="167418" y="630792"/>
                    <a:pt x="199156" y="619684"/>
                    <a:pt x="216612" y="614923"/>
                  </a:cubicBezTo>
                  <a:lnTo>
                    <a:pt x="216612" y="557795"/>
                  </a:lnTo>
                  <a:cubicBezTo>
                    <a:pt x="207090" y="560968"/>
                    <a:pt x="188047" y="568903"/>
                    <a:pt x="161070" y="568903"/>
                  </a:cubicBezTo>
                  <a:cubicBezTo>
                    <a:pt x="103942" y="568903"/>
                    <a:pt x="97594" y="529230"/>
                    <a:pt x="97594" y="478450"/>
                  </a:cubicBezTo>
                  <a:lnTo>
                    <a:pt x="99181" y="183287"/>
                  </a:lnTo>
                  <a:lnTo>
                    <a:pt x="202329" y="183287"/>
                  </a:lnTo>
                  <a:lnTo>
                    <a:pt x="329281" y="621270"/>
                  </a:lnTo>
                  <a:lnTo>
                    <a:pt x="418147" y="621270"/>
                  </a:lnTo>
                  <a:lnTo>
                    <a:pt x="535578" y="246763"/>
                  </a:lnTo>
                  <a:lnTo>
                    <a:pt x="643487" y="621270"/>
                  </a:lnTo>
                  <a:lnTo>
                    <a:pt x="733940" y="621270"/>
                  </a:lnTo>
                  <a:lnTo>
                    <a:pt x="878348" y="134093"/>
                  </a:lnTo>
                  <a:lnTo>
                    <a:pt x="802177" y="134093"/>
                  </a:lnTo>
                  <a:close/>
                </a:path>
              </a:pathLst>
            </a:custGeom>
            <a:grp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A8A1CE7E-4B3F-4C4F-9DD5-1697A924EFFB}"/>
                </a:ext>
              </a:extLst>
            </p:cNvPr>
            <p:cNvSpPr/>
            <p:nvPr/>
          </p:nvSpPr>
          <p:spPr>
            <a:xfrm>
              <a:off x="7013470" y="2951269"/>
              <a:ext cx="412593" cy="523676"/>
            </a:xfrm>
            <a:custGeom>
              <a:avLst/>
              <a:gdLst>
                <a:gd name="connsiteX0" fmla="*/ 348324 w 412593"/>
                <a:gd name="connsiteY0" fmla="*/ 510188 h 523676"/>
                <a:gd name="connsiteX1" fmla="*/ 308651 w 412593"/>
                <a:gd name="connsiteY1" fmla="*/ 470515 h 523676"/>
                <a:gd name="connsiteX2" fmla="*/ 308651 w 412593"/>
                <a:gd name="connsiteY2" fmla="*/ 456233 h 523676"/>
                <a:gd name="connsiteX3" fmla="*/ 164244 w 412593"/>
                <a:gd name="connsiteY3" fmla="*/ 519709 h 523676"/>
                <a:gd name="connsiteX4" fmla="*/ 11902 w 412593"/>
                <a:gd name="connsiteY4" fmla="*/ 378475 h 523676"/>
                <a:gd name="connsiteX5" fmla="*/ 73791 w 412593"/>
                <a:gd name="connsiteY5" fmla="*/ 264218 h 523676"/>
                <a:gd name="connsiteX6" fmla="*/ 310238 w 412593"/>
                <a:gd name="connsiteY6" fmla="*/ 215025 h 523676"/>
                <a:gd name="connsiteX7" fmla="*/ 310238 w 412593"/>
                <a:gd name="connsiteY7" fmla="*/ 162657 h 523676"/>
                <a:gd name="connsiteX8" fmla="*/ 218198 w 412593"/>
                <a:gd name="connsiteY8" fmla="*/ 65856 h 523676"/>
                <a:gd name="connsiteX9" fmla="*/ 110289 w 412593"/>
                <a:gd name="connsiteY9" fmla="*/ 170591 h 523676"/>
                <a:gd name="connsiteX10" fmla="*/ 110289 w 412593"/>
                <a:gd name="connsiteY10" fmla="*/ 176939 h 523676"/>
                <a:gd name="connsiteX11" fmla="*/ 30944 w 412593"/>
                <a:gd name="connsiteY11" fmla="*/ 176939 h 523676"/>
                <a:gd name="connsiteX12" fmla="*/ 30944 w 412593"/>
                <a:gd name="connsiteY12" fmla="*/ 162657 h 523676"/>
                <a:gd name="connsiteX13" fmla="*/ 224546 w 412593"/>
                <a:gd name="connsiteY13" fmla="*/ 11902 h 523676"/>
                <a:gd name="connsiteX14" fmla="*/ 370541 w 412593"/>
                <a:gd name="connsiteY14" fmla="*/ 67443 h 523676"/>
                <a:gd name="connsiteX15" fmla="*/ 392757 w 412593"/>
                <a:gd name="connsiteY15" fmla="*/ 172178 h 523676"/>
                <a:gd name="connsiteX16" fmla="*/ 392757 w 412593"/>
                <a:gd name="connsiteY16" fmla="*/ 438777 h 523676"/>
                <a:gd name="connsiteX17" fmla="*/ 414974 w 412593"/>
                <a:gd name="connsiteY17" fmla="*/ 497492 h 523676"/>
                <a:gd name="connsiteX18" fmla="*/ 414974 w 412593"/>
                <a:gd name="connsiteY18" fmla="*/ 510188 h 523676"/>
                <a:gd name="connsiteX19" fmla="*/ 348324 w 412593"/>
                <a:gd name="connsiteY19" fmla="*/ 510188 h 523676"/>
                <a:gd name="connsiteX20" fmla="*/ 307065 w 412593"/>
                <a:gd name="connsiteY20" fmla="*/ 261045 h 523676"/>
                <a:gd name="connsiteX21" fmla="*/ 142027 w 412593"/>
                <a:gd name="connsiteY21" fmla="*/ 297543 h 523676"/>
                <a:gd name="connsiteX22" fmla="*/ 97594 w 412593"/>
                <a:gd name="connsiteY22" fmla="*/ 376888 h 523676"/>
                <a:gd name="connsiteX23" fmla="*/ 186460 w 412593"/>
                <a:gd name="connsiteY23" fmla="*/ 464168 h 523676"/>
                <a:gd name="connsiteX24" fmla="*/ 261045 w 412593"/>
                <a:gd name="connsiteY24" fmla="*/ 443538 h 523676"/>
                <a:gd name="connsiteX25" fmla="*/ 305478 w 412593"/>
                <a:gd name="connsiteY25" fmla="*/ 334042 h 523676"/>
                <a:gd name="connsiteX26" fmla="*/ 305478 w 412593"/>
                <a:gd name="connsiteY26" fmla="*/ 261045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2593" h="523676">
                  <a:moveTo>
                    <a:pt x="348324" y="510188"/>
                  </a:moveTo>
                  <a:cubicBezTo>
                    <a:pt x="316586" y="510188"/>
                    <a:pt x="308651" y="499079"/>
                    <a:pt x="308651" y="470515"/>
                  </a:cubicBezTo>
                  <a:lnTo>
                    <a:pt x="308651" y="456233"/>
                  </a:lnTo>
                  <a:cubicBezTo>
                    <a:pt x="267392" y="503840"/>
                    <a:pt x="210264" y="519709"/>
                    <a:pt x="164244" y="519709"/>
                  </a:cubicBezTo>
                  <a:cubicBezTo>
                    <a:pt x="70617" y="519709"/>
                    <a:pt x="11902" y="472102"/>
                    <a:pt x="11902" y="378475"/>
                  </a:cubicBezTo>
                  <a:cubicBezTo>
                    <a:pt x="11902" y="311825"/>
                    <a:pt x="51574" y="276914"/>
                    <a:pt x="73791" y="264218"/>
                  </a:cubicBezTo>
                  <a:cubicBezTo>
                    <a:pt x="107116" y="245176"/>
                    <a:pt x="153135" y="229307"/>
                    <a:pt x="310238" y="215025"/>
                  </a:cubicBezTo>
                  <a:lnTo>
                    <a:pt x="310238" y="162657"/>
                  </a:lnTo>
                  <a:cubicBezTo>
                    <a:pt x="310238" y="97594"/>
                    <a:pt x="283261" y="65856"/>
                    <a:pt x="218198" y="65856"/>
                  </a:cubicBezTo>
                  <a:cubicBezTo>
                    <a:pt x="188047" y="65856"/>
                    <a:pt x="110289" y="69030"/>
                    <a:pt x="110289" y="170591"/>
                  </a:cubicBezTo>
                  <a:lnTo>
                    <a:pt x="110289" y="176939"/>
                  </a:lnTo>
                  <a:lnTo>
                    <a:pt x="30944" y="176939"/>
                  </a:lnTo>
                  <a:lnTo>
                    <a:pt x="30944" y="162657"/>
                  </a:lnTo>
                  <a:cubicBezTo>
                    <a:pt x="30944" y="46813"/>
                    <a:pt x="129332" y="11902"/>
                    <a:pt x="224546" y="11902"/>
                  </a:cubicBezTo>
                  <a:cubicBezTo>
                    <a:pt x="302304" y="11902"/>
                    <a:pt x="348324" y="35705"/>
                    <a:pt x="370541" y="67443"/>
                  </a:cubicBezTo>
                  <a:cubicBezTo>
                    <a:pt x="389583" y="94420"/>
                    <a:pt x="392757" y="135680"/>
                    <a:pt x="392757" y="172178"/>
                  </a:cubicBezTo>
                  <a:lnTo>
                    <a:pt x="392757" y="438777"/>
                  </a:lnTo>
                  <a:cubicBezTo>
                    <a:pt x="392757" y="475276"/>
                    <a:pt x="397518" y="495906"/>
                    <a:pt x="414974" y="497492"/>
                  </a:cubicBezTo>
                  <a:lnTo>
                    <a:pt x="414974" y="510188"/>
                  </a:lnTo>
                  <a:lnTo>
                    <a:pt x="348324" y="510188"/>
                  </a:lnTo>
                  <a:close/>
                  <a:moveTo>
                    <a:pt x="307065" y="261045"/>
                  </a:moveTo>
                  <a:cubicBezTo>
                    <a:pt x="207090" y="272153"/>
                    <a:pt x="164244" y="284848"/>
                    <a:pt x="142027" y="297543"/>
                  </a:cubicBezTo>
                  <a:cubicBezTo>
                    <a:pt x="108703" y="316586"/>
                    <a:pt x="97594" y="346737"/>
                    <a:pt x="97594" y="376888"/>
                  </a:cubicBezTo>
                  <a:cubicBezTo>
                    <a:pt x="97594" y="430843"/>
                    <a:pt x="129332" y="464168"/>
                    <a:pt x="186460" y="464168"/>
                  </a:cubicBezTo>
                  <a:cubicBezTo>
                    <a:pt x="216611" y="464168"/>
                    <a:pt x="242002" y="456233"/>
                    <a:pt x="261045" y="443538"/>
                  </a:cubicBezTo>
                  <a:cubicBezTo>
                    <a:pt x="302304" y="416561"/>
                    <a:pt x="305478" y="370541"/>
                    <a:pt x="305478" y="334042"/>
                  </a:cubicBezTo>
                  <a:lnTo>
                    <a:pt x="305478" y="261045"/>
                  </a:lnTo>
                  <a:close/>
                </a:path>
              </a:pathLst>
            </a:custGeom>
            <a:grp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21D4F253-FCC8-4148-97EF-2AECA5E13C67}"/>
                </a:ext>
              </a:extLst>
            </p:cNvPr>
            <p:cNvSpPr/>
            <p:nvPr/>
          </p:nvSpPr>
          <p:spPr>
            <a:xfrm>
              <a:off x="7432411" y="2962377"/>
              <a:ext cx="444331" cy="507807"/>
            </a:xfrm>
            <a:custGeom>
              <a:avLst/>
              <a:gdLst>
                <a:gd name="connsiteX0" fmla="*/ 262632 w 444331"/>
                <a:gd name="connsiteY0" fmla="*/ 499079 h 507807"/>
                <a:gd name="connsiteX1" fmla="*/ 173765 w 444331"/>
                <a:gd name="connsiteY1" fmla="*/ 499079 h 507807"/>
                <a:gd name="connsiteX2" fmla="*/ 11902 w 444331"/>
                <a:gd name="connsiteY2" fmla="*/ 11902 h 507807"/>
                <a:gd name="connsiteX3" fmla="*/ 103942 w 444331"/>
                <a:gd name="connsiteY3" fmla="*/ 11902 h 507807"/>
                <a:gd name="connsiteX4" fmla="*/ 226133 w 444331"/>
                <a:gd name="connsiteY4" fmla="*/ 411800 h 507807"/>
                <a:gd name="connsiteX5" fmla="*/ 364193 w 444331"/>
                <a:gd name="connsiteY5" fmla="*/ 11902 h 507807"/>
                <a:gd name="connsiteX6" fmla="*/ 440364 w 444331"/>
                <a:gd name="connsiteY6" fmla="*/ 11902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331" h="507807">
                  <a:moveTo>
                    <a:pt x="262632" y="499079"/>
                  </a:moveTo>
                  <a:lnTo>
                    <a:pt x="173765" y="499079"/>
                  </a:lnTo>
                  <a:lnTo>
                    <a:pt x="11902" y="11902"/>
                  </a:lnTo>
                  <a:lnTo>
                    <a:pt x="103942" y="11902"/>
                  </a:lnTo>
                  <a:lnTo>
                    <a:pt x="226133" y="411800"/>
                  </a:lnTo>
                  <a:lnTo>
                    <a:pt x="364193" y="11902"/>
                  </a:lnTo>
                  <a:lnTo>
                    <a:pt x="440364" y="11902"/>
                  </a:ln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320D60F-F1AA-4BB9-B6BC-C5B3C9F46C0D}"/>
                </a:ext>
              </a:extLst>
            </p:cNvPr>
            <p:cNvSpPr/>
            <p:nvPr/>
          </p:nvSpPr>
          <p:spPr>
            <a:xfrm>
              <a:off x="7871982" y="2951269"/>
              <a:ext cx="428462" cy="523676"/>
            </a:xfrm>
            <a:custGeom>
              <a:avLst/>
              <a:gdLst>
                <a:gd name="connsiteX0" fmla="*/ 99181 w 428462"/>
                <a:gd name="connsiteY0" fmla="*/ 268979 h 523676"/>
                <a:gd name="connsiteX1" fmla="*/ 227720 w 428462"/>
                <a:gd name="connsiteY1" fmla="*/ 465754 h 523676"/>
                <a:gd name="connsiteX2" fmla="*/ 340389 w 428462"/>
                <a:gd name="connsiteY2" fmla="*/ 361019 h 523676"/>
                <a:gd name="connsiteX3" fmla="*/ 422908 w 428462"/>
                <a:gd name="connsiteY3" fmla="*/ 361019 h 523676"/>
                <a:gd name="connsiteX4" fmla="*/ 224546 w 428462"/>
                <a:gd name="connsiteY4" fmla="*/ 519709 h 523676"/>
                <a:gd name="connsiteX5" fmla="*/ 11902 w 428462"/>
                <a:gd name="connsiteY5" fmla="*/ 280087 h 523676"/>
                <a:gd name="connsiteX6" fmla="*/ 230893 w 428462"/>
                <a:gd name="connsiteY6" fmla="*/ 11902 h 523676"/>
                <a:gd name="connsiteX7" fmla="*/ 426082 w 428462"/>
                <a:gd name="connsiteY7" fmla="*/ 240415 h 523676"/>
                <a:gd name="connsiteX8" fmla="*/ 426082 w 428462"/>
                <a:gd name="connsiteY8" fmla="*/ 264218 h 523676"/>
                <a:gd name="connsiteX9" fmla="*/ 100768 w 428462"/>
                <a:gd name="connsiteY9" fmla="*/ 264218 h 523676"/>
                <a:gd name="connsiteX10" fmla="*/ 100768 w 428462"/>
                <a:gd name="connsiteY10" fmla="*/ 268979 h 523676"/>
                <a:gd name="connsiteX11" fmla="*/ 340389 w 428462"/>
                <a:gd name="connsiteY11" fmla="*/ 213438 h 523676"/>
                <a:gd name="connsiteX12" fmla="*/ 229306 w 428462"/>
                <a:gd name="connsiteY12" fmla="*/ 65856 h 523676"/>
                <a:gd name="connsiteX13" fmla="*/ 100768 w 428462"/>
                <a:gd name="connsiteY13" fmla="*/ 213438 h 523676"/>
                <a:gd name="connsiteX14" fmla="*/ 340389 w 428462"/>
                <a:gd name="connsiteY14" fmla="*/ 213438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462" h="523676">
                  <a:moveTo>
                    <a:pt x="99181" y="268979"/>
                  </a:moveTo>
                  <a:cubicBezTo>
                    <a:pt x="99181" y="329281"/>
                    <a:pt x="100768" y="465754"/>
                    <a:pt x="227720" y="465754"/>
                  </a:cubicBezTo>
                  <a:cubicBezTo>
                    <a:pt x="259458" y="465754"/>
                    <a:pt x="334042" y="453059"/>
                    <a:pt x="340389" y="361019"/>
                  </a:cubicBezTo>
                  <a:lnTo>
                    <a:pt x="422908" y="361019"/>
                  </a:lnTo>
                  <a:cubicBezTo>
                    <a:pt x="422908" y="443538"/>
                    <a:pt x="356258" y="519709"/>
                    <a:pt x="224546" y="519709"/>
                  </a:cubicBezTo>
                  <a:cubicBezTo>
                    <a:pt x="70617" y="519709"/>
                    <a:pt x="11902" y="419735"/>
                    <a:pt x="11902" y="280087"/>
                  </a:cubicBezTo>
                  <a:cubicBezTo>
                    <a:pt x="11902" y="121398"/>
                    <a:pt x="75378" y="11902"/>
                    <a:pt x="230893" y="11902"/>
                  </a:cubicBezTo>
                  <a:cubicBezTo>
                    <a:pt x="356258" y="11902"/>
                    <a:pt x="426082" y="83312"/>
                    <a:pt x="426082" y="240415"/>
                  </a:cubicBezTo>
                  <a:lnTo>
                    <a:pt x="426082" y="264218"/>
                  </a:lnTo>
                  <a:lnTo>
                    <a:pt x="100768" y="264218"/>
                  </a:lnTo>
                  <a:lnTo>
                    <a:pt x="100768" y="268979"/>
                  </a:lnTo>
                  <a:close/>
                  <a:moveTo>
                    <a:pt x="340389" y="213438"/>
                  </a:moveTo>
                  <a:cubicBezTo>
                    <a:pt x="338803" y="183287"/>
                    <a:pt x="337216" y="65856"/>
                    <a:pt x="229306" y="65856"/>
                  </a:cubicBezTo>
                  <a:cubicBezTo>
                    <a:pt x="159483" y="65856"/>
                    <a:pt x="107116" y="115050"/>
                    <a:pt x="100768" y="213438"/>
                  </a:cubicBezTo>
                  <a:lnTo>
                    <a:pt x="340389" y="213438"/>
                  </a:ln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B908DA6A-4E34-4819-8BBB-3FC2DB30701C}"/>
                </a:ext>
              </a:extLst>
            </p:cNvPr>
            <p:cNvSpPr/>
            <p:nvPr/>
          </p:nvSpPr>
          <p:spPr>
            <a:xfrm>
              <a:off x="3671465" y="2795753"/>
              <a:ext cx="444331" cy="539545"/>
            </a:xfrm>
            <a:custGeom>
              <a:avLst/>
              <a:gdLst>
                <a:gd name="connsiteX0" fmla="*/ 11902 w 444331"/>
                <a:gd name="connsiteY0" fmla="*/ 11902 h 539545"/>
                <a:gd name="connsiteX1" fmla="*/ 11902 w 444331"/>
                <a:gd name="connsiteY1" fmla="*/ 11902 h 539545"/>
                <a:gd name="connsiteX2" fmla="*/ 11902 w 444331"/>
                <a:gd name="connsiteY2" fmla="*/ 533991 h 539545"/>
                <a:gd name="connsiteX3" fmla="*/ 275327 w 444331"/>
                <a:gd name="connsiteY3" fmla="*/ 353085 h 539545"/>
                <a:gd name="connsiteX4" fmla="*/ 445125 w 444331"/>
                <a:gd name="connsiteY4" fmla="*/ 176939 h 539545"/>
                <a:gd name="connsiteX5" fmla="*/ 11902 w 444331"/>
                <a:gd name="connsiteY5" fmla="*/ 11902 h 53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331" h="539545">
                  <a:moveTo>
                    <a:pt x="11902" y="11902"/>
                  </a:moveTo>
                  <a:lnTo>
                    <a:pt x="11902" y="11902"/>
                  </a:lnTo>
                  <a:lnTo>
                    <a:pt x="11902" y="533991"/>
                  </a:lnTo>
                  <a:cubicBezTo>
                    <a:pt x="11902" y="533991"/>
                    <a:pt x="159483" y="449886"/>
                    <a:pt x="275327" y="353085"/>
                  </a:cubicBezTo>
                  <a:cubicBezTo>
                    <a:pt x="392757" y="256284"/>
                    <a:pt x="445125" y="176939"/>
                    <a:pt x="445125" y="176939"/>
                  </a:cubicBezTo>
                  <a:cubicBezTo>
                    <a:pt x="329281" y="73791"/>
                    <a:pt x="178526" y="11902"/>
                    <a:pt x="11902" y="11902"/>
                  </a:cubicBezTo>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FFB43E9-6400-4300-876E-5F49A3C35628}"/>
                </a:ext>
              </a:extLst>
            </p:cNvPr>
            <p:cNvSpPr/>
            <p:nvPr/>
          </p:nvSpPr>
          <p:spPr>
            <a:xfrm>
              <a:off x="3888870" y="2760841"/>
              <a:ext cx="491938" cy="491938"/>
            </a:xfrm>
            <a:custGeom>
              <a:avLst/>
              <a:gdLst>
                <a:gd name="connsiteX0" fmla="*/ 11902 w 491938"/>
                <a:gd name="connsiteY0" fmla="*/ 11902 h 491938"/>
                <a:gd name="connsiteX1" fmla="*/ 481623 w 491938"/>
                <a:gd name="connsiteY1" fmla="*/ 481623 h 491938"/>
                <a:gd name="connsiteX2" fmla="*/ 481623 w 491938"/>
                <a:gd name="connsiteY2" fmla="*/ 11902 h 491938"/>
                <a:gd name="connsiteX3" fmla="*/ 11902 w 491938"/>
                <a:gd name="connsiteY3" fmla="*/ 11902 h 491938"/>
              </a:gdLst>
              <a:ahLst/>
              <a:cxnLst>
                <a:cxn ang="0">
                  <a:pos x="connsiteX0" y="connsiteY0"/>
                </a:cxn>
                <a:cxn ang="0">
                  <a:pos x="connsiteX1" y="connsiteY1"/>
                </a:cxn>
                <a:cxn ang="0">
                  <a:pos x="connsiteX2" y="connsiteY2"/>
                </a:cxn>
                <a:cxn ang="0">
                  <a:pos x="connsiteX3" y="connsiteY3"/>
                </a:cxn>
              </a:cxnLst>
              <a:rect l="l" t="t" r="r" b="b"/>
              <a:pathLst>
                <a:path w="491938" h="491938">
                  <a:moveTo>
                    <a:pt x="11902" y="11902"/>
                  </a:moveTo>
                  <a:cubicBezTo>
                    <a:pt x="235654" y="83312"/>
                    <a:pt x="411800" y="259458"/>
                    <a:pt x="481623" y="481623"/>
                  </a:cubicBezTo>
                  <a:lnTo>
                    <a:pt x="481623" y="11902"/>
                  </a:lnTo>
                  <a:lnTo>
                    <a:pt x="11902" y="11902"/>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9529EE5F-0DCD-43CD-A9A1-F0C6B36654CE}"/>
                </a:ext>
              </a:extLst>
            </p:cNvPr>
            <p:cNvSpPr/>
            <p:nvPr/>
          </p:nvSpPr>
          <p:spPr>
            <a:xfrm>
              <a:off x="3803177" y="3016331"/>
              <a:ext cx="539545" cy="444331"/>
            </a:xfrm>
            <a:custGeom>
              <a:avLst/>
              <a:gdLst>
                <a:gd name="connsiteX0" fmla="*/ 533991 w 539545"/>
                <a:gd name="connsiteY0" fmla="*/ 445125 h 444331"/>
                <a:gd name="connsiteX1" fmla="*/ 533991 w 539545"/>
                <a:gd name="connsiteY1" fmla="*/ 445125 h 444331"/>
                <a:gd name="connsiteX2" fmla="*/ 11902 w 539545"/>
                <a:gd name="connsiteY2" fmla="*/ 445125 h 444331"/>
                <a:gd name="connsiteX3" fmla="*/ 192808 w 539545"/>
                <a:gd name="connsiteY3" fmla="*/ 181700 h 444331"/>
                <a:gd name="connsiteX4" fmla="*/ 368954 w 539545"/>
                <a:gd name="connsiteY4" fmla="*/ 11902 h 444331"/>
                <a:gd name="connsiteX5" fmla="*/ 533991 w 539545"/>
                <a:gd name="connsiteY5" fmla="*/ 445125 h 44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545" h="444331">
                  <a:moveTo>
                    <a:pt x="533991" y="445125"/>
                  </a:moveTo>
                  <a:lnTo>
                    <a:pt x="533991" y="445125"/>
                  </a:lnTo>
                  <a:lnTo>
                    <a:pt x="11902" y="445125"/>
                  </a:lnTo>
                  <a:cubicBezTo>
                    <a:pt x="11902" y="445125"/>
                    <a:pt x="96007" y="297543"/>
                    <a:pt x="192808" y="181700"/>
                  </a:cubicBezTo>
                  <a:cubicBezTo>
                    <a:pt x="289609" y="64269"/>
                    <a:pt x="368954" y="11902"/>
                    <a:pt x="368954" y="11902"/>
                  </a:cubicBezTo>
                  <a:cubicBezTo>
                    <a:pt x="470515" y="126158"/>
                    <a:pt x="533991" y="278501"/>
                    <a:pt x="533991" y="445125"/>
                  </a:cubicBezTo>
                </a:path>
              </a:pathLst>
            </a:custGeom>
            <a:grp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45B0C59-71A2-4365-B988-6D502F1F3C26}"/>
                </a:ext>
              </a:extLst>
            </p:cNvPr>
            <p:cNvSpPr/>
            <p:nvPr/>
          </p:nvSpPr>
          <p:spPr>
            <a:xfrm>
              <a:off x="8365507" y="2954442"/>
              <a:ext cx="158690" cy="158690"/>
            </a:xfrm>
            <a:custGeom>
              <a:avLst/>
              <a:gdLst>
                <a:gd name="connsiteX0" fmla="*/ 86486 w 158689"/>
                <a:gd name="connsiteY0" fmla="*/ 161070 h 158689"/>
                <a:gd name="connsiteX1" fmla="*/ 11902 w 158689"/>
                <a:gd name="connsiteY1" fmla="*/ 86486 h 158689"/>
                <a:gd name="connsiteX2" fmla="*/ 86486 w 158689"/>
                <a:gd name="connsiteY2" fmla="*/ 11902 h 158689"/>
                <a:gd name="connsiteX3" fmla="*/ 161070 w 158689"/>
                <a:gd name="connsiteY3" fmla="*/ 86486 h 158689"/>
                <a:gd name="connsiteX4" fmla="*/ 86486 w 158689"/>
                <a:gd name="connsiteY4" fmla="*/ 161070 h 158689"/>
                <a:gd name="connsiteX5" fmla="*/ 86486 w 158689"/>
                <a:gd name="connsiteY5" fmla="*/ 19836 h 158689"/>
                <a:gd name="connsiteX6" fmla="*/ 19836 w 158689"/>
                <a:gd name="connsiteY6" fmla="*/ 88073 h 158689"/>
                <a:gd name="connsiteX7" fmla="*/ 86486 w 158689"/>
                <a:gd name="connsiteY7" fmla="*/ 154723 h 158689"/>
                <a:gd name="connsiteX8" fmla="*/ 153135 w 158689"/>
                <a:gd name="connsiteY8" fmla="*/ 88073 h 158689"/>
                <a:gd name="connsiteX9" fmla="*/ 86486 w 158689"/>
                <a:gd name="connsiteY9" fmla="*/ 19836 h 158689"/>
                <a:gd name="connsiteX10" fmla="*/ 92833 w 158689"/>
                <a:gd name="connsiteY10" fmla="*/ 42053 h 158689"/>
                <a:gd name="connsiteX11" fmla="*/ 119811 w 158689"/>
                <a:gd name="connsiteY11" fmla="*/ 64269 h 158689"/>
                <a:gd name="connsiteX12" fmla="*/ 102355 w 158689"/>
                <a:gd name="connsiteY12" fmla="*/ 88073 h 158689"/>
                <a:gd name="connsiteX13" fmla="*/ 116637 w 158689"/>
                <a:gd name="connsiteY13" fmla="*/ 103942 h 158689"/>
                <a:gd name="connsiteX14" fmla="*/ 121398 w 158689"/>
                <a:gd name="connsiteY14" fmla="*/ 121398 h 158689"/>
                <a:gd name="connsiteX15" fmla="*/ 126158 w 158689"/>
                <a:gd name="connsiteY15" fmla="*/ 132506 h 158689"/>
                <a:gd name="connsiteX16" fmla="*/ 110289 w 158689"/>
                <a:gd name="connsiteY16" fmla="*/ 132506 h 158689"/>
                <a:gd name="connsiteX17" fmla="*/ 107116 w 158689"/>
                <a:gd name="connsiteY17" fmla="*/ 126158 h 158689"/>
                <a:gd name="connsiteX18" fmla="*/ 102355 w 158689"/>
                <a:gd name="connsiteY18" fmla="*/ 110289 h 158689"/>
                <a:gd name="connsiteX19" fmla="*/ 78551 w 158689"/>
                <a:gd name="connsiteY19" fmla="*/ 94420 h 158689"/>
                <a:gd name="connsiteX20" fmla="*/ 72204 w 158689"/>
                <a:gd name="connsiteY20" fmla="*/ 94420 h 158689"/>
                <a:gd name="connsiteX21" fmla="*/ 72204 w 158689"/>
                <a:gd name="connsiteY21" fmla="*/ 132506 h 158689"/>
                <a:gd name="connsiteX22" fmla="*/ 56335 w 158689"/>
                <a:gd name="connsiteY22" fmla="*/ 132506 h 158689"/>
                <a:gd name="connsiteX23" fmla="*/ 56335 w 158689"/>
                <a:gd name="connsiteY23" fmla="*/ 43640 h 158689"/>
                <a:gd name="connsiteX24" fmla="*/ 92833 w 158689"/>
                <a:gd name="connsiteY24" fmla="*/ 43640 h 158689"/>
                <a:gd name="connsiteX25" fmla="*/ 72204 w 158689"/>
                <a:gd name="connsiteY25" fmla="*/ 83312 h 158689"/>
                <a:gd name="connsiteX26" fmla="*/ 81725 w 158689"/>
                <a:gd name="connsiteY26" fmla="*/ 83312 h 158689"/>
                <a:gd name="connsiteX27" fmla="*/ 105529 w 158689"/>
                <a:gd name="connsiteY27" fmla="*/ 67443 h 158689"/>
                <a:gd name="connsiteX28" fmla="*/ 86486 w 158689"/>
                <a:gd name="connsiteY28" fmla="*/ 53161 h 158689"/>
                <a:gd name="connsiteX29" fmla="*/ 73791 w 158689"/>
                <a:gd name="connsiteY29" fmla="*/ 53161 h 158689"/>
                <a:gd name="connsiteX30" fmla="*/ 73791 w 158689"/>
                <a:gd name="connsiteY30" fmla="*/ 83312 h 158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8689" h="158689">
                  <a:moveTo>
                    <a:pt x="86486" y="161070"/>
                  </a:moveTo>
                  <a:cubicBezTo>
                    <a:pt x="45226" y="161070"/>
                    <a:pt x="11902" y="127745"/>
                    <a:pt x="11902" y="86486"/>
                  </a:cubicBezTo>
                  <a:cubicBezTo>
                    <a:pt x="11902" y="45227"/>
                    <a:pt x="45226" y="11902"/>
                    <a:pt x="86486" y="11902"/>
                  </a:cubicBezTo>
                  <a:cubicBezTo>
                    <a:pt x="127745" y="11902"/>
                    <a:pt x="161070" y="45227"/>
                    <a:pt x="161070" y="86486"/>
                  </a:cubicBezTo>
                  <a:cubicBezTo>
                    <a:pt x="161070" y="127745"/>
                    <a:pt x="127745" y="161070"/>
                    <a:pt x="86486" y="161070"/>
                  </a:cubicBezTo>
                  <a:moveTo>
                    <a:pt x="86486" y="19836"/>
                  </a:moveTo>
                  <a:cubicBezTo>
                    <a:pt x="48400" y="19836"/>
                    <a:pt x="19836" y="49987"/>
                    <a:pt x="19836" y="88073"/>
                  </a:cubicBezTo>
                  <a:cubicBezTo>
                    <a:pt x="19836" y="124572"/>
                    <a:pt x="49987" y="154723"/>
                    <a:pt x="86486" y="154723"/>
                  </a:cubicBezTo>
                  <a:cubicBezTo>
                    <a:pt x="122985" y="154723"/>
                    <a:pt x="153135" y="124572"/>
                    <a:pt x="153135" y="88073"/>
                  </a:cubicBezTo>
                  <a:cubicBezTo>
                    <a:pt x="153135" y="49987"/>
                    <a:pt x="124571" y="19836"/>
                    <a:pt x="86486" y="19836"/>
                  </a:cubicBezTo>
                  <a:moveTo>
                    <a:pt x="92833" y="42053"/>
                  </a:moveTo>
                  <a:cubicBezTo>
                    <a:pt x="110289" y="42053"/>
                    <a:pt x="119811" y="48400"/>
                    <a:pt x="119811" y="64269"/>
                  </a:cubicBezTo>
                  <a:cubicBezTo>
                    <a:pt x="119811" y="76965"/>
                    <a:pt x="113463" y="83312"/>
                    <a:pt x="102355" y="88073"/>
                  </a:cubicBezTo>
                  <a:cubicBezTo>
                    <a:pt x="110289" y="89660"/>
                    <a:pt x="113463" y="94420"/>
                    <a:pt x="116637" y="103942"/>
                  </a:cubicBezTo>
                  <a:lnTo>
                    <a:pt x="121398" y="121398"/>
                  </a:lnTo>
                  <a:cubicBezTo>
                    <a:pt x="122985" y="126158"/>
                    <a:pt x="124571" y="129332"/>
                    <a:pt x="126158" y="132506"/>
                  </a:cubicBezTo>
                  <a:lnTo>
                    <a:pt x="110289" y="132506"/>
                  </a:lnTo>
                  <a:cubicBezTo>
                    <a:pt x="108702" y="130919"/>
                    <a:pt x="107116" y="129332"/>
                    <a:pt x="107116" y="126158"/>
                  </a:cubicBezTo>
                  <a:lnTo>
                    <a:pt x="102355" y="110289"/>
                  </a:lnTo>
                  <a:cubicBezTo>
                    <a:pt x="99181" y="97594"/>
                    <a:pt x="96007" y="94420"/>
                    <a:pt x="78551" y="94420"/>
                  </a:cubicBezTo>
                  <a:lnTo>
                    <a:pt x="72204" y="94420"/>
                  </a:lnTo>
                  <a:lnTo>
                    <a:pt x="72204" y="132506"/>
                  </a:lnTo>
                  <a:lnTo>
                    <a:pt x="56335" y="132506"/>
                  </a:lnTo>
                  <a:lnTo>
                    <a:pt x="56335" y="43640"/>
                  </a:lnTo>
                  <a:lnTo>
                    <a:pt x="92833" y="43640"/>
                  </a:lnTo>
                  <a:close/>
                  <a:moveTo>
                    <a:pt x="72204" y="83312"/>
                  </a:moveTo>
                  <a:lnTo>
                    <a:pt x="81725" y="83312"/>
                  </a:lnTo>
                  <a:cubicBezTo>
                    <a:pt x="97594" y="83312"/>
                    <a:pt x="105529" y="80138"/>
                    <a:pt x="105529" y="67443"/>
                  </a:cubicBezTo>
                  <a:cubicBezTo>
                    <a:pt x="105529" y="56335"/>
                    <a:pt x="100768" y="53161"/>
                    <a:pt x="86486" y="53161"/>
                  </a:cubicBezTo>
                  <a:lnTo>
                    <a:pt x="73791" y="53161"/>
                  </a:lnTo>
                  <a:lnTo>
                    <a:pt x="73791" y="83312"/>
                  </a:lnTo>
                  <a:close/>
                </a:path>
              </a:pathLst>
            </a:custGeom>
            <a:grpFill/>
            <a:ln w="9525" cap="flat">
              <a:noFill/>
              <a:prstDash val="solid"/>
              <a:miter/>
            </a:ln>
          </p:spPr>
          <p:txBody>
            <a:bodyPr rtlCol="0" anchor="ctr"/>
            <a:lstStyle/>
            <a:p>
              <a:endParaRPr lang="en-US"/>
            </a:p>
          </p:txBody>
        </p:sp>
      </p:grpSp>
      <p:sp>
        <p:nvSpPr>
          <p:cNvPr id="15" name="Rectangle 14">
            <a:extLst>
              <a:ext uri="{FF2B5EF4-FFF2-40B4-BE49-F238E27FC236}">
                <a16:creationId xmlns:a16="http://schemas.microsoft.com/office/drawing/2014/main" id="{487B7DD5-CDF9-4902-9E22-414E547BA974}"/>
              </a:ext>
            </a:extLst>
          </p:cNvPr>
          <p:cNvSpPr/>
          <p:nvPr userDrawn="1"/>
        </p:nvSpPr>
        <p:spPr>
          <a:xfrm>
            <a:off x="871046" y="5796171"/>
            <a:ext cx="10520218" cy="1061829"/>
          </a:xfrm>
          <a:prstGeom prst="rect">
            <a:avLst/>
          </a:prstGeom>
        </p:spPr>
        <p:txBody>
          <a:bodyPr wrap="square">
            <a:spAutoFit/>
          </a:bodyPr>
          <a:lstStyle/>
          <a:p>
            <a:pPr algn="ctr"/>
            <a:r>
              <a:rPr lang="en-SG" sz="900">
                <a:solidFill>
                  <a:schemeClr val="bg1"/>
                </a:solidFill>
              </a:rPr>
              <a:t>This presentation and the information contained herein (the “Materials”) is provided to the best of Trustwave’s reasonable knowledge and belief at the time of drafting, is confidential and proprietary and is not to be reproduced or distributed without the express written consent of Trustwave Holdings, Inc. (“Trustwave”). The Materials are provided solely for information purposes and are not a commitment, promise or legal obligation to purchase or deliver any product, features, functionalities or services, and should not be relied upon in any manner. Separate terms and conditions will be entered into in the event that Trustwave elects to enter any future transactions.  The Materials and any Trustwave product or service  offerings are subject to change without further notice at Trustwave’s sole and absolute discretion. THE MATERIALS ARE PROVIDED “AS IS”. TRUSTWAVE EXPRESSLY DISCLAIMS ANY AND ALL WARRANTIES, EXPRESS AND IMPLIED, INCLUDING WITHOUT LIMITATION WARRANTIES OF MERCHANTABILITY AND FITNESS FOR A PARTICULAR PURPOSE, WITH RESPECT TO THESE MATERIALS. IN NO EVENT SHALL TRUSTWAVE BE LIABLE FOR ANY DIRECT, INDIRECT, INCIDENTAL, PUNITIVE OR CONSEQUENTIAL DAMAGES OF ANY KIND WHATSOEVER WITH RESPECT TO THESE MATERIALS.</a:t>
            </a:r>
          </a:p>
        </p:txBody>
      </p:sp>
    </p:spTree>
    <p:extLst>
      <p:ext uri="{BB962C8B-B14F-4D97-AF65-F5344CB8AC3E}">
        <p14:creationId xmlns:p14="http://schemas.microsoft.com/office/powerpoint/2010/main" val="33900740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gue (Blue)">
    <p:bg>
      <p:bgPr>
        <a:solidFill>
          <a:schemeClr val="tx2"/>
        </a:solidFill>
        <a:effectLst/>
      </p:bgPr>
    </p:bg>
    <p:spTree>
      <p:nvGrpSpPr>
        <p:cNvPr id="1" name=""/>
        <p:cNvGrpSpPr/>
        <p:nvPr/>
      </p:nvGrpSpPr>
      <p:grpSpPr>
        <a:xfrm>
          <a:off x="0" y="0"/>
          <a:ext cx="0" cy="0"/>
          <a:chOff x="0" y="0"/>
          <a:chExt cx="0" cy="0"/>
        </a:xfrm>
      </p:grpSpPr>
      <p:sp>
        <p:nvSpPr>
          <p:cNvPr id="11" name="Title 17">
            <a:extLst>
              <a:ext uri="{FF2B5EF4-FFF2-40B4-BE49-F238E27FC236}">
                <a16:creationId xmlns:a16="http://schemas.microsoft.com/office/drawing/2014/main" id="{6EB3266D-B564-48F5-867E-596E5A2832A5}"/>
              </a:ext>
            </a:extLst>
          </p:cNvPr>
          <p:cNvSpPr>
            <a:spLocks noGrp="1"/>
          </p:cNvSpPr>
          <p:nvPr>
            <p:ph type="title"/>
          </p:nvPr>
        </p:nvSpPr>
        <p:spPr>
          <a:xfrm>
            <a:off x="914400" y="2578150"/>
            <a:ext cx="10363200" cy="1701700"/>
          </a:xfrm>
        </p:spPr>
        <p:txBody>
          <a:bodyPr anchor="ctr"/>
          <a:lstStyle>
            <a:lvl1pPr algn="ctr">
              <a:defRPr sz="4400">
                <a:solidFill>
                  <a:schemeClr val="bg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4CA3CC1C-4A13-4D71-96C4-081B805655F7}"/>
              </a:ext>
            </a:extLst>
          </p:cNvPr>
          <p:cNvCxnSpPr/>
          <p:nvPr userDrawn="1"/>
        </p:nvCxnSpPr>
        <p:spPr>
          <a:xfrm>
            <a:off x="457200" y="719844"/>
            <a:ext cx="11277600" cy="0"/>
          </a:xfrm>
          <a:prstGeom prst="line">
            <a:avLst/>
          </a:prstGeom>
          <a:ln w="9525"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E71DD990-F3B1-45AC-B083-3D07A0540E3B}"/>
              </a:ext>
            </a:extLst>
          </p:cNvPr>
          <p:cNvCxnSpPr/>
          <p:nvPr userDrawn="1"/>
        </p:nvCxnSpPr>
        <p:spPr>
          <a:xfrm>
            <a:off x="457200" y="6138155"/>
            <a:ext cx="11277600" cy="0"/>
          </a:xfrm>
          <a:prstGeom prst="line">
            <a:avLst/>
          </a:prstGeom>
          <a:ln w="9525" cap="rnd">
            <a:solidFill>
              <a:schemeClr val="bg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88745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 Black Standar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57200" y="2436307"/>
            <a:ext cx="6724650" cy="1477328"/>
          </a:xfrm>
        </p:spPr>
        <p:txBody>
          <a:bodyPr wrap="square" anchor="b">
            <a:spAutoFit/>
          </a:bodyPr>
          <a:lstStyle>
            <a:lvl1pPr algn="l">
              <a:lnSpc>
                <a:spcPct val="80000"/>
              </a:lnSpc>
              <a:defRPr sz="6000">
                <a:ln w="9525" cap="rnd">
                  <a:noFill/>
                </a:ln>
                <a:solidFill>
                  <a:schemeClr val="bg1"/>
                </a:solidFill>
              </a:defRPr>
            </a:lvl1pPr>
          </a:lstStyle>
          <a:p>
            <a:r>
              <a:rPr lang="en-US"/>
              <a:t>Click to edit Master title style</a:t>
            </a:r>
          </a:p>
        </p:txBody>
      </p:sp>
      <p:sp>
        <p:nvSpPr>
          <p:cNvPr id="54" name="Text Placeholder 53"/>
          <p:cNvSpPr>
            <a:spLocks noGrp="1"/>
          </p:cNvSpPr>
          <p:nvPr>
            <p:ph type="body" sz="quarter" idx="10" hasCustomPrompt="1"/>
          </p:nvPr>
        </p:nvSpPr>
        <p:spPr bwMode="gray">
          <a:xfrm>
            <a:off x="457200" y="4365591"/>
            <a:ext cx="6724650" cy="2074414"/>
          </a:xfrm>
        </p:spPr>
        <p:txBody>
          <a:bodyPr wrap="square">
            <a:spAutoFit/>
          </a:bodyPr>
          <a:lstStyle>
            <a:lvl1pPr marL="0" indent="0">
              <a:spcBef>
                <a:spcPts val="600"/>
              </a:spcBef>
              <a:spcAft>
                <a:spcPts val="200"/>
              </a:spcAft>
              <a:buClr>
                <a:schemeClr val="bg1"/>
              </a:buClr>
              <a:buFont typeface="Arial" panose="020B0604020202020204" pitchFamily="34" charset="0"/>
              <a:buChar char="​"/>
              <a:defRPr sz="2400" b="1" cap="all" baseline="0">
                <a:solidFill>
                  <a:schemeClr val="bg1"/>
                </a:solidFill>
              </a:defRPr>
            </a:lvl1pPr>
            <a:lvl2pPr marL="0" indent="0">
              <a:spcBef>
                <a:spcPts val="5400"/>
              </a:spcBef>
              <a:spcAft>
                <a:spcPts val="0"/>
              </a:spcAft>
              <a:buClr>
                <a:schemeClr val="bg1"/>
              </a:buClr>
              <a:buFont typeface="Arial" panose="020B0604020202020204" pitchFamily="34" charset="0"/>
              <a:buChar char="​"/>
              <a:defRPr sz="1800" b="1">
                <a:solidFill>
                  <a:schemeClr val="bg1"/>
                </a:solidFill>
              </a:defRPr>
            </a:lvl2pPr>
            <a:lvl3pPr marL="0" indent="0">
              <a:spcBef>
                <a:spcPts val="200"/>
              </a:spcBef>
              <a:spcAft>
                <a:spcPts val="200"/>
              </a:spcAft>
              <a:buClr>
                <a:schemeClr val="bg1"/>
              </a:buClr>
              <a:buFont typeface="Arial" panose="020B0604020202020204" pitchFamily="34" charset="0"/>
              <a:buChar char="​"/>
              <a:defRPr sz="1600" b="0" spc="50" baseline="0">
                <a:solidFill>
                  <a:schemeClr val="bg2"/>
                </a:solidFill>
              </a:defRPr>
            </a:lvl3pPr>
            <a:lvl4pPr marL="0" indent="0">
              <a:spcBef>
                <a:spcPts val="2400"/>
              </a:spcBef>
              <a:spcAft>
                <a:spcPts val="200"/>
              </a:spcAft>
              <a:buClr>
                <a:schemeClr val="bg1"/>
              </a:buClr>
              <a:buFont typeface="Arial" panose="020B0604020202020204" pitchFamily="34" charset="0"/>
              <a:buChar char="​"/>
              <a:defRPr sz="1400" b="0" spc="0">
                <a:solidFill>
                  <a:schemeClr val="bg1"/>
                </a:solidFill>
              </a:defRPr>
            </a:lvl4pPr>
            <a:lvl5pPr marL="0" indent="0">
              <a:spcBef>
                <a:spcPts val="2400"/>
              </a:spcBef>
              <a:spcAft>
                <a:spcPts val="200"/>
              </a:spcAft>
              <a:buClr>
                <a:schemeClr val="bg1"/>
              </a:buClr>
              <a:buFont typeface="Arial" panose="020B0604020202020204" pitchFamily="34" charset="0"/>
              <a:buChar char="​"/>
              <a:defRPr sz="1400">
                <a:solidFill>
                  <a:schemeClr val="bg1"/>
                </a:solidFill>
              </a:defRPr>
            </a:lvl5pPr>
            <a:lvl6pPr marL="0" indent="0">
              <a:spcBef>
                <a:spcPts val="2400"/>
              </a:spcBef>
              <a:spcAft>
                <a:spcPts val="200"/>
              </a:spcAft>
              <a:buClr>
                <a:schemeClr val="bg1"/>
              </a:buClr>
              <a:buFont typeface="Arial" panose="020B0604020202020204" pitchFamily="34" charset="0"/>
              <a:buChar char="​"/>
              <a:defRPr sz="1400">
                <a:solidFill>
                  <a:schemeClr val="bg1"/>
                </a:solidFill>
              </a:defRPr>
            </a:lvl6pPr>
            <a:lvl7pPr marL="0" indent="0">
              <a:spcBef>
                <a:spcPts val="2400"/>
              </a:spcBef>
              <a:spcAft>
                <a:spcPts val="200"/>
              </a:spcAft>
              <a:buClr>
                <a:schemeClr val="bg1"/>
              </a:buClr>
              <a:buFont typeface="Arial" panose="020B0604020202020204" pitchFamily="34" charset="0"/>
              <a:buChar char="​"/>
              <a:defRPr sz="1400">
                <a:solidFill>
                  <a:schemeClr val="bg1"/>
                </a:solidFill>
              </a:defRPr>
            </a:lvl7pPr>
            <a:lvl8pPr marL="0" indent="0">
              <a:spcBef>
                <a:spcPts val="2400"/>
              </a:spcBef>
              <a:spcAft>
                <a:spcPts val="200"/>
              </a:spcAft>
              <a:buClr>
                <a:schemeClr val="bg1"/>
              </a:buClr>
              <a:buFont typeface="Arial" panose="020B0604020202020204" pitchFamily="34" charset="0"/>
              <a:buChar char="​"/>
              <a:defRPr sz="1400">
                <a:solidFill>
                  <a:schemeClr val="bg1"/>
                </a:solidFill>
              </a:defRPr>
            </a:lvl8pPr>
            <a:lvl9pPr marL="0" indent="0">
              <a:spcBef>
                <a:spcPts val="2400"/>
              </a:spcBef>
              <a:spcAft>
                <a:spcPts val="200"/>
              </a:spcAft>
              <a:buClr>
                <a:schemeClr val="bg1"/>
              </a:buClr>
              <a:buFont typeface="Arial" panose="020B0604020202020204" pitchFamily="34" charset="0"/>
              <a:buChar char="​"/>
              <a:defRPr sz="1400">
                <a:solidFill>
                  <a:schemeClr val="bg1"/>
                </a:solidFill>
              </a:defRPr>
            </a:lvl9pPr>
          </a:lstStyle>
          <a:p>
            <a:pPr lvl="0"/>
            <a:r>
              <a:rPr lang="en-US"/>
              <a:t>Edit Master text styles: subtitle</a:t>
            </a:r>
          </a:p>
          <a:p>
            <a:pPr lvl="1"/>
            <a:r>
              <a:rPr lang="en-US"/>
              <a:t>Second level: name</a:t>
            </a:r>
          </a:p>
          <a:p>
            <a:pPr lvl="2"/>
            <a:r>
              <a:rPr lang="en-US"/>
              <a:t>Third level: position/title</a:t>
            </a:r>
          </a:p>
          <a:p>
            <a:pPr lvl="3"/>
            <a:r>
              <a:rPr lang="en-US"/>
              <a:t>Fourth level: date</a:t>
            </a:r>
          </a:p>
        </p:txBody>
      </p:sp>
      <p:cxnSp>
        <p:nvCxnSpPr>
          <p:cNvPr id="68" name="Straight Connector 67">
            <a:extLst>
              <a:ext uri="{FF2B5EF4-FFF2-40B4-BE49-F238E27FC236}">
                <a16:creationId xmlns:a16="http://schemas.microsoft.com/office/drawing/2014/main" id="{D47C6403-C2B0-4709-BEB5-E21E2D054A25}"/>
              </a:ext>
            </a:extLst>
          </p:cNvPr>
          <p:cNvCxnSpPr>
            <a:cxnSpLocks/>
          </p:cNvCxnSpPr>
          <p:nvPr/>
        </p:nvCxnSpPr>
        <p:spPr>
          <a:xfrm>
            <a:off x="457200" y="4108450"/>
            <a:ext cx="4813300" cy="0"/>
          </a:xfrm>
          <a:prstGeom prst="line">
            <a:avLst/>
          </a:prstGeom>
          <a:ln w="9525"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72" name="Graphic 71">
            <a:extLst>
              <a:ext uri="{FF2B5EF4-FFF2-40B4-BE49-F238E27FC236}">
                <a16:creationId xmlns:a16="http://schemas.microsoft.com/office/drawing/2014/main" id="{A85426BA-7511-40D7-B7E9-BA00B4C2F46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50287" y="5686425"/>
            <a:ext cx="3248025" cy="1190625"/>
          </a:xfrm>
          <a:prstGeom prst="rect">
            <a:avLst/>
          </a:prstGeom>
        </p:spPr>
      </p:pic>
      <p:sp>
        <p:nvSpPr>
          <p:cNvPr id="24" name="Freeform: Shape 23">
            <a:extLst>
              <a:ext uri="{FF2B5EF4-FFF2-40B4-BE49-F238E27FC236}">
                <a16:creationId xmlns:a16="http://schemas.microsoft.com/office/drawing/2014/main" id="{7F3B351C-A4EE-47A3-82A1-40E905B43CCD}"/>
              </a:ext>
            </a:extLst>
          </p:cNvPr>
          <p:cNvSpPr/>
          <p:nvPr/>
        </p:nvSpPr>
        <p:spPr>
          <a:xfrm>
            <a:off x="4959913" y="-1"/>
            <a:ext cx="7232087" cy="2366874"/>
          </a:xfrm>
          <a:custGeom>
            <a:avLst/>
            <a:gdLst>
              <a:gd name="connsiteX0" fmla="*/ 0 w 7232087"/>
              <a:gd name="connsiteY0" fmla="*/ 0 h 2366874"/>
              <a:gd name="connsiteX1" fmla="*/ 150075 w 7232087"/>
              <a:gd name="connsiteY1" fmla="*/ 0 h 2366874"/>
              <a:gd name="connsiteX2" fmla="*/ 150078 w 7232087"/>
              <a:gd name="connsiteY2" fmla="*/ 1 h 2366874"/>
              <a:gd name="connsiteX3" fmla="*/ 1504285 w 7232087"/>
              <a:gd name="connsiteY3" fmla="*/ 1 h 2366874"/>
              <a:gd name="connsiteX4" fmla="*/ 7232087 w 7232087"/>
              <a:gd name="connsiteY4" fmla="*/ 1832657 h 2366874"/>
              <a:gd name="connsiteX5" fmla="*/ 7232087 w 7232087"/>
              <a:gd name="connsiteY5" fmla="*/ 2366874 h 2366874"/>
              <a:gd name="connsiteX6" fmla="*/ 0 w 7232087"/>
              <a:gd name="connsiteY6" fmla="*/ 0 h 2366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2087" h="2366874">
                <a:moveTo>
                  <a:pt x="0" y="0"/>
                </a:moveTo>
                <a:lnTo>
                  <a:pt x="150075" y="0"/>
                </a:lnTo>
                <a:lnTo>
                  <a:pt x="150078" y="1"/>
                </a:lnTo>
                <a:lnTo>
                  <a:pt x="1504285" y="1"/>
                </a:lnTo>
                <a:lnTo>
                  <a:pt x="7232087" y="1832657"/>
                </a:lnTo>
                <a:lnTo>
                  <a:pt x="7232087" y="236687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99ADFB20-CE8A-4A02-980E-02103DA5D04D}"/>
              </a:ext>
            </a:extLst>
          </p:cNvPr>
          <p:cNvSpPr/>
          <p:nvPr/>
        </p:nvSpPr>
        <p:spPr>
          <a:xfrm>
            <a:off x="969789" y="0"/>
            <a:ext cx="11222210" cy="3672739"/>
          </a:xfrm>
          <a:custGeom>
            <a:avLst/>
            <a:gdLst>
              <a:gd name="connsiteX0" fmla="*/ 0 w 11222210"/>
              <a:gd name="connsiteY0" fmla="*/ 0 h 3672739"/>
              <a:gd name="connsiteX1" fmla="*/ 3990123 w 11222210"/>
              <a:gd name="connsiteY1" fmla="*/ 0 h 3672739"/>
              <a:gd name="connsiteX2" fmla="*/ 11222210 w 11222210"/>
              <a:gd name="connsiteY2" fmla="*/ 2366874 h 3672739"/>
              <a:gd name="connsiteX3" fmla="*/ 11222210 w 11222210"/>
              <a:gd name="connsiteY3" fmla="*/ 3672739 h 3672739"/>
              <a:gd name="connsiteX4" fmla="*/ 0 w 11222210"/>
              <a:gd name="connsiteY4" fmla="*/ 0 h 3672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22210" h="3672739">
                <a:moveTo>
                  <a:pt x="0" y="0"/>
                </a:moveTo>
                <a:lnTo>
                  <a:pt x="3990123" y="0"/>
                </a:lnTo>
                <a:lnTo>
                  <a:pt x="11222210" y="2366874"/>
                </a:lnTo>
                <a:lnTo>
                  <a:pt x="11222210" y="3672739"/>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699AF9E5-2A57-4198-AD83-B83A731BA064}"/>
              </a:ext>
            </a:extLst>
          </p:cNvPr>
          <p:cNvSpPr/>
          <p:nvPr/>
        </p:nvSpPr>
        <p:spPr>
          <a:xfrm>
            <a:off x="12192000" y="2333700"/>
            <a:ext cx="211755" cy="102152"/>
          </a:xfrm>
          <a:custGeom>
            <a:avLst/>
            <a:gdLst>
              <a:gd name="connsiteX0" fmla="*/ 211755 w 211755"/>
              <a:gd name="connsiteY0" fmla="*/ 0 h 102152"/>
              <a:gd name="connsiteX1" fmla="*/ 210765 w 211755"/>
              <a:gd name="connsiteY1" fmla="*/ 102152 h 102152"/>
              <a:gd name="connsiteX2" fmla="*/ 0 w 211755"/>
              <a:gd name="connsiteY2" fmla="*/ 33174 h 102152"/>
              <a:gd name="connsiteX3" fmla="*/ 0 w 211755"/>
              <a:gd name="connsiteY3" fmla="*/ 33173 h 102152"/>
              <a:gd name="connsiteX4" fmla="*/ 210765 w 211755"/>
              <a:gd name="connsiteY4" fmla="*/ 102151 h 102152"/>
              <a:gd name="connsiteX5" fmla="*/ 211755 w 211755"/>
              <a:gd name="connsiteY5" fmla="*/ 0 h 10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755" h="102152">
                <a:moveTo>
                  <a:pt x="211755" y="0"/>
                </a:moveTo>
                <a:lnTo>
                  <a:pt x="210765" y="102152"/>
                </a:lnTo>
                <a:lnTo>
                  <a:pt x="0" y="33174"/>
                </a:lnTo>
                <a:lnTo>
                  <a:pt x="0" y="33173"/>
                </a:lnTo>
                <a:lnTo>
                  <a:pt x="210765" y="102151"/>
                </a:lnTo>
                <a:lnTo>
                  <a:pt x="211755"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1C2F3CC4-9606-4E53-A622-4673CD23228F}"/>
              </a:ext>
            </a:extLst>
          </p:cNvPr>
          <p:cNvSpPr/>
          <p:nvPr/>
        </p:nvSpPr>
        <p:spPr>
          <a:xfrm>
            <a:off x="6371924" y="0"/>
            <a:ext cx="5845476" cy="1857398"/>
          </a:xfrm>
          <a:custGeom>
            <a:avLst/>
            <a:gdLst>
              <a:gd name="connsiteX0" fmla="*/ 0 w 7899400"/>
              <a:gd name="connsiteY0" fmla="*/ 0 h 3086100"/>
              <a:gd name="connsiteX1" fmla="*/ 7899400 w 7899400"/>
              <a:gd name="connsiteY1" fmla="*/ 0 h 3086100"/>
              <a:gd name="connsiteX2" fmla="*/ 7899400 w 7899400"/>
              <a:gd name="connsiteY2" fmla="*/ 3086100 h 3086100"/>
              <a:gd name="connsiteX3" fmla="*/ 0 w 7899400"/>
              <a:gd name="connsiteY3" fmla="*/ 0 h 3086100"/>
            </a:gdLst>
            <a:ahLst/>
            <a:cxnLst>
              <a:cxn ang="0">
                <a:pos x="connsiteX0" y="connsiteY0"/>
              </a:cxn>
              <a:cxn ang="0">
                <a:pos x="connsiteX1" y="connsiteY1"/>
              </a:cxn>
              <a:cxn ang="0">
                <a:pos x="connsiteX2" y="connsiteY2"/>
              </a:cxn>
              <a:cxn ang="0">
                <a:pos x="connsiteX3" y="connsiteY3"/>
              </a:cxn>
            </a:cxnLst>
            <a:rect l="l" t="t" r="r" b="b"/>
            <a:pathLst>
              <a:path w="7899400" h="3086100">
                <a:moveTo>
                  <a:pt x="0" y="0"/>
                </a:moveTo>
                <a:lnTo>
                  <a:pt x="7899400" y="0"/>
                </a:lnTo>
                <a:lnTo>
                  <a:pt x="7899400" y="30861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16244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Agenda">
    <p:bg>
      <p:bgPr>
        <a:solidFill>
          <a:schemeClr val="tx1"/>
        </a:solidFill>
        <a:effectLst/>
      </p:bgPr>
    </p:bg>
    <p:spTree>
      <p:nvGrpSpPr>
        <p:cNvPr id="1" name=""/>
        <p:cNvGrpSpPr/>
        <p:nvPr/>
      </p:nvGrpSpPr>
      <p:grpSpPr>
        <a:xfrm>
          <a:off x="0" y="0"/>
          <a:ext cx="0" cy="0"/>
          <a:chOff x="0" y="0"/>
          <a:chExt cx="0" cy="0"/>
        </a:xfrm>
      </p:grpSpPr>
      <p:sp>
        <p:nvSpPr>
          <p:cNvPr id="16" name="Title Placeholder 1">
            <a:extLst>
              <a:ext uri="{FF2B5EF4-FFF2-40B4-BE49-F238E27FC236}">
                <a16:creationId xmlns:a16="http://schemas.microsoft.com/office/drawing/2014/main" id="{DD5FA88A-DC59-463A-BE5C-DD261A854C4D}"/>
              </a:ext>
            </a:extLst>
          </p:cNvPr>
          <p:cNvSpPr>
            <a:spLocks noGrp="1"/>
          </p:cNvSpPr>
          <p:nvPr>
            <p:ph type="title"/>
          </p:nvPr>
        </p:nvSpPr>
        <p:spPr>
          <a:xfrm>
            <a:off x="457200" y="457200"/>
            <a:ext cx="11277600" cy="553998"/>
          </a:xfrm>
          <a:prstGeom prst="rect">
            <a:avLst/>
          </a:prstGeom>
        </p:spPr>
        <p:txBody>
          <a:bodyPr vert="horz" wrap="square" lIns="0" tIns="0" rIns="0" bIns="0" rtlCol="0" anchor="t">
            <a:spAutoFit/>
          </a:bodyPr>
          <a:lstStyle>
            <a:lvl1pPr>
              <a:defRPr>
                <a:ln w="3175">
                  <a:noFill/>
                </a:ln>
                <a:solidFill>
                  <a:schemeClr val="accent1"/>
                </a:solidFill>
              </a:defRPr>
            </a:lvl1pPr>
          </a:lstStyle>
          <a:p>
            <a:r>
              <a:rPr lang="en-US"/>
              <a:t>Click to edit Master title style</a:t>
            </a:r>
          </a:p>
        </p:txBody>
      </p:sp>
      <p:sp>
        <p:nvSpPr>
          <p:cNvPr id="6" name="Text Placeholder 5">
            <a:extLst>
              <a:ext uri="{FF2B5EF4-FFF2-40B4-BE49-F238E27FC236}">
                <a16:creationId xmlns:a16="http://schemas.microsoft.com/office/drawing/2014/main" id="{DDA6FA95-4EDC-4CF4-8F63-931BC182CCB3}"/>
              </a:ext>
            </a:extLst>
          </p:cNvPr>
          <p:cNvSpPr>
            <a:spLocks noGrp="1"/>
          </p:cNvSpPr>
          <p:nvPr>
            <p:ph type="body" sz="quarter" idx="10"/>
          </p:nvPr>
        </p:nvSpPr>
        <p:spPr>
          <a:xfrm>
            <a:off x="1066802" y="1670860"/>
            <a:ext cx="4362449" cy="4729939"/>
          </a:xfrm>
        </p:spPr>
        <p:txBody>
          <a:bodyPr/>
          <a:lstStyle>
            <a:lvl1pPr>
              <a:spcBef>
                <a:spcPts val="2400"/>
              </a:spcBef>
              <a:spcAft>
                <a:spcPts val="0"/>
              </a:spcAft>
              <a:defRPr>
                <a:solidFill>
                  <a:schemeClr val="bg1"/>
                </a:solidFill>
              </a:defRPr>
            </a:lvl1pPr>
            <a:lvl2pPr marL="0" indent="0">
              <a:spcBef>
                <a:spcPts val="1200"/>
              </a:spcBef>
              <a:spcAft>
                <a:spcPts val="0"/>
              </a:spcAft>
              <a:buFont typeface="CiscoSansTT ExtraLight" panose="020B0303020201020303" pitchFamily="34" charset="0"/>
              <a:buChar char="​"/>
              <a:defRPr>
                <a:solidFill>
                  <a:schemeClr val="bg1"/>
                </a:solidFill>
              </a:defRPr>
            </a:lvl2pPr>
            <a:lvl5pPr>
              <a:defRPr>
                <a:solidFill>
                  <a:schemeClr val="bg1"/>
                </a:solidFill>
              </a:defRPr>
            </a:lvl5pPr>
          </a:lstStyle>
          <a:p>
            <a:pPr lvl="0"/>
            <a:r>
              <a:rPr lang="en-US"/>
              <a:t>Click to edit Master text styles</a:t>
            </a:r>
          </a:p>
          <a:p>
            <a:pPr lvl="1"/>
            <a:r>
              <a:rPr lang="en-US"/>
              <a:t>Second level</a:t>
            </a:r>
          </a:p>
        </p:txBody>
      </p:sp>
      <p:sp>
        <p:nvSpPr>
          <p:cNvPr id="30" name="Text Placeholder 5">
            <a:extLst>
              <a:ext uri="{FF2B5EF4-FFF2-40B4-BE49-F238E27FC236}">
                <a16:creationId xmlns:a16="http://schemas.microsoft.com/office/drawing/2014/main" id="{B581FA09-FE0A-4508-9AB5-6EC12D5A271D}"/>
              </a:ext>
            </a:extLst>
          </p:cNvPr>
          <p:cNvSpPr>
            <a:spLocks noGrp="1"/>
          </p:cNvSpPr>
          <p:nvPr>
            <p:ph type="body" sz="quarter" idx="11"/>
          </p:nvPr>
        </p:nvSpPr>
        <p:spPr>
          <a:xfrm>
            <a:off x="6477002" y="1670860"/>
            <a:ext cx="4362449" cy="4729939"/>
          </a:xfrm>
        </p:spPr>
        <p:txBody>
          <a:bodyPr/>
          <a:lstStyle>
            <a:lvl1pPr>
              <a:spcBef>
                <a:spcPts val="2400"/>
              </a:spcBef>
              <a:spcAft>
                <a:spcPts val="0"/>
              </a:spcAft>
              <a:defRPr>
                <a:solidFill>
                  <a:schemeClr val="bg1"/>
                </a:solidFill>
              </a:defRPr>
            </a:lvl1pPr>
            <a:lvl2pPr marL="0" indent="0">
              <a:spcBef>
                <a:spcPts val="1200"/>
              </a:spcBef>
              <a:spcAft>
                <a:spcPts val="0"/>
              </a:spcAft>
              <a:buFont typeface="CiscoSansTT ExtraLight" panose="020B0303020201020303" pitchFamily="34" charset="0"/>
              <a:buChar char="​"/>
              <a:defRPr>
                <a:solidFill>
                  <a:schemeClr val="bg1"/>
                </a:solidFill>
              </a:defRPr>
            </a:lvl2pPr>
            <a:lvl5pPr>
              <a:defRPr>
                <a:solidFill>
                  <a:schemeClr val="bg1"/>
                </a:solidFill>
              </a:defRPr>
            </a:lvl5pPr>
          </a:lstStyle>
          <a:p>
            <a:pPr lvl="0"/>
            <a:r>
              <a:rPr lang="en-US"/>
              <a:t>Click to edit Master text styles</a:t>
            </a:r>
          </a:p>
          <a:p>
            <a:pPr lvl="1"/>
            <a:r>
              <a:rPr lang="en-US"/>
              <a:t>Second level</a:t>
            </a:r>
          </a:p>
        </p:txBody>
      </p:sp>
      <p:sp>
        <p:nvSpPr>
          <p:cNvPr id="31" name="Text Placeholder 5">
            <a:extLst>
              <a:ext uri="{FF2B5EF4-FFF2-40B4-BE49-F238E27FC236}">
                <a16:creationId xmlns:a16="http://schemas.microsoft.com/office/drawing/2014/main" id="{F6075601-E013-4B6C-BD9A-CFF7EDCE2126}"/>
              </a:ext>
            </a:extLst>
          </p:cNvPr>
          <p:cNvSpPr>
            <a:spLocks noGrp="1"/>
          </p:cNvSpPr>
          <p:nvPr>
            <p:ph type="body" sz="quarter" idx="12" hasCustomPrompt="1"/>
          </p:nvPr>
        </p:nvSpPr>
        <p:spPr>
          <a:xfrm>
            <a:off x="457201" y="1670860"/>
            <a:ext cx="457200" cy="4729939"/>
          </a:xfrm>
        </p:spPr>
        <p:txBody>
          <a:bodyPr/>
          <a:lstStyle>
            <a:lvl1pPr algn="r">
              <a:spcBef>
                <a:spcPts val="2400"/>
              </a:spcBef>
              <a:spcAft>
                <a:spcPts val="0"/>
              </a:spcAft>
              <a:defRPr>
                <a:solidFill>
                  <a:schemeClr val="accent1"/>
                </a:solidFill>
              </a:defRPr>
            </a:lvl1pPr>
            <a:lvl2pPr marL="0" indent="0" algn="r">
              <a:spcBef>
                <a:spcPts val="1200"/>
              </a:spcBef>
              <a:spcAft>
                <a:spcPts val="0"/>
              </a:spcAft>
              <a:buFont typeface="CiscoSansTT ExtraLight" panose="020B0303020201020303" pitchFamily="34" charset="0"/>
              <a:buChar char="​"/>
              <a:defRPr>
                <a:solidFill>
                  <a:schemeClr val="accent1"/>
                </a:solidFill>
              </a:defRPr>
            </a:lvl2pPr>
            <a:lvl5pPr>
              <a:defRPr>
                <a:solidFill>
                  <a:schemeClr val="bg1"/>
                </a:solidFill>
              </a:defRPr>
            </a:lvl5pPr>
          </a:lstStyle>
          <a:p>
            <a:pPr lvl="0"/>
            <a:r>
              <a:rPr lang="en-US"/>
              <a:t>##</a:t>
            </a:r>
          </a:p>
          <a:p>
            <a:pPr lvl="1"/>
            <a:r>
              <a:rPr lang="en-US"/>
              <a:t>##</a:t>
            </a:r>
          </a:p>
        </p:txBody>
      </p:sp>
      <p:sp>
        <p:nvSpPr>
          <p:cNvPr id="32" name="Text Placeholder 5">
            <a:extLst>
              <a:ext uri="{FF2B5EF4-FFF2-40B4-BE49-F238E27FC236}">
                <a16:creationId xmlns:a16="http://schemas.microsoft.com/office/drawing/2014/main" id="{53B70BE1-F8D6-460B-A598-366D0AACA116}"/>
              </a:ext>
            </a:extLst>
          </p:cNvPr>
          <p:cNvSpPr>
            <a:spLocks noGrp="1"/>
          </p:cNvSpPr>
          <p:nvPr>
            <p:ph type="body" sz="quarter" idx="13" hasCustomPrompt="1"/>
          </p:nvPr>
        </p:nvSpPr>
        <p:spPr>
          <a:xfrm>
            <a:off x="5867401" y="1670860"/>
            <a:ext cx="457200" cy="4729939"/>
          </a:xfrm>
        </p:spPr>
        <p:txBody>
          <a:bodyPr/>
          <a:lstStyle>
            <a:lvl1pPr algn="r">
              <a:spcBef>
                <a:spcPts val="2400"/>
              </a:spcBef>
              <a:spcAft>
                <a:spcPts val="0"/>
              </a:spcAft>
              <a:defRPr>
                <a:solidFill>
                  <a:schemeClr val="accent1"/>
                </a:solidFill>
              </a:defRPr>
            </a:lvl1pPr>
            <a:lvl2pPr marL="0" indent="0" algn="r">
              <a:spcBef>
                <a:spcPts val="1200"/>
              </a:spcBef>
              <a:spcAft>
                <a:spcPts val="0"/>
              </a:spcAft>
              <a:buFont typeface="CiscoSansTT ExtraLight" panose="020B0303020201020303" pitchFamily="34" charset="0"/>
              <a:buChar char="​"/>
              <a:defRPr>
                <a:solidFill>
                  <a:schemeClr val="accent1"/>
                </a:solidFill>
              </a:defRPr>
            </a:lvl2pPr>
            <a:lvl5pPr>
              <a:defRPr>
                <a:solidFill>
                  <a:schemeClr val="bg1"/>
                </a:solidFill>
              </a:defRPr>
            </a:lvl5pPr>
          </a:lstStyle>
          <a:p>
            <a:pPr lvl="0"/>
            <a:r>
              <a:rPr lang="en-US"/>
              <a:t>##</a:t>
            </a:r>
          </a:p>
          <a:p>
            <a:pPr lvl="1"/>
            <a:r>
              <a:rPr lang="en-US"/>
              <a:t>##</a:t>
            </a:r>
          </a:p>
        </p:txBody>
      </p:sp>
      <p:sp>
        <p:nvSpPr>
          <p:cNvPr id="3" name="Slide Number Placeholder 2">
            <a:extLst>
              <a:ext uri="{FF2B5EF4-FFF2-40B4-BE49-F238E27FC236}">
                <a16:creationId xmlns:a16="http://schemas.microsoft.com/office/drawing/2014/main" id="{D102992D-16B8-47F1-93CA-DFA50064D163}"/>
              </a:ext>
            </a:extLst>
          </p:cNvPr>
          <p:cNvSpPr>
            <a:spLocks noGrp="1"/>
          </p:cNvSpPr>
          <p:nvPr>
            <p:ph type="sldNum" sz="quarter" idx="15"/>
          </p:nvPr>
        </p:nvSpPr>
        <p:spPr/>
        <p:txBody>
          <a:bodyPr/>
          <a:lstStyle/>
          <a:p>
            <a:fld id="{54939E03-9150-4A70-B4B2-A2AFB6334D4D}" type="slidenum">
              <a:rPr lang="en-SG" smtClean="0"/>
              <a:t>‹#›</a:t>
            </a:fld>
            <a:endParaRPr lang="en-SG"/>
          </a:p>
        </p:txBody>
      </p:sp>
      <p:grpSp>
        <p:nvGrpSpPr>
          <p:cNvPr id="12" name="Group 11">
            <a:extLst>
              <a:ext uri="{FF2B5EF4-FFF2-40B4-BE49-F238E27FC236}">
                <a16:creationId xmlns:a16="http://schemas.microsoft.com/office/drawing/2014/main" id="{07B57A4F-E741-4EE0-9574-541A44E493C8}"/>
              </a:ext>
            </a:extLst>
          </p:cNvPr>
          <p:cNvGrpSpPr/>
          <p:nvPr/>
        </p:nvGrpSpPr>
        <p:grpSpPr>
          <a:xfrm>
            <a:off x="11420680" y="457200"/>
            <a:ext cx="323850" cy="324895"/>
            <a:chOff x="11693125" y="130630"/>
            <a:chExt cx="368246" cy="369434"/>
          </a:xfrm>
          <a:solidFill>
            <a:schemeClr val="bg1"/>
          </a:solidFill>
        </p:grpSpPr>
        <p:sp>
          <p:nvSpPr>
            <p:cNvPr id="13" name="Freeform 5">
              <a:extLst>
                <a:ext uri="{FF2B5EF4-FFF2-40B4-BE49-F238E27FC236}">
                  <a16:creationId xmlns:a16="http://schemas.microsoft.com/office/drawing/2014/main" id="{C08543C4-5FBD-42E7-8996-346808F61F23}"/>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2A8AD15-2AED-484F-9653-94E5569A0809}"/>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2A2E2F80-1BF1-4C63-8B12-E0E969D678B3}"/>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3943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Segue (Red)">
    <p:bg>
      <p:bgPr>
        <a:solidFill>
          <a:schemeClr val="accent1"/>
        </a:solidFill>
        <a:effectLst/>
      </p:bgPr>
    </p:bg>
    <p:spTree>
      <p:nvGrpSpPr>
        <p:cNvPr id="1" name=""/>
        <p:cNvGrpSpPr/>
        <p:nvPr/>
      </p:nvGrpSpPr>
      <p:grpSpPr>
        <a:xfrm>
          <a:off x="0" y="0"/>
          <a:ext cx="0" cy="0"/>
          <a:chOff x="0" y="0"/>
          <a:chExt cx="0" cy="0"/>
        </a:xfrm>
      </p:grpSpPr>
      <p:sp>
        <p:nvSpPr>
          <p:cNvPr id="18" name="Title 17"/>
          <p:cNvSpPr>
            <a:spLocks noGrp="1"/>
          </p:cNvSpPr>
          <p:nvPr>
            <p:ph type="title"/>
          </p:nvPr>
        </p:nvSpPr>
        <p:spPr>
          <a:xfrm>
            <a:off x="914400" y="2578150"/>
            <a:ext cx="10363200" cy="1701700"/>
          </a:xfrm>
        </p:spPr>
        <p:txBody>
          <a:bodyPr anchor="ctr"/>
          <a:lstStyle>
            <a:lvl1pPr algn="ctr">
              <a:defRPr sz="4400">
                <a:solidFill>
                  <a:schemeClr val="bg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6F7149D1-A68A-4D26-BAC3-30B06B5D1B96}"/>
              </a:ext>
            </a:extLst>
          </p:cNvPr>
          <p:cNvCxnSpPr/>
          <p:nvPr/>
        </p:nvCxnSpPr>
        <p:spPr>
          <a:xfrm>
            <a:off x="457200" y="719844"/>
            <a:ext cx="11277600" cy="0"/>
          </a:xfrm>
          <a:prstGeom prst="line">
            <a:avLst/>
          </a:prstGeom>
          <a:ln w="9525"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60D7C5A-45F9-47DB-BBBE-F7B18BFE8BFB}"/>
              </a:ext>
            </a:extLst>
          </p:cNvPr>
          <p:cNvCxnSpPr/>
          <p:nvPr/>
        </p:nvCxnSpPr>
        <p:spPr>
          <a:xfrm>
            <a:off x="457200" y="6138155"/>
            <a:ext cx="11277600" cy="0"/>
          </a:xfrm>
          <a:prstGeom prst="line">
            <a:avLst/>
          </a:prstGeom>
          <a:ln w="9525"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12458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egue (Black)">
    <p:bg>
      <p:bgPr>
        <a:solidFill>
          <a:schemeClr val="tx1"/>
        </a:solidFill>
        <a:effectLst/>
      </p:bgPr>
    </p:bg>
    <p:spTree>
      <p:nvGrpSpPr>
        <p:cNvPr id="1" name=""/>
        <p:cNvGrpSpPr/>
        <p:nvPr/>
      </p:nvGrpSpPr>
      <p:grpSpPr>
        <a:xfrm>
          <a:off x="0" y="0"/>
          <a:ext cx="0" cy="0"/>
          <a:chOff x="0" y="0"/>
          <a:chExt cx="0" cy="0"/>
        </a:xfrm>
      </p:grpSpPr>
      <p:sp>
        <p:nvSpPr>
          <p:cNvPr id="6" name="Title 17">
            <a:extLst>
              <a:ext uri="{FF2B5EF4-FFF2-40B4-BE49-F238E27FC236}">
                <a16:creationId xmlns:a16="http://schemas.microsoft.com/office/drawing/2014/main" id="{3CDF0352-B6C7-4C8F-A2B3-7407B11BBBC1}"/>
              </a:ext>
            </a:extLst>
          </p:cNvPr>
          <p:cNvSpPr>
            <a:spLocks noGrp="1"/>
          </p:cNvSpPr>
          <p:nvPr>
            <p:ph type="title"/>
          </p:nvPr>
        </p:nvSpPr>
        <p:spPr>
          <a:xfrm>
            <a:off x="914400" y="2578150"/>
            <a:ext cx="10363200" cy="1701700"/>
          </a:xfrm>
        </p:spPr>
        <p:txBody>
          <a:bodyPr anchor="ctr"/>
          <a:lstStyle>
            <a:lvl1pPr algn="ctr">
              <a:defRPr sz="4400">
                <a:solidFill>
                  <a:schemeClr val="bg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4B2FB433-72D9-46B1-8C64-7E81FB6DFFFD}"/>
              </a:ext>
            </a:extLst>
          </p:cNvPr>
          <p:cNvCxnSpPr/>
          <p:nvPr/>
        </p:nvCxnSpPr>
        <p:spPr>
          <a:xfrm>
            <a:off x="457200" y="719844"/>
            <a:ext cx="11277600" cy="0"/>
          </a:xfrm>
          <a:prstGeom prst="line">
            <a:avLst/>
          </a:prstGeom>
          <a:ln w="9525"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61EC5C-056E-4FCC-B4EF-096C3AE61F0D}"/>
              </a:ext>
            </a:extLst>
          </p:cNvPr>
          <p:cNvCxnSpPr/>
          <p:nvPr/>
        </p:nvCxnSpPr>
        <p:spPr>
          <a:xfrm>
            <a:off x="457200" y="6138155"/>
            <a:ext cx="11277600" cy="0"/>
          </a:xfrm>
          <a:prstGeom prst="line">
            <a:avLst/>
          </a:prstGeom>
          <a:ln w="9525"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15989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egue (Blue)">
    <p:bg>
      <p:bgPr>
        <a:solidFill>
          <a:schemeClr val="tx2"/>
        </a:solidFill>
        <a:effectLst/>
      </p:bgPr>
    </p:bg>
    <p:spTree>
      <p:nvGrpSpPr>
        <p:cNvPr id="1" name=""/>
        <p:cNvGrpSpPr/>
        <p:nvPr/>
      </p:nvGrpSpPr>
      <p:grpSpPr>
        <a:xfrm>
          <a:off x="0" y="0"/>
          <a:ext cx="0" cy="0"/>
          <a:chOff x="0" y="0"/>
          <a:chExt cx="0" cy="0"/>
        </a:xfrm>
      </p:grpSpPr>
      <p:sp>
        <p:nvSpPr>
          <p:cNvPr id="11" name="Title 17">
            <a:extLst>
              <a:ext uri="{FF2B5EF4-FFF2-40B4-BE49-F238E27FC236}">
                <a16:creationId xmlns:a16="http://schemas.microsoft.com/office/drawing/2014/main" id="{6EB3266D-B564-48F5-867E-596E5A2832A5}"/>
              </a:ext>
            </a:extLst>
          </p:cNvPr>
          <p:cNvSpPr>
            <a:spLocks noGrp="1"/>
          </p:cNvSpPr>
          <p:nvPr>
            <p:ph type="title"/>
          </p:nvPr>
        </p:nvSpPr>
        <p:spPr>
          <a:xfrm>
            <a:off x="914400" y="2578150"/>
            <a:ext cx="10363200" cy="1701700"/>
          </a:xfrm>
        </p:spPr>
        <p:txBody>
          <a:bodyPr anchor="ctr"/>
          <a:lstStyle>
            <a:lvl1pPr algn="ctr">
              <a:defRPr sz="4400">
                <a:solidFill>
                  <a:schemeClr val="bg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4CA3CC1C-4A13-4D71-96C4-081B805655F7}"/>
              </a:ext>
            </a:extLst>
          </p:cNvPr>
          <p:cNvCxnSpPr/>
          <p:nvPr/>
        </p:nvCxnSpPr>
        <p:spPr>
          <a:xfrm>
            <a:off x="457200" y="719844"/>
            <a:ext cx="11277600" cy="0"/>
          </a:xfrm>
          <a:prstGeom prst="line">
            <a:avLst/>
          </a:prstGeom>
          <a:ln w="9525"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E71DD990-F3B1-45AC-B083-3D07A0540E3B}"/>
              </a:ext>
            </a:extLst>
          </p:cNvPr>
          <p:cNvCxnSpPr/>
          <p:nvPr/>
        </p:nvCxnSpPr>
        <p:spPr>
          <a:xfrm>
            <a:off x="457200" y="6138155"/>
            <a:ext cx="11277600" cy="0"/>
          </a:xfrm>
          <a:prstGeom prst="line">
            <a:avLst/>
          </a:prstGeom>
          <a:ln w="9525" cap="rnd">
            <a:solidFill>
              <a:schemeClr val="bg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55685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 Standard">
    <p:spTree>
      <p:nvGrpSpPr>
        <p:cNvPr id="1" name=""/>
        <p:cNvGrpSpPr/>
        <p:nvPr/>
      </p:nvGrpSpPr>
      <p:grpSpPr>
        <a:xfrm>
          <a:off x="0" y="0"/>
          <a:ext cx="0" cy="0"/>
          <a:chOff x="0" y="0"/>
          <a:chExt cx="0" cy="0"/>
        </a:xfrm>
      </p:grpSpPr>
      <p:sp>
        <p:nvSpPr>
          <p:cNvPr id="2" name="Title 1"/>
          <p:cNvSpPr>
            <a:spLocks noGrp="1"/>
          </p:cNvSpPr>
          <p:nvPr>
            <p:ph type="title"/>
          </p:nvPr>
        </p:nvSpPr>
        <p:spPr>
          <a:xfrm>
            <a:off x="457200" y="457170"/>
            <a:ext cx="10902950" cy="553998"/>
          </a:xfrm>
        </p:spPr>
        <p:txBody>
          <a:bodyPr/>
          <a:lstStyle>
            <a:lvl1pPr>
              <a:defRPr>
                <a:solidFill>
                  <a:schemeClr val="accent1"/>
                </a:solidFill>
              </a:defRPr>
            </a:lvl1pPr>
          </a:lstStyle>
          <a:p>
            <a:r>
              <a:rPr lang="en-US"/>
              <a:t>Click to edit Master title style</a:t>
            </a:r>
          </a:p>
        </p:txBody>
      </p:sp>
      <p:sp>
        <p:nvSpPr>
          <p:cNvPr id="4" name="Text Placeholder 2"/>
          <p:cNvSpPr>
            <a:spLocks noGrp="1"/>
          </p:cNvSpPr>
          <p:nvPr>
            <p:ph type="body" idx="16" hasCustomPrompt="1"/>
          </p:nvPr>
        </p:nvSpPr>
        <p:spPr>
          <a:xfrm>
            <a:off x="457201" y="1074237"/>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11" name="Content Placeholder 10">
            <a:extLst>
              <a:ext uri="{FF2B5EF4-FFF2-40B4-BE49-F238E27FC236}">
                <a16:creationId xmlns:a16="http://schemas.microsoft.com/office/drawing/2014/main" id="{64DBDAB3-6E48-481D-A27B-7FFADA4057D6}"/>
              </a:ext>
            </a:extLst>
          </p:cNvPr>
          <p:cNvSpPr>
            <a:spLocks noGrp="1"/>
          </p:cNvSpPr>
          <p:nvPr>
            <p:ph sz="quarter" idx="17"/>
          </p:nvPr>
        </p:nvSpPr>
        <p:spPr>
          <a:xfrm>
            <a:off x="463550" y="1943100"/>
            <a:ext cx="11277600"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6232F5B-66EC-481E-8253-2FFCB83A4021}"/>
              </a:ext>
            </a:extLst>
          </p:cNvPr>
          <p:cNvSpPr>
            <a:spLocks noGrp="1"/>
          </p:cNvSpPr>
          <p:nvPr>
            <p:ph type="sldNum" sz="quarter" idx="19"/>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16485142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ntent - Standard">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C1D1E1C1-E558-49A5-83D5-F48735A17B94}"/>
              </a:ext>
            </a:extLst>
          </p:cNvPr>
          <p:cNvSpPr>
            <a:spLocks noGrp="1"/>
          </p:cNvSpPr>
          <p:nvPr>
            <p:ph sz="quarter" idx="19"/>
          </p:nvPr>
        </p:nvSpPr>
        <p:spPr>
          <a:xfrm>
            <a:off x="457200" y="1943100"/>
            <a:ext cx="5410200"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a:extLst>
              <a:ext uri="{FF2B5EF4-FFF2-40B4-BE49-F238E27FC236}">
                <a16:creationId xmlns:a16="http://schemas.microsoft.com/office/drawing/2014/main" id="{9A0C2AC7-05BB-4C8B-85DD-EA42CB43B484}"/>
              </a:ext>
            </a:extLst>
          </p:cNvPr>
          <p:cNvSpPr>
            <a:spLocks noGrp="1"/>
          </p:cNvSpPr>
          <p:nvPr>
            <p:ph sz="quarter" idx="20"/>
          </p:nvPr>
        </p:nvSpPr>
        <p:spPr>
          <a:xfrm>
            <a:off x="6324600" y="1943100"/>
            <a:ext cx="5410200" cy="445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14D906C-16B7-4F74-AD03-4AF0FB468530}"/>
              </a:ext>
            </a:extLst>
          </p:cNvPr>
          <p:cNvSpPr>
            <a:spLocks noGrp="1"/>
          </p:cNvSpPr>
          <p:nvPr>
            <p:ph type="title"/>
          </p:nvPr>
        </p:nvSpPr>
        <p:spPr>
          <a:xfrm>
            <a:off x="457200" y="457200"/>
            <a:ext cx="10902950" cy="553998"/>
          </a:xfrm>
        </p:spPr>
        <p:txBody>
          <a:bodyPr/>
          <a:lstStyle>
            <a:lvl1pPr>
              <a:defRPr>
                <a:solidFill>
                  <a:schemeClr val="accent1"/>
                </a:solidFill>
              </a:defRPr>
            </a:lvl1pPr>
          </a:lstStyle>
          <a:p>
            <a:r>
              <a:rPr lang="en-US"/>
              <a:t>Click to edit Master title style</a:t>
            </a:r>
          </a:p>
        </p:txBody>
      </p:sp>
      <p:sp>
        <p:nvSpPr>
          <p:cNvPr id="8" name="Text Placeholder 2">
            <a:extLst>
              <a:ext uri="{FF2B5EF4-FFF2-40B4-BE49-F238E27FC236}">
                <a16:creationId xmlns:a16="http://schemas.microsoft.com/office/drawing/2014/main" id="{A5DF42E2-0D95-4622-94FB-D7971E8E3CC2}"/>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6EA57ACB-E3DC-4460-B28E-97859E1B052D}"/>
              </a:ext>
            </a:extLst>
          </p:cNvPr>
          <p:cNvSpPr>
            <a:spLocks noGrp="1"/>
          </p:cNvSpPr>
          <p:nvPr>
            <p:ph type="sldNum" sz="quarter" idx="22"/>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5963941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ntent (Black)">
    <p:bg>
      <p:bgPr>
        <a:solidFill>
          <a:schemeClr val="tx1"/>
        </a:solidFill>
        <a:effectLst/>
      </p:bgPr>
    </p:bg>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538EE21-2FE0-47B3-AF78-D8177EED6F14}"/>
              </a:ext>
            </a:extLst>
          </p:cNvPr>
          <p:cNvSpPr>
            <a:spLocks noGrp="1"/>
          </p:cNvSpPr>
          <p:nvPr>
            <p:ph sz="half" idx="17"/>
          </p:nvPr>
        </p:nvSpPr>
        <p:spPr>
          <a:xfrm>
            <a:off x="457200" y="1943100"/>
            <a:ext cx="5410200" cy="4457700"/>
          </a:xfrm>
        </p:spPr>
        <p:txBody>
          <a:bodyPr/>
          <a:lstStyle>
            <a:lvl1pPr marL="0" indent="0">
              <a:defRPr lang="en-US" sz="1800" b="1" kern="1200" dirty="0">
                <a:solidFill>
                  <a:schemeClr val="accent1"/>
                </a:solidFill>
                <a:latin typeface="+mn-lt"/>
                <a:ea typeface="+mn-ea"/>
                <a:cs typeface="+mn-cs"/>
              </a:defRPr>
            </a:lvl1pPr>
            <a:lvl2pPr marL="0" indent="0">
              <a:defRPr lang="en-US" sz="1600" kern="1200" dirty="0">
                <a:solidFill>
                  <a:schemeClr val="bg1"/>
                </a:solidFill>
                <a:latin typeface="+mn-lt"/>
                <a:ea typeface="+mn-ea"/>
                <a:cs typeface="+mn-cs"/>
              </a:defRPr>
            </a:lvl2pPr>
            <a:lvl3pPr marL="0" indent="0">
              <a:buFont typeface="Century Gothic" panose="020B0502020202020204" pitchFamily="34" charset="0"/>
              <a:buChar char="−"/>
              <a:defRPr lang="en-US" sz="1400" kern="1200" dirty="0">
                <a:solidFill>
                  <a:schemeClr val="bg1"/>
                </a:solidFill>
                <a:latin typeface="+mn-lt"/>
                <a:ea typeface="+mn-ea"/>
                <a:cs typeface="+mn-cs"/>
              </a:defRPr>
            </a:lvl3pPr>
            <a:lvl4pPr marL="0" indent="0">
              <a:spcBef>
                <a:spcPts val="600"/>
              </a:spcBef>
              <a:spcAft>
                <a:spcPts val="200"/>
              </a:spcAft>
              <a:buFont typeface="Arial" panose="020B0604020202020204" pitchFamily="34" charset="0"/>
              <a:buChar char="•"/>
              <a:defRPr lang="en-US" sz="1400" b="0" kern="1200" spc="0" dirty="0">
                <a:solidFill>
                  <a:schemeClr val="bg2">
                    <a:lumMod val="75000"/>
                  </a:schemeClr>
                </a:solidFill>
                <a:latin typeface="+mn-lt"/>
                <a:ea typeface="+mn-ea"/>
                <a:cs typeface="+mn-cs"/>
              </a:defRPr>
            </a:lvl4pPr>
            <a:lvl5pPr marL="0" indent="0">
              <a:defRPr lang="en-US" sz="1600" b="1" kern="1200" spc="0" dirty="0">
                <a:solidFill>
                  <a:schemeClr val="bg1"/>
                </a:solidFill>
                <a:latin typeface="+mn-lt"/>
                <a:ea typeface="+mn-ea"/>
                <a:cs typeface="+mn-cs"/>
              </a:defRPr>
            </a:lvl5pPr>
          </a:lstStyle>
          <a:p>
            <a:pPr marL="0" lvl="0" indent="0" algn="l" defTabSz="914400" rtl="0" eaLnBrk="1" latinLnBrk="0" hangingPunct="1">
              <a:lnSpc>
                <a:spcPct val="90000"/>
              </a:lnSpc>
              <a:spcBef>
                <a:spcPts val="1800"/>
              </a:spcBef>
              <a:spcAft>
                <a:spcPts val="200"/>
              </a:spcAft>
              <a:buFont typeface="Arial" panose="020B0604020202020204" pitchFamily="34" charset="0"/>
              <a:buChar char="​"/>
            </a:pPr>
            <a:r>
              <a:rPr lang="en-US"/>
              <a:t>Click to edit Master text styles</a:t>
            </a:r>
          </a:p>
          <a:p>
            <a:pPr marL="0" lvl="1" indent="0" algn="l" defTabSz="914400" rtl="0" eaLnBrk="1" latinLnBrk="0" hangingPunct="1">
              <a:lnSpc>
                <a:spcPct val="90000"/>
              </a:lnSpc>
              <a:spcBef>
                <a:spcPts val="1800"/>
              </a:spcBef>
              <a:spcAft>
                <a:spcPts val="200"/>
              </a:spcAft>
              <a:buFont typeface="Arial" panose="020B0604020202020204" pitchFamily="34" charset="0"/>
              <a:buChar char="​"/>
            </a:pPr>
            <a:r>
              <a:rPr lang="en-US"/>
              <a:t>Second level</a:t>
            </a:r>
          </a:p>
          <a:p>
            <a:pPr marL="0" lvl="2" indent="0" algn="l" defTabSz="914400" rtl="0" eaLnBrk="1" latinLnBrk="0" hangingPunct="1">
              <a:lnSpc>
                <a:spcPct val="90000"/>
              </a:lnSpc>
              <a:spcBef>
                <a:spcPts val="1800"/>
              </a:spcBef>
              <a:spcAft>
                <a:spcPts val="200"/>
              </a:spcAft>
              <a:buFont typeface="Arial" panose="020B0604020202020204" pitchFamily="34" charset="0"/>
              <a:buChar char="​"/>
            </a:pPr>
            <a:r>
              <a:rPr lang="en-US"/>
              <a:t>Third level</a:t>
            </a:r>
          </a:p>
          <a:p>
            <a:pPr marL="0" lvl="3" indent="0" algn="l" defTabSz="914400" rtl="0" eaLnBrk="1" latinLnBrk="0" hangingPunct="1">
              <a:lnSpc>
                <a:spcPct val="90000"/>
              </a:lnSpc>
              <a:spcBef>
                <a:spcPts val="1800"/>
              </a:spcBef>
              <a:spcAft>
                <a:spcPts val="200"/>
              </a:spcAft>
              <a:buFont typeface="Arial" panose="020B0604020202020204" pitchFamily="34" charset="0"/>
              <a:buChar char="​"/>
            </a:pPr>
            <a:r>
              <a:rPr lang="en-US"/>
              <a:t>Fourth level</a:t>
            </a:r>
          </a:p>
          <a:p>
            <a:pPr marL="0" lvl="4" indent="0" algn="l" defTabSz="914400" rtl="0" eaLnBrk="1" latinLnBrk="0" hangingPunct="1">
              <a:lnSpc>
                <a:spcPct val="90000"/>
              </a:lnSpc>
              <a:spcBef>
                <a:spcPts val="1800"/>
              </a:spcBef>
              <a:spcAft>
                <a:spcPts val="200"/>
              </a:spcAft>
              <a:buFont typeface="Arial" panose="020B0604020202020204" pitchFamily="34" charset="0"/>
              <a:buChar char="​"/>
            </a:pPr>
            <a:r>
              <a:rPr lang="en-US"/>
              <a:t>Fifth level</a:t>
            </a:r>
          </a:p>
        </p:txBody>
      </p:sp>
      <p:sp>
        <p:nvSpPr>
          <p:cNvPr id="7" name="Title 1">
            <a:extLst>
              <a:ext uri="{FF2B5EF4-FFF2-40B4-BE49-F238E27FC236}">
                <a16:creationId xmlns:a16="http://schemas.microsoft.com/office/drawing/2014/main" id="{914D906C-16B7-4F74-AD03-4AF0FB468530}"/>
              </a:ext>
            </a:extLst>
          </p:cNvPr>
          <p:cNvSpPr>
            <a:spLocks noGrp="1"/>
          </p:cNvSpPr>
          <p:nvPr>
            <p:ph type="title"/>
          </p:nvPr>
        </p:nvSpPr>
        <p:spPr>
          <a:xfrm>
            <a:off x="457200" y="457200"/>
            <a:ext cx="10902950" cy="553998"/>
          </a:xfrm>
        </p:spPr>
        <p:txBody>
          <a:bodyPr/>
          <a:lstStyle>
            <a:lvl1pPr>
              <a:defRPr>
                <a:ln>
                  <a:noFill/>
                </a:ln>
                <a:solidFill>
                  <a:schemeClr val="bg1"/>
                </a:solidFill>
              </a:defRPr>
            </a:lvl1pPr>
          </a:lstStyle>
          <a:p>
            <a:r>
              <a:rPr lang="en-US"/>
              <a:t>Click to edit Master title style</a:t>
            </a:r>
          </a:p>
        </p:txBody>
      </p:sp>
      <p:sp>
        <p:nvSpPr>
          <p:cNvPr id="8" name="Text Placeholder 2">
            <a:extLst>
              <a:ext uri="{FF2B5EF4-FFF2-40B4-BE49-F238E27FC236}">
                <a16:creationId xmlns:a16="http://schemas.microsoft.com/office/drawing/2014/main" id="{A5DF42E2-0D95-4622-94FB-D7971E8E3CC2}"/>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lang="en-US" sz="2000" b="0" kern="1200" dirty="0">
                <a:solidFill>
                  <a:schemeClr val="bg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Edit master styles text</a:t>
            </a:r>
          </a:p>
        </p:txBody>
      </p:sp>
      <p:sp>
        <p:nvSpPr>
          <p:cNvPr id="15" name="Content Placeholder 3">
            <a:extLst>
              <a:ext uri="{FF2B5EF4-FFF2-40B4-BE49-F238E27FC236}">
                <a16:creationId xmlns:a16="http://schemas.microsoft.com/office/drawing/2014/main" id="{116D5856-A4DD-4205-957E-79C200592465}"/>
              </a:ext>
            </a:extLst>
          </p:cNvPr>
          <p:cNvSpPr>
            <a:spLocks noGrp="1"/>
          </p:cNvSpPr>
          <p:nvPr>
            <p:ph sz="half" idx="18"/>
          </p:nvPr>
        </p:nvSpPr>
        <p:spPr>
          <a:xfrm>
            <a:off x="6324600" y="1943100"/>
            <a:ext cx="5410200" cy="4457700"/>
          </a:xfrm>
        </p:spPr>
        <p:txBody>
          <a:bodyPr/>
          <a:lstStyle>
            <a:lvl1pPr marL="342900" indent="-342900">
              <a:defRPr lang="en-US" sz="1800" b="1" kern="1200" dirty="0">
                <a:solidFill>
                  <a:schemeClr val="accent1"/>
                </a:solidFill>
                <a:latin typeface="+mn-lt"/>
                <a:ea typeface="+mn-ea"/>
                <a:cs typeface="+mn-cs"/>
              </a:defRPr>
            </a:lvl1pPr>
            <a:lvl2pPr marL="228600" indent="-228600">
              <a:defRPr lang="en-US" sz="1600" kern="1200" dirty="0">
                <a:solidFill>
                  <a:schemeClr val="bg1"/>
                </a:solidFill>
                <a:latin typeface="+mn-lt"/>
                <a:ea typeface="+mn-ea"/>
                <a:cs typeface="+mn-cs"/>
              </a:defRPr>
            </a:lvl2pPr>
            <a:lvl3pPr marL="285750" indent="-285750">
              <a:buFont typeface="Century Gothic" panose="020B0502020202020204" pitchFamily="34" charset="0"/>
              <a:buChar char="−"/>
              <a:defRPr lang="en-US" sz="1400" kern="1200" dirty="0">
                <a:solidFill>
                  <a:schemeClr val="bg1"/>
                </a:solidFill>
                <a:latin typeface="+mn-lt"/>
                <a:ea typeface="+mn-ea"/>
                <a:cs typeface="+mn-cs"/>
              </a:defRPr>
            </a:lvl3pPr>
            <a:lvl4pPr marL="457200" indent="-285750">
              <a:spcBef>
                <a:spcPts val="600"/>
              </a:spcBef>
              <a:spcAft>
                <a:spcPts val="200"/>
              </a:spcAft>
              <a:buFont typeface="Arial" panose="020B0604020202020204" pitchFamily="34" charset="0"/>
              <a:buChar char="•"/>
              <a:defRPr lang="en-US" sz="1400" b="0" kern="1200" spc="0" dirty="0">
                <a:solidFill>
                  <a:schemeClr val="bg2">
                    <a:lumMod val="75000"/>
                  </a:schemeClr>
                </a:solidFill>
                <a:latin typeface="+mn-lt"/>
                <a:ea typeface="+mn-ea"/>
                <a:cs typeface="+mn-cs"/>
              </a:defRPr>
            </a:lvl4pPr>
            <a:lvl5pPr>
              <a:defRPr lang="en-US" sz="1600" b="1" kern="1200" spc="0" dirty="0">
                <a:solidFill>
                  <a:schemeClr val="bg1"/>
                </a:solidFill>
                <a:latin typeface="+mn-lt"/>
                <a:ea typeface="+mn-ea"/>
                <a:cs typeface="+mn-cs"/>
              </a:defRPr>
            </a:lvl5pPr>
          </a:lstStyle>
          <a:p>
            <a:pPr marL="0" lvl="0" indent="0" algn="l" defTabSz="914400" rtl="0" eaLnBrk="1" latinLnBrk="0" hangingPunct="1">
              <a:lnSpc>
                <a:spcPct val="90000"/>
              </a:lnSpc>
              <a:spcBef>
                <a:spcPts val="1800"/>
              </a:spcBef>
              <a:spcAft>
                <a:spcPts val="200"/>
              </a:spcAft>
              <a:buFont typeface="Arial" panose="020B0604020202020204" pitchFamily="34" charset="0"/>
              <a:buChar char="​"/>
            </a:pPr>
            <a:r>
              <a:rPr lang="en-US"/>
              <a:t>Click to edit Master text styles</a:t>
            </a:r>
          </a:p>
          <a:p>
            <a:pPr marL="0" lvl="1" indent="0" algn="l" defTabSz="914400" rtl="0" eaLnBrk="1" latinLnBrk="0" hangingPunct="1">
              <a:lnSpc>
                <a:spcPct val="90000"/>
              </a:lnSpc>
              <a:spcBef>
                <a:spcPts val="1800"/>
              </a:spcBef>
              <a:spcAft>
                <a:spcPts val="200"/>
              </a:spcAft>
              <a:buFont typeface="Arial" panose="020B0604020202020204" pitchFamily="34" charset="0"/>
              <a:buChar char="​"/>
            </a:pPr>
            <a:r>
              <a:rPr lang="en-US"/>
              <a:t>Second level</a:t>
            </a:r>
          </a:p>
          <a:p>
            <a:pPr marL="0" lvl="2" indent="0" algn="l" defTabSz="914400" rtl="0" eaLnBrk="1" latinLnBrk="0" hangingPunct="1">
              <a:lnSpc>
                <a:spcPct val="90000"/>
              </a:lnSpc>
              <a:spcBef>
                <a:spcPts val="1800"/>
              </a:spcBef>
              <a:spcAft>
                <a:spcPts val="200"/>
              </a:spcAft>
              <a:buFont typeface="Arial" panose="020B0604020202020204" pitchFamily="34" charset="0"/>
              <a:buChar char="​"/>
            </a:pPr>
            <a:r>
              <a:rPr lang="en-US"/>
              <a:t>Third level</a:t>
            </a:r>
          </a:p>
          <a:p>
            <a:pPr marL="0" lvl="3" indent="0" algn="l" defTabSz="914400" rtl="0" eaLnBrk="1" latinLnBrk="0" hangingPunct="1">
              <a:lnSpc>
                <a:spcPct val="90000"/>
              </a:lnSpc>
              <a:spcBef>
                <a:spcPts val="1800"/>
              </a:spcBef>
              <a:spcAft>
                <a:spcPts val="200"/>
              </a:spcAft>
              <a:buFont typeface="Arial" panose="020B0604020202020204" pitchFamily="34" charset="0"/>
              <a:buChar char="​"/>
            </a:pPr>
            <a:r>
              <a:rPr lang="en-US"/>
              <a:t>Fourth level</a:t>
            </a:r>
          </a:p>
          <a:p>
            <a:pPr marL="0" lvl="4" indent="0" algn="l" defTabSz="914400" rtl="0" eaLnBrk="1" latinLnBrk="0" hangingPunct="1">
              <a:lnSpc>
                <a:spcPct val="90000"/>
              </a:lnSpc>
              <a:spcBef>
                <a:spcPts val="1800"/>
              </a:spcBef>
              <a:spcAft>
                <a:spcPts val="200"/>
              </a:spcAft>
              <a:buFont typeface="Arial" panose="020B0604020202020204" pitchFamily="34" charset="0"/>
              <a:buChar char="​"/>
            </a:pPr>
            <a:r>
              <a:rPr lang="en-US"/>
              <a:t>Fifth level</a:t>
            </a:r>
          </a:p>
        </p:txBody>
      </p:sp>
      <p:sp>
        <p:nvSpPr>
          <p:cNvPr id="3" name="Slide Number Placeholder 2">
            <a:extLst>
              <a:ext uri="{FF2B5EF4-FFF2-40B4-BE49-F238E27FC236}">
                <a16:creationId xmlns:a16="http://schemas.microsoft.com/office/drawing/2014/main" id="{DB137165-BE0E-48FA-B927-00B86F485244}"/>
              </a:ext>
            </a:extLst>
          </p:cNvPr>
          <p:cNvSpPr>
            <a:spLocks noGrp="1"/>
          </p:cNvSpPr>
          <p:nvPr>
            <p:ph type="sldNum" sz="quarter" idx="20"/>
          </p:nvPr>
        </p:nvSpPr>
        <p:spPr/>
        <p:txBody>
          <a:bodyPr/>
          <a:lstStyle/>
          <a:p>
            <a:fld id="{54939E03-9150-4A70-B4B2-A2AFB6334D4D}" type="slidenum">
              <a:rPr lang="en-SG" smtClean="0"/>
              <a:t>‹#›</a:t>
            </a:fld>
            <a:endParaRPr lang="en-SG"/>
          </a:p>
        </p:txBody>
      </p:sp>
      <p:grpSp>
        <p:nvGrpSpPr>
          <p:cNvPr id="13" name="Group 12">
            <a:extLst>
              <a:ext uri="{FF2B5EF4-FFF2-40B4-BE49-F238E27FC236}">
                <a16:creationId xmlns:a16="http://schemas.microsoft.com/office/drawing/2014/main" id="{D627339A-5699-4D23-A3EC-EFD71D2BA34D}"/>
              </a:ext>
            </a:extLst>
          </p:cNvPr>
          <p:cNvGrpSpPr/>
          <p:nvPr/>
        </p:nvGrpSpPr>
        <p:grpSpPr>
          <a:xfrm>
            <a:off x="11420680" y="457200"/>
            <a:ext cx="323850" cy="324895"/>
            <a:chOff x="11693125" y="130630"/>
            <a:chExt cx="368246" cy="369434"/>
          </a:xfrm>
          <a:solidFill>
            <a:schemeClr val="bg1"/>
          </a:solidFill>
        </p:grpSpPr>
        <p:sp>
          <p:nvSpPr>
            <p:cNvPr id="14" name="Freeform 5">
              <a:extLst>
                <a:ext uri="{FF2B5EF4-FFF2-40B4-BE49-F238E27FC236}">
                  <a16:creationId xmlns:a16="http://schemas.microsoft.com/office/drawing/2014/main" id="{35D47DFC-967B-4C4A-A56C-D42D3B94734C}"/>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CF390383-E59D-490E-BDB2-9E45CB723C1C}"/>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DF8F91EB-C769-4A45-9FA3-EA8900020C02}"/>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899725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ntent - Callout">
    <p:bg>
      <p:bgPr>
        <a:solidFill>
          <a:schemeClr val="bg1"/>
        </a:solidFill>
        <a:effectLst/>
      </p:bgPr>
    </p:bg>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C1D1E1C1-E558-49A5-83D5-F48735A17B94}"/>
              </a:ext>
            </a:extLst>
          </p:cNvPr>
          <p:cNvSpPr>
            <a:spLocks noGrp="1"/>
          </p:cNvSpPr>
          <p:nvPr>
            <p:ph sz="quarter" idx="19"/>
          </p:nvPr>
        </p:nvSpPr>
        <p:spPr>
          <a:xfrm>
            <a:off x="457200" y="1943099"/>
            <a:ext cx="5410200" cy="4457701"/>
          </a:xfrm>
          <a:noFill/>
        </p:spPr>
        <p:txBody>
          <a:bodyPr lIns="0" tIns="457200" rIns="457200" bIns="4572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a:extLst>
              <a:ext uri="{FF2B5EF4-FFF2-40B4-BE49-F238E27FC236}">
                <a16:creationId xmlns:a16="http://schemas.microsoft.com/office/drawing/2014/main" id="{9A0C2AC7-05BB-4C8B-85DD-EA42CB43B484}"/>
              </a:ext>
            </a:extLst>
          </p:cNvPr>
          <p:cNvSpPr>
            <a:spLocks noGrp="1"/>
          </p:cNvSpPr>
          <p:nvPr>
            <p:ph sz="quarter" idx="20"/>
          </p:nvPr>
        </p:nvSpPr>
        <p:spPr>
          <a:xfrm>
            <a:off x="6324600" y="1943099"/>
            <a:ext cx="5410200" cy="4457701"/>
          </a:xfrm>
          <a:solidFill>
            <a:schemeClr val="tx1"/>
          </a:solidFill>
        </p:spPr>
        <p:txBody>
          <a:bodyPr lIns="457200" tIns="457200" rIns="457200" bIns="457200"/>
          <a:lstStyle>
            <a:lvl1pPr>
              <a:defRPr sz="3200" b="0" spc="-30" baseline="0">
                <a:solidFill>
                  <a:schemeClr val="accent1"/>
                </a:solidFill>
                <a:latin typeface="+mj-lt"/>
              </a:defRPr>
            </a:lvl1pPr>
            <a:lvl2pPr>
              <a:spcBef>
                <a:spcPts val="1800"/>
              </a:spcBef>
              <a:defRPr b="1">
                <a:solidFill>
                  <a:schemeClr val="accent1"/>
                </a:solidFill>
              </a:defRPr>
            </a:lvl2pPr>
            <a:lvl3pPr marL="0" indent="0">
              <a:buFont typeface="CiscoSansTT ExtraLight" panose="020B0303020201020303" pitchFamily="34" charset="0"/>
              <a:buChar char="​"/>
              <a:defRPr>
                <a:solidFill>
                  <a:schemeClr val="bg1"/>
                </a:solidFill>
              </a:defRPr>
            </a:lvl3pPr>
            <a:lvl4pPr marL="228600" indent="-228600">
              <a:buFont typeface="Arial" panose="020B0604020202020204" pitchFamily="34" charset="0"/>
              <a:buChar cha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a:extLst>
              <a:ext uri="{FF2B5EF4-FFF2-40B4-BE49-F238E27FC236}">
                <a16:creationId xmlns:a16="http://schemas.microsoft.com/office/drawing/2014/main" id="{914D906C-16B7-4F74-AD03-4AF0FB468530}"/>
              </a:ext>
            </a:extLst>
          </p:cNvPr>
          <p:cNvSpPr>
            <a:spLocks noGrp="1"/>
          </p:cNvSpPr>
          <p:nvPr>
            <p:ph type="title"/>
          </p:nvPr>
        </p:nvSpPr>
        <p:spPr>
          <a:xfrm>
            <a:off x="457200" y="457200"/>
            <a:ext cx="10902950" cy="553998"/>
          </a:xfrm>
        </p:spPr>
        <p:txBody>
          <a:bodyPr/>
          <a:lstStyle>
            <a:lvl1pPr>
              <a:defRPr>
                <a:solidFill>
                  <a:schemeClr val="accent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CA534328-4F75-4C9A-9E92-CED015DF2554}"/>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77DCD92F-3845-498D-A053-0BCA388DCA3B}"/>
              </a:ext>
            </a:extLst>
          </p:cNvPr>
          <p:cNvSpPr>
            <a:spLocks noGrp="1"/>
          </p:cNvSpPr>
          <p:nvPr>
            <p:ph type="sldNum" sz="quarter" idx="22"/>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17625670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Content - Standar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B8A98BB-1323-40AE-BD7B-03146CA9976F}"/>
              </a:ext>
            </a:extLst>
          </p:cNvPr>
          <p:cNvSpPr>
            <a:spLocks noGrp="1"/>
          </p:cNvSpPr>
          <p:nvPr>
            <p:ph sz="quarter" idx="19"/>
          </p:nvPr>
        </p:nvSpPr>
        <p:spPr>
          <a:xfrm>
            <a:off x="457200" y="1943100"/>
            <a:ext cx="3454400" cy="44577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a:extLst>
              <a:ext uri="{FF2B5EF4-FFF2-40B4-BE49-F238E27FC236}">
                <a16:creationId xmlns:a16="http://schemas.microsoft.com/office/drawing/2014/main" id="{8B2C515F-1E57-4A3B-9E47-8A7381E7FE9F}"/>
              </a:ext>
            </a:extLst>
          </p:cNvPr>
          <p:cNvSpPr>
            <a:spLocks noGrp="1"/>
          </p:cNvSpPr>
          <p:nvPr>
            <p:ph sz="quarter" idx="20"/>
          </p:nvPr>
        </p:nvSpPr>
        <p:spPr>
          <a:xfrm>
            <a:off x="4368800" y="1943100"/>
            <a:ext cx="3454400" cy="44577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4">
            <a:extLst>
              <a:ext uri="{FF2B5EF4-FFF2-40B4-BE49-F238E27FC236}">
                <a16:creationId xmlns:a16="http://schemas.microsoft.com/office/drawing/2014/main" id="{F4D69AE9-BA87-40DD-95DB-B6CE8597D23A}"/>
              </a:ext>
            </a:extLst>
          </p:cNvPr>
          <p:cNvSpPr>
            <a:spLocks noGrp="1"/>
          </p:cNvSpPr>
          <p:nvPr>
            <p:ph sz="quarter" idx="21"/>
          </p:nvPr>
        </p:nvSpPr>
        <p:spPr>
          <a:xfrm>
            <a:off x="8280400" y="1943100"/>
            <a:ext cx="3454400" cy="44577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24E9BA8E-8BF2-458F-AFEC-73F2D07C0A12}"/>
              </a:ext>
            </a:extLst>
          </p:cNvPr>
          <p:cNvSpPr>
            <a:spLocks noGrp="1"/>
          </p:cNvSpPr>
          <p:nvPr>
            <p:ph type="title"/>
          </p:nvPr>
        </p:nvSpPr>
        <p:spPr>
          <a:xfrm>
            <a:off x="457200" y="457200"/>
            <a:ext cx="10902950" cy="553998"/>
          </a:xfrm>
        </p:spPr>
        <p:txBody>
          <a:bodyPr/>
          <a:lstStyle>
            <a:lvl1pPr>
              <a:defRPr>
                <a:solidFill>
                  <a:schemeClr val="accent1"/>
                </a:solidFill>
              </a:defRPr>
            </a:lvl1pPr>
          </a:lstStyle>
          <a:p>
            <a:r>
              <a:rPr lang="en-US"/>
              <a:t>Click to edit Master title style</a:t>
            </a:r>
          </a:p>
        </p:txBody>
      </p:sp>
      <p:sp>
        <p:nvSpPr>
          <p:cNvPr id="13" name="Text Placeholder 2">
            <a:extLst>
              <a:ext uri="{FF2B5EF4-FFF2-40B4-BE49-F238E27FC236}">
                <a16:creationId xmlns:a16="http://schemas.microsoft.com/office/drawing/2014/main" id="{D003DEBD-293F-4817-8905-6EDCC3BAC8B6}"/>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853339FB-85DA-4B5F-903E-C7DC8965D943}"/>
              </a:ext>
            </a:extLst>
          </p:cNvPr>
          <p:cNvSpPr>
            <a:spLocks noGrp="1"/>
          </p:cNvSpPr>
          <p:nvPr>
            <p:ph type="sldNum" sz="quarter" idx="2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610936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Standard">
    <p:spTree>
      <p:nvGrpSpPr>
        <p:cNvPr id="1" name=""/>
        <p:cNvGrpSpPr/>
        <p:nvPr/>
      </p:nvGrpSpPr>
      <p:grpSpPr>
        <a:xfrm>
          <a:off x="0" y="0"/>
          <a:ext cx="0" cy="0"/>
          <a:chOff x="0" y="0"/>
          <a:chExt cx="0" cy="0"/>
        </a:xfrm>
      </p:grpSpPr>
      <p:sp>
        <p:nvSpPr>
          <p:cNvPr id="2" name="Title 1"/>
          <p:cNvSpPr>
            <a:spLocks noGrp="1"/>
          </p:cNvSpPr>
          <p:nvPr>
            <p:ph type="title"/>
          </p:nvPr>
        </p:nvSpPr>
        <p:spPr>
          <a:xfrm>
            <a:off x="457200" y="457170"/>
            <a:ext cx="10902950" cy="553998"/>
          </a:xfrm>
        </p:spPr>
        <p:txBody>
          <a:bodyPr/>
          <a:lstStyle>
            <a:lvl1pPr>
              <a:defRPr>
                <a:solidFill>
                  <a:schemeClr val="accent1"/>
                </a:solidFill>
              </a:defRPr>
            </a:lvl1pPr>
          </a:lstStyle>
          <a:p>
            <a:r>
              <a:rPr lang="en-US"/>
              <a:t>Click to edit Master title style</a:t>
            </a:r>
          </a:p>
        </p:txBody>
      </p:sp>
      <p:sp>
        <p:nvSpPr>
          <p:cNvPr id="4" name="Text Placeholder 2"/>
          <p:cNvSpPr>
            <a:spLocks noGrp="1"/>
          </p:cNvSpPr>
          <p:nvPr>
            <p:ph type="body" idx="16" hasCustomPrompt="1"/>
          </p:nvPr>
        </p:nvSpPr>
        <p:spPr>
          <a:xfrm>
            <a:off x="457201" y="1074237"/>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11" name="Content Placeholder 10">
            <a:extLst>
              <a:ext uri="{FF2B5EF4-FFF2-40B4-BE49-F238E27FC236}">
                <a16:creationId xmlns:a16="http://schemas.microsoft.com/office/drawing/2014/main" id="{64DBDAB3-6E48-481D-A27B-7FFADA4057D6}"/>
              </a:ext>
            </a:extLst>
          </p:cNvPr>
          <p:cNvSpPr>
            <a:spLocks noGrp="1"/>
          </p:cNvSpPr>
          <p:nvPr>
            <p:ph sz="quarter" idx="17"/>
          </p:nvPr>
        </p:nvSpPr>
        <p:spPr>
          <a:xfrm>
            <a:off x="463550" y="1943100"/>
            <a:ext cx="112776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6232F5B-66EC-481E-8253-2FFCB83A4021}"/>
              </a:ext>
            </a:extLst>
          </p:cNvPr>
          <p:cNvSpPr>
            <a:spLocks noGrp="1"/>
          </p:cNvSpPr>
          <p:nvPr>
            <p:ph type="sldNum" sz="quarter" idx="19"/>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38873712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our Content - Standar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8FA402D-8265-4389-AB41-CAE6A862A304}"/>
              </a:ext>
            </a:extLst>
          </p:cNvPr>
          <p:cNvSpPr>
            <a:spLocks noGrp="1"/>
          </p:cNvSpPr>
          <p:nvPr>
            <p:ph type="title"/>
          </p:nvPr>
        </p:nvSpPr>
        <p:spPr>
          <a:xfrm>
            <a:off x="457200" y="457200"/>
            <a:ext cx="10902950" cy="553998"/>
          </a:xfrm>
        </p:spPr>
        <p:txBody>
          <a:bodyPr/>
          <a:lstStyle>
            <a:lvl1pPr>
              <a:defRPr>
                <a:solidFill>
                  <a:schemeClr val="accent1"/>
                </a:solidFill>
              </a:defRPr>
            </a:lvl1pPr>
          </a:lstStyle>
          <a:p>
            <a:r>
              <a:rPr lang="en-US"/>
              <a:t>Click to edit Master title style</a:t>
            </a:r>
          </a:p>
        </p:txBody>
      </p:sp>
      <p:sp>
        <p:nvSpPr>
          <p:cNvPr id="12" name="Text Placeholder 2">
            <a:extLst>
              <a:ext uri="{FF2B5EF4-FFF2-40B4-BE49-F238E27FC236}">
                <a16:creationId xmlns:a16="http://schemas.microsoft.com/office/drawing/2014/main" id="{90AD8EE2-D532-4A78-A680-7C2CF646D513}"/>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5" name="Content Placeholder 4">
            <a:extLst>
              <a:ext uri="{FF2B5EF4-FFF2-40B4-BE49-F238E27FC236}">
                <a16:creationId xmlns:a16="http://schemas.microsoft.com/office/drawing/2014/main" id="{9DE971B7-757A-4B7B-B932-50CE0B707BF7}"/>
              </a:ext>
            </a:extLst>
          </p:cNvPr>
          <p:cNvSpPr>
            <a:spLocks noGrp="1"/>
          </p:cNvSpPr>
          <p:nvPr>
            <p:ph sz="quarter" idx="20"/>
          </p:nvPr>
        </p:nvSpPr>
        <p:spPr>
          <a:xfrm>
            <a:off x="457200" y="1943101"/>
            <a:ext cx="2438400" cy="4457700"/>
          </a:xfrm>
        </p:spPr>
        <p:txBody>
          <a:bodyPr/>
          <a:lstStyle>
            <a:lvl1pPr>
              <a:defRPr sz="1600"/>
            </a:lvl1pPr>
            <a:lvl2pPr>
              <a:defRPr sz="16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6CC814C8-2E3E-4B10-ABDC-C0D3E962EBF0}"/>
              </a:ext>
            </a:extLst>
          </p:cNvPr>
          <p:cNvSpPr>
            <a:spLocks noGrp="1"/>
          </p:cNvSpPr>
          <p:nvPr>
            <p:ph sz="quarter" idx="21"/>
          </p:nvPr>
        </p:nvSpPr>
        <p:spPr>
          <a:xfrm>
            <a:off x="3390900" y="1943101"/>
            <a:ext cx="2476500" cy="4457700"/>
          </a:xfrm>
        </p:spPr>
        <p:txBody>
          <a:bodyPr/>
          <a:lstStyle>
            <a:lvl1pPr>
              <a:defRPr sz="1600"/>
            </a:lvl1pPr>
            <a:lvl2pPr>
              <a:defRPr sz="16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D38922D6-B529-4B9D-BF69-C765B5C679EA}"/>
              </a:ext>
            </a:extLst>
          </p:cNvPr>
          <p:cNvSpPr>
            <a:spLocks noGrp="1"/>
          </p:cNvSpPr>
          <p:nvPr>
            <p:ph sz="quarter" idx="22"/>
          </p:nvPr>
        </p:nvSpPr>
        <p:spPr>
          <a:xfrm>
            <a:off x="6324600" y="1943101"/>
            <a:ext cx="2476500" cy="4457700"/>
          </a:xfrm>
        </p:spPr>
        <p:txBody>
          <a:bodyPr/>
          <a:lstStyle>
            <a:lvl1pPr>
              <a:defRPr sz="1600"/>
            </a:lvl1pPr>
            <a:lvl2pPr>
              <a:defRPr sz="16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6C102AF4-3DE7-49FB-8721-6DF46E4B9B9A}"/>
              </a:ext>
            </a:extLst>
          </p:cNvPr>
          <p:cNvSpPr>
            <a:spLocks noGrp="1"/>
          </p:cNvSpPr>
          <p:nvPr>
            <p:ph sz="quarter" idx="23"/>
          </p:nvPr>
        </p:nvSpPr>
        <p:spPr>
          <a:xfrm>
            <a:off x="9258300" y="1943101"/>
            <a:ext cx="2476500" cy="4457700"/>
          </a:xfrm>
        </p:spPr>
        <p:txBody>
          <a:bodyPr/>
          <a:lstStyle>
            <a:lvl1pPr>
              <a:defRPr sz="1600"/>
            </a:lvl1pPr>
            <a:lvl2pPr>
              <a:defRPr sz="16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5A0A7A74-A715-4F42-A1A6-5E00285DD091}"/>
              </a:ext>
            </a:extLst>
          </p:cNvPr>
          <p:cNvSpPr>
            <a:spLocks noGrp="1"/>
          </p:cNvSpPr>
          <p:nvPr>
            <p:ph type="sldNum" sz="quarter" idx="25"/>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26486893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53014"/>
            <a:ext cx="10902950" cy="553998"/>
          </a:xfrm>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8B815F77-2A4A-4F54-8774-A2D2FE1B8917}"/>
              </a:ext>
            </a:extLst>
          </p:cNvPr>
          <p:cNvSpPr>
            <a:spLocks noGrp="1"/>
          </p:cNvSpPr>
          <p:nvPr>
            <p:ph type="sldNum" sz="quarter" idx="11"/>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9685390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Sub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453014"/>
            <a:ext cx="10902950" cy="553998"/>
          </a:xfrm>
        </p:spPr>
        <p:txBody>
          <a:bodyPr/>
          <a:lstStyle/>
          <a:p>
            <a:r>
              <a:rPr lang="en-US"/>
              <a:t>Click to edit Master title style</a:t>
            </a:r>
          </a:p>
        </p:txBody>
      </p:sp>
      <p:sp>
        <p:nvSpPr>
          <p:cNvPr id="4" name="Text Placeholder 2">
            <a:extLst>
              <a:ext uri="{FF2B5EF4-FFF2-40B4-BE49-F238E27FC236}">
                <a16:creationId xmlns:a16="http://schemas.microsoft.com/office/drawing/2014/main" id="{A5CEA3C8-8FFE-4A25-A7FC-795689BBA779}"/>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5" name="Slide Number Placeholder 4">
            <a:extLst>
              <a:ext uri="{FF2B5EF4-FFF2-40B4-BE49-F238E27FC236}">
                <a16:creationId xmlns:a16="http://schemas.microsoft.com/office/drawing/2014/main" id="{0CB343CE-6603-4E39-995D-22078B1563EB}"/>
              </a:ext>
            </a:extLst>
          </p:cNvPr>
          <p:cNvSpPr>
            <a:spLocks noGrp="1"/>
          </p:cNvSpPr>
          <p:nvPr>
            <p:ph type="sldNum" sz="quarter" idx="18"/>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10273333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 Subtitle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453014"/>
            <a:ext cx="10902950" cy="553998"/>
          </a:xfrm>
        </p:spPr>
        <p:txBody>
          <a:bodyPr/>
          <a:lstStyle/>
          <a:p>
            <a:r>
              <a:rPr lang="en-US"/>
              <a:t>Click to edit Master title style</a:t>
            </a:r>
          </a:p>
        </p:txBody>
      </p:sp>
      <p:sp>
        <p:nvSpPr>
          <p:cNvPr id="4" name="Text Placeholder 2">
            <a:extLst>
              <a:ext uri="{FF2B5EF4-FFF2-40B4-BE49-F238E27FC236}">
                <a16:creationId xmlns:a16="http://schemas.microsoft.com/office/drawing/2014/main" id="{A5CEA3C8-8FFE-4A25-A7FC-795689BBA779}"/>
              </a:ext>
            </a:extLst>
          </p:cNvPr>
          <p:cNvSpPr>
            <a:spLocks noGrp="1"/>
          </p:cNvSpPr>
          <p:nvPr>
            <p:ph type="body" idx="16" hasCustomPrompt="1"/>
          </p:nvPr>
        </p:nvSpPr>
        <p:spPr>
          <a:xfrm>
            <a:off x="457201" y="1090499"/>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9" name="Slide Number Placeholder 8">
            <a:extLst>
              <a:ext uri="{FF2B5EF4-FFF2-40B4-BE49-F238E27FC236}">
                <a16:creationId xmlns:a16="http://schemas.microsoft.com/office/drawing/2014/main" id="{FB54DC85-42D4-451E-96C8-A29F8E55E1C5}"/>
              </a:ext>
            </a:extLst>
          </p:cNvPr>
          <p:cNvSpPr>
            <a:spLocks noGrp="1"/>
          </p:cNvSpPr>
          <p:nvPr>
            <p:ph type="sldNum" sz="quarter" idx="18"/>
          </p:nvPr>
        </p:nvSpPr>
        <p:spPr/>
        <p:txBody>
          <a:bodyPr/>
          <a:lstStyle/>
          <a:p>
            <a:fld id="{54939E03-9150-4A70-B4B2-A2AFB6334D4D}" type="slidenum">
              <a:rPr lang="en-SG" smtClean="0"/>
              <a:t>‹#›</a:t>
            </a:fld>
            <a:endParaRPr lang="en-SG"/>
          </a:p>
        </p:txBody>
      </p:sp>
      <p:grpSp>
        <p:nvGrpSpPr>
          <p:cNvPr id="10" name="Group 9">
            <a:extLst>
              <a:ext uri="{FF2B5EF4-FFF2-40B4-BE49-F238E27FC236}">
                <a16:creationId xmlns:a16="http://schemas.microsoft.com/office/drawing/2014/main" id="{AC90898F-F6B6-4613-9DA6-A9B6F6895A99}"/>
              </a:ext>
            </a:extLst>
          </p:cNvPr>
          <p:cNvGrpSpPr/>
          <p:nvPr/>
        </p:nvGrpSpPr>
        <p:grpSpPr>
          <a:xfrm>
            <a:off x="11420680" y="457200"/>
            <a:ext cx="323850" cy="324895"/>
            <a:chOff x="11693125" y="130630"/>
            <a:chExt cx="368246" cy="369434"/>
          </a:xfrm>
          <a:solidFill>
            <a:schemeClr val="bg1"/>
          </a:solidFill>
        </p:grpSpPr>
        <p:sp>
          <p:nvSpPr>
            <p:cNvPr id="11" name="Freeform 5">
              <a:extLst>
                <a:ext uri="{FF2B5EF4-FFF2-40B4-BE49-F238E27FC236}">
                  <a16:creationId xmlns:a16="http://schemas.microsoft.com/office/drawing/2014/main" id="{EC01DD5C-3C40-4B22-9DE1-47ED845E4D2D}"/>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4558B425-DEB4-4629-8309-21751F73DF88}"/>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05C43A9A-D97F-4E56-82A0-48843FE1B5D9}"/>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100063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F88958D-B40C-4BF8-9C9C-B33419EB07AC}"/>
              </a:ext>
            </a:extLst>
          </p:cNvPr>
          <p:cNvSpPr>
            <a:spLocks noGrp="1"/>
          </p:cNvSpPr>
          <p:nvPr>
            <p:ph type="sldNum" sz="quarter" idx="11"/>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38543586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mage or Graphic Left ">
    <p:spTree>
      <p:nvGrpSpPr>
        <p:cNvPr id="1" name=""/>
        <p:cNvGrpSpPr/>
        <p:nvPr/>
      </p:nvGrpSpPr>
      <p:grpSpPr>
        <a:xfrm>
          <a:off x="0" y="0"/>
          <a:ext cx="0" cy="0"/>
          <a:chOff x="0" y="0"/>
          <a:chExt cx="0" cy="0"/>
        </a:xfrm>
      </p:grpSpPr>
      <p:sp>
        <p:nvSpPr>
          <p:cNvPr id="8" name="Rectangle 7"/>
          <p:cNvSpPr/>
          <p:nvPr/>
        </p:nvSpPr>
        <p:spPr>
          <a:xfrm>
            <a:off x="7245350" y="0"/>
            <a:ext cx="494506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0"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7693870" y="914400"/>
            <a:ext cx="4053630" cy="5029200"/>
          </a:xfrm>
        </p:spPr>
        <p:txBody>
          <a:bodyPr anchor="ctr"/>
          <a:lstStyle>
            <a:lvl1pPr>
              <a:defRPr sz="3200">
                <a:solidFill>
                  <a:schemeClr val="accent1"/>
                </a:solidFill>
                <a:latin typeface="+mj-lt"/>
              </a:defRPr>
            </a:lvl1pPr>
            <a:lvl2pPr>
              <a:spcBef>
                <a:spcPts val="1800"/>
              </a:spcBef>
              <a:defRPr b="1"/>
            </a:lvl2pPr>
            <a:lvl3pPr marL="0" indent="0">
              <a:buFont typeface="CiscoSansTT ExtraLight" panose="020B0303020201020303" pitchFamily="34" charset="0"/>
              <a:buChar char="​"/>
              <a:tabLst/>
              <a:defRPr sz="1800"/>
            </a:lvl3pPr>
            <a:lvl4pPr marL="514350" indent="-228600">
              <a:buFont typeface="Arial" panose="020B0604020202020204" pitchFamily="34" charset="0"/>
              <a:buChar char="•"/>
              <a:defRPr>
                <a:solidFill>
                  <a:schemeClr val="tx1"/>
                </a:solidFill>
              </a:defRPr>
            </a:lvl4pPr>
            <a:lvl5pPr>
              <a:spcBef>
                <a:spcPts val="600"/>
              </a:spcBef>
              <a:defRPr sz="2400" b="0" spc="0">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7504AF5-ADC9-49FE-85E5-3CD0794FA04E}"/>
              </a:ext>
            </a:extLst>
          </p:cNvPr>
          <p:cNvSpPr>
            <a:spLocks noGrp="1"/>
          </p:cNvSpPr>
          <p:nvPr>
            <p:ph type="sldNum" sz="quarter" idx="13"/>
          </p:nvPr>
        </p:nvSpPr>
        <p:spPr/>
        <p:txBody>
          <a:bodyPr/>
          <a:lstStyle/>
          <a:p>
            <a:fld id="{54939E03-9150-4A70-B4B2-A2AFB6334D4D}" type="slidenum">
              <a:rPr lang="en-SG" smtClean="0"/>
              <a:t>‹#›</a:t>
            </a:fld>
            <a:endParaRPr lang="en-SG"/>
          </a:p>
        </p:txBody>
      </p:sp>
      <p:grpSp>
        <p:nvGrpSpPr>
          <p:cNvPr id="10" name="Group 9">
            <a:extLst>
              <a:ext uri="{FF2B5EF4-FFF2-40B4-BE49-F238E27FC236}">
                <a16:creationId xmlns:a16="http://schemas.microsoft.com/office/drawing/2014/main" id="{4C05186D-4E5F-41AF-A5CF-38A6C7C49C28}"/>
              </a:ext>
            </a:extLst>
          </p:cNvPr>
          <p:cNvGrpSpPr/>
          <p:nvPr/>
        </p:nvGrpSpPr>
        <p:grpSpPr>
          <a:xfrm>
            <a:off x="11420680" y="457200"/>
            <a:ext cx="323850" cy="324895"/>
            <a:chOff x="11693125" y="130630"/>
            <a:chExt cx="368246" cy="369434"/>
          </a:xfrm>
        </p:grpSpPr>
        <p:sp>
          <p:nvSpPr>
            <p:cNvPr id="11" name="Freeform 5">
              <a:extLst>
                <a:ext uri="{FF2B5EF4-FFF2-40B4-BE49-F238E27FC236}">
                  <a16:creationId xmlns:a16="http://schemas.microsoft.com/office/drawing/2014/main" id="{53CEA688-720D-4CDE-B585-683610A85B76}"/>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C461BAA6-C1CF-457B-BF22-F399A0012FB3}"/>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66AE3D74-0F31-4C61-BB34-7876D9F3C8AD}"/>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927466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mage or Graphic Right">
    <p:spTree>
      <p:nvGrpSpPr>
        <p:cNvPr id="1" name=""/>
        <p:cNvGrpSpPr/>
        <p:nvPr/>
      </p:nvGrpSpPr>
      <p:grpSpPr>
        <a:xfrm>
          <a:off x="0" y="0"/>
          <a:ext cx="0" cy="0"/>
          <a:chOff x="0" y="0"/>
          <a:chExt cx="0" cy="0"/>
        </a:xfrm>
      </p:grpSpPr>
      <p:sp>
        <p:nvSpPr>
          <p:cNvPr id="8" name="Rectangle 7"/>
          <p:cNvSpPr/>
          <p:nvPr/>
        </p:nvSpPr>
        <p:spPr>
          <a:xfrm>
            <a:off x="0" y="0"/>
            <a:ext cx="494506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4948238"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448520" y="914400"/>
            <a:ext cx="4053630" cy="5029200"/>
          </a:xfrm>
        </p:spPr>
        <p:txBody>
          <a:bodyPr anchor="ctr"/>
          <a:lstStyle>
            <a:lvl1pPr>
              <a:defRPr sz="3200">
                <a:solidFill>
                  <a:schemeClr val="accent1"/>
                </a:solidFill>
                <a:latin typeface="+mj-lt"/>
              </a:defRPr>
            </a:lvl1pPr>
            <a:lvl2pPr>
              <a:spcBef>
                <a:spcPts val="1800"/>
              </a:spcBef>
              <a:defRPr b="1"/>
            </a:lvl2pPr>
            <a:lvl3pPr marL="0" indent="0">
              <a:buFont typeface="CiscoSansTT ExtraLight" panose="020B0303020201020303" pitchFamily="34" charset="0"/>
              <a:buChar char="​"/>
              <a:tabLst/>
              <a:defRPr sz="1800"/>
            </a:lvl3pPr>
            <a:lvl4pPr marL="514350" indent="-228600">
              <a:buFont typeface="Arial" panose="020B0604020202020204" pitchFamily="34" charset="0"/>
              <a:buChar char="•"/>
              <a:defRPr>
                <a:solidFill>
                  <a:schemeClr val="tx1"/>
                </a:solidFill>
              </a:defRPr>
            </a:lvl4pPr>
            <a:lvl5pPr>
              <a:spcBef>
                <a:spcPts val="600"/>
              </a:spcBef>
              <a:defRPr sz="2400" b="0" spc="0">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273574D4-07D7-4289-838F-6C40B3DD97E6}"/>
              </a:ext>
            </a:extLst>
          </p:cNvPr>
          <p:cNvSpPr/>
          <p:nvPr/>
        </p:nvSpPr>
        <p:spPr>
          <a:xfrm>
            <a:off x="4954687" y="596766"/>
            <a:ext cx="358458" cy="25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13F954E5-2D92-43C7-B374-53BCBFE95EE2}"/>
              </a:ext>
            </a:extLst>
          </p:cNvPr>
          <p:cNvSpPr>
            <a:spLocks noGrp="1"/>
          </p:cNvSpPr>
          <p:nvPr>
            <p:ph type="sldNum" sz="quarter" idx="1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3313661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Image or Graphic Left (Red)">
    <p:spTree>
      <p:nvGrpSpPr>
        <p:cNvPr id="1" name=""/>
        <p:cNvGrpSpPr/>
        <p:nvPr/>
      </p:nvGrpSpPr>
      <p:grpSpPr>
        <a:xfrm>
          <a:off x="0" y="0"/>
          <a:ext cx="0" cy="0"/>
          <a:chOff x="0" y="0"/>
          <a:chExt cx="0" cy="0"/>
        </a:xfrm>
      </p:grpSpPr>
      <p:sp>
        <p:nvSpPr>
          <p:cNvPr id="8" name="Rectangle 7"/>
          <p:cNvSpPr/>
          <p:nvPr/>
        </p:nvSpPr>
        <p:spPr>
          <a:xfrm>
            <a:off x="7245350" y="0"/>
            <a:ext cx="494506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0"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7693870" y="914400"/>
            <a:ext cx="4053630" cy="5029200"/>
          </a:xfrm>
        </p:spPr>
        <p:txBody>
          <a:bodyPr anchor="ctr"/>
          <a:lstStyle>
            <a:lvl1pPr>
              <a:defRPr sz="3200">
                <a:solidFill>
                  <a:schemeClr val="bg1"/>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a:extLst>
              <a:ext uri="{FF2B5EF4-FFF2-40B4-BE49-F238E27FC236}">
                <a16:creationId xmlns:a16="http://schemas.microsoft.com/office/drawing/2014/main" id="{953F642A-4EEE-412A-A117-B5D467656B7B}"/>
              </a:ext>
            </a:extLst>
          </p:cNvPr>
          <p:cNvGrpSpPr/>
          <p:nvPr/>
        </p:nvGrpSpPr>
        <p:grpSpPr>
          <a:xfrm>
            <a:off x="11410950" y="457200"/>
            <a:ext cx="323850" cy="324895"/>
            <a:chOff x="11693125" y="130630"/>
            <a:chExt cx="368246" cy="369434"/>
          </a:xfrm>
          <a:solidFill>
            <a:schemeClr val="bg1"/>
          </a:solidFill>
        </p:grpSpPr>
        <p:sp>
          <p:nvSpPr>
            <p:cNvPr id="23" name="Freeform 5">
              <a:extLst>
                <a:ext uri="{FF2B5EF4-FFF2-40B4-BE49-F238E27FC236}">
                  <a16:creationId xmlns:a16="http://schemas.microsoft.com/office/drawing/2014/main" id="{DF02C8FE-E179-4381-B0C0-F7ADA2702699}"/>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a:extLst>
                <a:ext uri="{FF2B5EF4-FFF2-40B4-BE49-F238E27FC236}">
                  <a16:creationId xmlns:a16="http://schemas.microsoft.com/office/drawing/2014/main" id="{3628DD47-18DB-4FB8-BF58-9676F0463169}"/>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D9F0F689-13A3-4BDA-B74F-C0F7DBAA91BE}"/>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Slide Number Placeholder 3">
            <a:extLst>
              <a:ext uri="{FF2B5EF4-FFF2-40B4-BE49-F238E27FC236}">
                <a16:creationId xmlns:a16="http://schemas.microsoft.com/office/drawing/2014/main" id="{AB5179EE-F3B6-4D8D-989D-B47E32AD3B26}"/>
              </a:ext>
            </a:extLst>
          </p:cNvPr>
          <p:cNvSpPr>
            <a:spLocks noGrp="1"/>
          </p:cNvSpPr>
          <p:nvPr>
            <p:ph type="sldNum" sz="quarter" idx="13"/>
          </p:nvPr>
        </p:nvSpPr>
        <p:spPr/>
        <p:txBody>
          <a:bodyPr/>
          <a:lstStyle>
            <a:lvl1pPr>
              <a:defRPr>
                <a:solidFill>
                  <a:schemeClr val="accent2">
                    <a:lumMod val="75000"/>
                  </a:schemeClr>
                </a:solidFill>
              </a:defRPr>
            </a:lvl1pPr>
          </a:lstStyle>
          <a:p>
            <a:fld id="{54939E03-9150-4A70-B4B2-A2AFB6334D4D}" type="slidenum">
              <a:rPr lang="en-SG" smtClean="0"/>
              <a:t>‹#›</a:t>
            </a:fld>
            <a:endParaRPr lang="en-SG"/>
          </a:p>
        </p:txBody>
      </p:sp>
    </p:spTree>
    <p:extLst>
      <p:ext uri="{BB962C8B-B14F-4D97-AF65-F5344CB8AC3E}">
        <p14:creationId xmlns:p14="http://schemas.microsoft.com/office/powerpoint/2010/main" val="3673797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mage or Graphic Right (Red)">
    <p:spTree>
      <p:nvGrpSpPr>
        <p:cNvPr id="1" name=""/>
        <p:cNvGrpSpPr/>
        <p:nvPr/>
      </p:nvGrpSpPr>
      <p:grpSpPr>
        <a:xfrm>
          <a:off x="0" y="0"/>
          <a:ext cx="0" cy="0"/>
          <a:chOff x="0" y="0"/>
          <a:chExt cx="0" cy="0"/>
        </a:xfrm>
      </p:grpSpPr>
      <p:sp>
        <p:nvSpPr>
          <p:cNvPr id="8" name="Rectangle 7"/>
          <p:cNvSpPr/>
          <p:nvPr/>
        </p:nvSpPr>
        <p:spPr>
          <a:xfrm>
            <a:off x="0" y="0"/>
            <a:ext cx="494506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4945062" y="0"/>
            <a:ext cx="7246938"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448520" y="914400"/>
            <a:ext cx="4053630" cy="5029200"/>
          </a:xfrm>
        </p:spPr>
        <p:txBody>
          <a:bodyPr anchor="ctr"/>
          <a:lstStyle>
            <a:lvl1pPr>
              <a:defRPr sz="3200">
                <a:solidFill>
                  <a:schemeClr val="bg1"/>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EAB6510C-1BB6-4C1F-9108-FFEA82816141}"/>
              </a:ext>
            </a:extLst>
          </p:cNvPr>
          <p:cNvSpPr/>
          <p:nvPr/>
        </p:nvSpPr>
        <p:spPr>
          <a:xfrm>
            <a:off x="4954687" y="596766"/>
            <a:ext cx="358458" cy="25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251918C9-54DF-4896-BE0F-D29AF2C29D51}"/>
              </a:ext>
            </a:extLst>
          </p:cNvPr>
          <p:cNvSpPr>
            <a:spLocks noGrp="1"/>
          </p:cNvSpPr>
          <p:nvPr>
            <p:ph type="sldNum" sz="quarter" idx="1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32316215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Image or Graphic Left (Black)">
    <p:spTree>
      <p:nvGrpSpPr>
        <p:cNvPr id="1" name=""/>
        <p:cNvGrpSpPr/>
        <p:nvPr/>
      </p:nvGrpSpPr>
      <p:grpSpPr>
        <a:xfrm>
          <a:off x="0" y="0"/>
          <a:ext cx="0" cy="0"/>
          <a:chOff x="0" y="0"/>
          <a:chExt cx="0" cy="0"/>
        </a:xfrm>
      </p:grpSpPr>
      <p:sp>
        <p:nvSpPr>
          <p:cNvPr id="8" name="Rectangle 7"/>
          <p:cNvSpPr/>
          <p:nvPr/>
        </p:nvSpPr>
        <p:spPr>
          <a:xfrm>
            <a:off x="7245350" y="0"/>
            <a:ext cx="494506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0"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7693870" y="914400"/>
            <a:ext cx="4053630" cy="5029200"/>
          </a:xfrm>
        </p:spPr>
        <p:txBody>
          <a:bodyPr anchor="ctr"/>
          <a:lstStyle>
            <a:lvl1pPr>
              <a:defRPr sz="3200">
                <a:solidFill>
                  <a:schemeClr val="accent1"/>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095DEA6-9557-4A7A-9513-F9268BD2AF31}"/>
              </a:ext>
            </a:extLst>
          </p:cNvPr>
          <p:cNvSpPr>
            <a:spLocks noGrp="1"/>
          </p:cNvSpPr>
          <p:nvPr>
            <p:ph type="sldNum" sz="quarter" idx="13"/>
          </p:nvPr>
        </p:nvSpPr>
        <p:spPr/>
        <p:txBody>
          <a:bodyPr/>
          <a:lstStyle/>
          <a:p>
            <a:fld id="{54939E03-9150-4A70-B4B2-A2AFB6334D4D}" type="slidenum">
              <a:rPr lang="en-SG" smtClean="0"/>
              <a:t>‹#›</a:t>
            </a:fld>
            <a:endParaRPr lang="en-SG"/>
          </a:p>
        </p:txBody>
      </p:sp>
      <p:grpSp>
        <p:nvGrpSpPr>
          <p:cNvPr id="10" name="Group 9">
            <a:extLst>
              <a:ext uri="{FF2B5EF4-FFF2-40B4-BE49-F238E27FC236}">
                <a16:creationId xmlns:a16="http://schemas.microsoft.com/office/drawing/2014/main" id="{F838A97C-5FAB-4C57-947A-104E0DBF8AEC}"/>
              </a:ext>
            </a:extLst>
          </p:cNvPr>
          <p:cNvGrpSpPr/>
          <p:nvPr/>
        </p:nvGrpSpPr>
        <p:grpSpPr>
          <a:xfrm>
            <a:off x="11410950" y="457200"/>
            <a:ext cx="323850" cy="324895"/>
            <a:chOff x="11693125" y="130630"/>
            <a:chExt cx="368246" cy="369434"/>
          </a:xfrm>
          <a:solidFill>
            <a:schemeClr val="bg1"/>
          </a:solidFill>
        </p:grpSpPr>
        <p:sp>
          <p:nvSpPr>
            <p:cNvPr id="11" name="Freeform 5">
              <a:extLst>
                <a:ext uri="{FF2B5EF4-FFF2-40B4-BE49-F238E27FC236}">
                  <a16:creationId xmlns:a16="http://schemas.microsoft.com/office/drawing/2014/main" id="{7EFE7216-0D64-442C-9221-9F51EA1034E3}"/>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6B5E34A5-2AB6-4FAC-9644-24C8650C6205}"/>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24C34CAA-EAA1-4C2D-8D4F-EFDFB4252988}"/>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644493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 Standard">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C1D1E1C1-E558-49A5-83D5-F48735A17B94}"/>
              </a:ext>
            </a:extLst>
          </p:cNvPr>
          <p:cNvSpPr>
            <a:spLocks noGrp="1"/>
          </p:cNvSpPr>
          <p:nvPr>
            <p:ph sz="quarter" idx="19"/>
          </p:nvPr>
        </p:nvSpPr>
        <p:spPr>
          <a:xfrm>
            <a:off x="457200" y="1943100"/>
            <a:ext cx="54102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a:extLst>
              <a:ext uri="{FF2B5EF4-FFF2-40B4-BE49-F238E27FC236}">
                <a16:creationId xmlns:a16="http://schemas.microsoft.com/office/drawing/2014/main" id="{9A0C2AC7-05BB-4C8B-85DD-EA42CB43B484}"/>
              </a:ext>
            </a:extLst>
          </p:cNvPr>
          <p:cNvSpPr>
            <a:spLocks noGrp="1"/>
          </p:cNvSpPr>
          <p:nvPr>
            <p:ph sz="quarter" idx="20"/>
          </p:nvPr>
        </p:nvSpPr>
        <p:spPr>
          <a:xfrm>
            <a:off x="6324600" y="1943100"/>
            <a:ext cx="54102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14D906C-16B7-4F74-AD03-4AF0FB468530}"/>
              </a:ext>
            </a:extLst>
          </p:cNvPr>
          <p:cNvSpPr>
            <a:spLocks noGrp="1"/>
          </p:cNvSpPr>
          <p:nvPr>
            <p:ph type="title"/>
          </p:nvPr>
        </p:nvSpPr>
        <p:spPr>
          <a:xfrm>
            <a:off x="457200" y="457200"/>
            <a:ext cx="10902950" cy="553998"/>
          </a:xfrm>
        </p:spPr>
        <p:txBody>
          <a:bodyPr/>
          <a:lstStyle>
            <a:lvl1pPr>
              <a:defRPr>
                <a:solidFill>
                  <a:schemeClr val="accent1"/>
                </a:solidFill>
              </a:defRPr>
            </a:lvl1pPr>
          </a:lstStyle>
          <a:p>
            <a:r>
              <a:rPr lang="en-US"/>
              <a:t>Click to edit Master title style</a:t>
            </a:r>
          </a:p>
        </p:txBody>
      </p:sp>
      <p:sp>
        <p:nvSpPr>
          <p:cNvPr id="8" name="Text Placeholder 2">
            <a:extLst>
              <a:ext uri="{FF2B5EF4-FFF2-40B4-BE49-F238E27FC236}">
                <a16:creationId xmlns:a16="http://schemas.microsoft.com/office/drawing/2014/main" id="{A5DF42E2-0D95-4622-94FB-D7971E8E3CC2}"/>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6EA57ACB-E3DC-4460-B28E-97859E1B052D}"/>
              </a:ext>
            </a:extLst>
          </p:cNvPr>
          <p:cNvSpPr>
            <a:spLocks noGrp="1"/>
          </p:cNvSpPr>
          <p:nvPr>
            <p:ph type="sldNum" sz="quarter" idx="22"/>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5981132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mage or Graphic Right (Blacnk)">
    <p:spTree>
      <p:nvGrpSpPr>
        <p:cNvPr id="1" name=""/>
        <p:cNvGrpSpPr/>
        <p:nvPr/>
      </p:nvGrpSpPr>
      <p:grpSpPr>
        <a:xfrm>
          <a:off x="0" y="0"/>
          <a:ext cx="0" cy="0"/>
          <a:chOff x="0" y="0"/>
          <a:chExt cx="0" cy="0"/>
        </a:xfrm>
      </p:grpSpPr>
      <p:sp>
        <p:nvSpPr>
          <p:cNvPr id="8" name="Rectangle 7"/>
          <p:cNvSpPr/>
          <p:nvPr/>
        </p:nvSpPr>
        <p:spPr>
          <a:xfrm>
            <a:off x="0" y="0"/>
            <a:ext cx="494506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4945062" y="0"/>
            <a:ext cx="7246938"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448520" y="914400"/>
            <a:ext cx="4053630" cy="5029200"/>
          </a:xfrm>
        </p:spPr>
        <p:txBody>
          <a:bodyPr anchor="ctr"/>
          <a:lstStyle>
            <a:lvl1pPr>
              <a:defRPr sz="3200">
                <a:solidFill>
                  <a:schemeClr val="accent1"/>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accent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A2172ADB-57CD-43BD-92FF-B6E70706EF64}"/>
              </a:ext>
            </a:extLst>
          </p:cNvPr>
          <p:cNvSpPr/>
          <p:nvPr/>
        </p:nvSpPr>
        <p:spPr>
          <a:xfrm>
            <a:off x="4954687" y="596766"/>
            <a:ext cx="358458" cy="25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AC31BADE-7D7E-43C8-8395-1A617BB62031}"/>
              </a:ext>
            </a:extLst>
          </p:cNvPr>
          <p:cNvSpPr>
            <a:spLocks noGrp="1"/>
          </p:cNvSpPr>
          <p:nvPr>
            <p:ph type="sldNum" sz="quarter" idx="1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41377732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Image or Graphic Left (Blue)">
    <p:spTree>
      <p:nvGrpSpPr>
        <p:cNvPr id="1" name=""/>
        <p:cNvGrpSpPr/>
        <p:nvPr/>
      </p:nvGrpSpPr>
      <p:grpSpPr>
        <a:xfrm>
          <a:off x="0" y="0"/>
          <a:ext cx="0" cy="0"/>
          <a:chOff x="0" y="0"/>
          <a:chExt cx="0" cy="0"/>
        </a:xfrm>
      </p:grpSpPr>
      <p:sp>
        <p:nvSpPr>
          <p:cNvPr id="8" name="Rectangle 7"/>
          <p:cNvSpPr/>
          <p:nvPr/>
        </p:nvSpPr>
        <p:spPr>
          <a:xfrm>
            <a:off x="7245350" y="0"/>
            <a:ext cx="4945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0" y="0"/>
            <a:ext cx="7243762"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7693870" y="914400"/>
            <a:ext cx="4053630" cy="5029200"/>
          </a:xfrm>
        </p:spPr>
        <p:txBody>
          <a:bodyPr anchor="ctr"/>
          <a:lstStyle>
            <a:lvl1pPr>
              <a:defRPr sz="3200">
                <a:solidFill>
                  <a:schemeClr val="bg2"/>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bg2"/>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451AC8B3-7C58-43CE-8B80-1A1816695C70}"/>
              </a:ext>
            </a:extLst>
          </p:cNvPr>
          <p:cNvSpPr>
            <a:spLocks noGrp="1"/>
          </p:cNvSpPr>
          <p:nvPr>
            <p:ph type="sldNum" sz="quarter" idx="13"/>
          </p:nvPr>
        </p:nvSpPr>
        <p:spPr/>
        <p:txBody>
          <a:bodyPr/>
          <a:lstStyle/>
          <a:p>
            <a:fld id="{54939E03-9150-4A70-B4B2-A2AFB6334D4D}" type="slidenum">
              <a:rPr lang="en-SG" smtClean="0"/>
              <a:t>‹#›</a:t>
            </a:fld>
            <a:endParaRPr lang="en-SG"/>
          </a:p>
        </p:txBody>
      </p:sp>
      <p:grpSp>
        <p:nvGrpSpPr>
          <p:cNvPr id="10" name="Group 9">
            <a:extLst>
              <a:ext uri="{FF2B5EF4-FFF2-40B4-BE49-F238E27FC236}">
                <a16:creationId xmlns:a16="http://schemas.microsoft.com/office/drawing/2014/main" id="{9F372DA8-EA38-4E55-81EB-4D0341BA6541}"/>
              </a:ext>
            </a:extLst>
          </p:cNvPr>
          <p:cNvGrpSpPr/>
          <p:nvPr/>
        </p:nvGrpSpPr>
        <p:grpSpPr>
          <a:xfrm>
            <a:off x="11410950" y="457200"/>
            <a:ext cx="323850" cy="324895"/>
            <a:chOff x="11693125" y="130630"/>
            <a:chExt cx="368246" cy="369434"/>
          </a:xfrm>
          <a:solidFill>
            <a:schemeClr val="bg1"/>
          </a:solidFill>
        </p:grpSpPr>
        <p:sp>
          <p:nvSpPr>
            <p:cNvPr id="11" name="Freeform 5">
              <a:extLst>
                <a:ext uri="{FF2B5EF4-FFF2-40B4-BE49-F238E27FC236}">
                  <a16:creationId xmlns:a16="http://schemas.microsoft.com/office/drawing/2014/main" id="{B0AAA458-4DF3-494F-A7F7-13BEF803B401}"/>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63D98790-00C8-42BC-867F-D7BD9623EAA0}"/>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EB02285A-2DAE-402F-8B34-6E15BDB041FF}"/>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432442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mage or Graphic Right (Blue)">
    <p:spTree>
      <p:nvGrpSpPr>
        <p:cNvPr id="1" name=""/>
        <p:cNvGrpSpPr/>
        <p:nvPr/>
      </p:nvGrpSpPr>
      <p:grpSpPr>
        <a:xfrm>
          <a:off x="0" y="0"/>
          <a:ext cx="0" cy="0"/>
          <a:chOff x="0" y="0"/>
          <a:chExt cx="0" cy="0"/>
        </a:xfrm>
      </p:grpSpPr>
      <p:sp>
        <p:nvSpPr>
          <p:cNvPr id="8" name="Rectangle 7"/>
          <p:cNvSpPr/>
          <p:nvPr/>
        </p:nvSpPr>
        <p:spPr>
          <a:xfrm>
            <a:off x="0" y="0"/>
            <a:ext cx="494506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2" name="Picture Placeholder 21"/>
          <p:cNvSpPr>
            <a:spLocks noGrp="1"/>
          </p:cNvSpPr>
          <p:nvPr>
            <p:ph type="pic" sz="quarter" idx="10" hasCustomPrompt="1"/>
          </p:nvPr>
        </p:nvSpPr>
        <p:spPr>
          <a:xfrm>
            <a:off x="4945062" y="0"/>
            <a:ext cx="7246938"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3" name="Text Placeholder 2">
            <a:extLst>
              <a:ext uri="{FF2B5EF4-FFF2-40B4-BE49-F238E27FC236}">
                <a16:creationId xmlns:a16="http://schemas.microsoft.com/office/drawing/2014/main" id="{CBE6C2BE-2589-4721-9F92-39EA5CC71ABC}"/>
              </a:ext>
            </a:extLst>
          </p:cNvPr>
          <p:cNvSpPr>
            <a:spLocks noGrp="1"/>
          </p:cNvSpPr>
          <p:nvPr>
            <p:ph type="body" sz="quarter" idx="11"/>
          </p:nvPr>
        </p:nvSpPr>
        <p:spPr>
          <a:xfrm>
            <a:off x="448520" y="914400"/>
            <a:ext cx="4053630" cy="5029200"/>
          </a:xfrm>
        </p:spPr>
        <p:txBody>
          <a:bodyPr anchor="ctr"/>
          <a:lstStyle>
            <a:lvl1pPr>
              <a:defRPr sz="3200">
                <a:solidFill>
                  <a:schemeClr val="bg2"/>
                </a:solidFill>
                <a:latin typeface="+mj-lt"/>
              </a:defRPr>
            </a:lvl1pPr>
            <a:lvl2pPr>
              <a:spcBef>
                <a:spcPts val="1800"/>
              </a:spcBef>
              <a:defRPr b="1">
                <a:solidFill>
                  <a:schemeClr val="bg1"/>
                </a:solidFill>
              </a:defRPr>
            </a:lvl2pPr>
            <a:lvl3pPr marL="0" indent="0">
              <a:buFont typeface="CiscoSansTT ExtraLight" panose="020B0303020201020303" pitchFamily="34" charset="0"/>
              <a:buChar char="​"/>
              <a:tabLst/>
              <a:defRPr sz="1800">
                <a:solidFill>
                  <a:schemeClr val="bg1"/>
                </a:solidFill>
              </a:defRPr>
            </a:lvl3pPr>
            <a:lvl4pPr marL="514350" indent="-228600">
              <a:buFont typeface="Arial" panose="020B0604020202020204" pitchFamily="34" charset="0"/>
              <a:buChar char="•"/>
              <a:defRPr>
                <a:solidFill>
                  <a:schemeClr val="bg1"/>
                </a:solidFill>
              </a:defRPr>
            </a:lvl4pPr>
            <a:lvl5pPr>
              <a:spcBef>
                <a:spcPts val="600"/>
              </a:spcBef>
              <a:defRPr sz="2400" b="0" spc="0">
                <a:solidFill>
                  <a:schemeClr val="bg2"/>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AA84143C-D74C-46F8-B6DC-2A59F6AB4733}"/>
              </a:ext>
            </a:extLst>
          </p:cNvPr>
          <p:cNvSpPr/>
          <p:nvPr/>
        </p:nvSpPr>
        <p:spPr>
          <a:xfrm>
            <a:off x="4954687" y="596766"/>
            <a:ext cx="358458" cy="25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4DB24E3C-C2BE-4821-A8A5-25991F4481C8}"/>
              </a:ext>
            </a:extLst>
          </p:cNvPr>
          <p:cNvSpPr>
            <a:spLocks noGrp="1"/>
          </p:cNvSpPr>
          <p:nvPr>
            <p:ph type="sldNum" sz="quarter" idx="1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2983770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4 Photo + Text">
    <p:spTree>
      <p:nvGrpSpPr>
        <p:cNvPr id="1" name=""/>
        <p:cNvGrpSpPr/>
        <p:nvPr/>
      </p:nvGrpSpPr>
      <p:grpSpPr>
        <a:xfrm>
          <a:off x="0" y="0"/>
          <a:ext cx="0" cy="0"/>
          <a:chOff x="0" y="0"/>
          <a:chExt cx="0" cy="0"/>
        </a:xfrm>
      </p:grpSpPr>
      <p:sp>
        <p:nvSpPr>
          <p:cNvPr id="7" name="Picture Placeholder 21"/>
          <p:cNvSpPr>
            <a:spLocks noGrp="1"/>
          </p:cNvSpPr>
          <p:nvPr>
            <p:ph type="pic" sz="quarter" idx="10" hasCustomPrompt="1"/>
          </p:nvPr>
        </p:nvSpPr>
        <p:spPr>
          <a:xfrm>
            <a:off x="-1" y="0"/>
            <a:ext cx="3850784"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8" name="Rectangle 7">
            <a:extLst>
              <a:ext uri="{FF2B5EF4-FFF2-40B4-BE49-F238E27FC236}">
                <a16:creationId xmlns:a16="http://schemas.microsoft.com/office/drawing/2014/main" id="{4F72E82D-9AAD-4530-8DBD-499DCE49B905}"/>
              </a:ext>
            </a:extLst>
          </p:cNvPr>
          <p:cNvSpPr/>
          <p:nvPr/>
        </p:nvSpPr>
        <p:spPr>
          <a:xfrm>
            <a:off x="3860442" y="656823"/>
            <a:ext cx="457198" cy="167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2">
            <a:extLst>
              <a:ext uri="{FF2B5EF4-FFF2-40B4-BE49-F238E27FC236}">
                <a16:creationId xmlns:a16="http://schemas.microsoft.com/office/drawing/2014/main" id="{BC92F8B9-3829-40B9-9C28-ECC6CF83B82B}"/>
              </a:ext>
            </a:extLst>
          </p:cNvPr>
          <p:cNvSpPr>
            <a:spLocks noGrp="1"/>
          </p:cNvSpPr>
          <p:nvPr>
            <p:ph type="title"/>
          </p:nvPr>
        </p:nvSpPr>
        <p:spPr>
          <a:xfrm>
            <a:off x="4610100" y="463550"/>
            <a:ext cx="6648323" cy="1107996"/>
          </a:xfrm>
        </p:spPr>
        <p:txBody>
          <a:bodyPr/>
          <a:lstStyle>
            <a:lvl1pPr>
              <a:defRPr>
                <a:solidFill>
                  <a:schemeClr val="accent1"/>
                </a:solidFill>
              </a:defRPr>
            </a:lvl1pPr>
          </a:lstStyle>
          <a:p>
            <a:r>
              <a:rPr lang="en-US"/>
              <a:t>Click to edit Master title style</a:t>
            </a:r>
          </a:p>
        </p:txBody>
      </p:sp>
      <p:sp>
        <p:nvSpPr>
          <p:cNvPr id="12" name="Text Placeholder 4">
            <a:extLst>
              <a:ext uri="{FF2B5EF4-FFF2-40B4-BE49-F238E27FC236}">
                <a16:creationId xmlns:a16="http://schemas.microsoft.com/office/drawing/2014/main" id="{28A2CBD2-99CA-4B30-B251-799EA3573E11}"/>
              </a:ext>
            </a:extLst>
          </p:cNvPr>
          <p:cNvSpPr>
            <a:spLocks noGrp="1"/>
          </p:cNvSpPr>
          <p:nvPr>
            <p:ph type="body" sz="quarter" idx="11"/>
          </p:nvPr>
        </p:nvSpPr>
        <p:spPr>
          <a:xfrm>
            <a:off x="4609572" y="1943100"/>
            <a:ext cx="6648978" cy="4457700"/>
          </a:xfrm>
        </p:spPr>
        <p:txBody>
          <a:bodyPr/>
          <a:lstStyle>
            <a:lvl1pPr>
              <a:defRPr>
                <a:solidFill>
                  <a:sysClr val="windowText" lastClr="000000"/>
                </a:solidFill>
              </a:defRPr>
            </a:lvl1pPr>
            <a:lvl2pPr>
              <a:defRPr>
                <a:solidFill>
                  <a:sysClr val="windowText" lastClr="000000"/>
                </a:solidFill>
              </a:defRPr>
            </a:lvl2pPr>
            <a:lvl3pPr>
              <a:defRPr>
                <a:solidFill>
                  <a:sysClr val="windowText" lastClr="000000"/>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5E8E1864-99F2-44F2-BE0B-A6F6C24C6ADF}"/>
              </a:ext>
            </a:extLst>
          </p:cNvPr>
          <p:cNvSpPr>
            <a:spLocks noGrp="1"/>
          </p:cNvSpPr>
          <p:nvPr>
            <p:ph type="sldNum" sz="quarter" idx="1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18968946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Graphic Righ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p:nvSpPr>
        <p:spPr>
          <a:xfrm>
            <a:off x="-9663" y="0"/>
            <a:ext cx="583353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3A180E1-11A9-46AF-BA08-9A22E41BA9B3}"/>
              </a:ext>
            </a:extLst>
          </p:cNvPr>
          <p:cNvSpPr>
            <a:spLocks noGrp="1"/>
          </p:cNvSpPr>
          <p:nvPr>
            <p:ph type="title"/>
          </p:nvPr>
        </p:nvSpPr>
        <p:spPr>
          <a:xfrm>
            <a:off x="457200" y="458908"/>
            <a:ext cx="4865621" cy="1107996"/>
          </a:xfrm>
        </p:spPr>
        <p:txBody>
          <a:bodyPr/>
          <a:lstStyle>
            <a:lvl1pPr>
              <a:defRPr>
                <a:solidFill>
                  <a:schemeClr val="accent1"/>
                </a:solidFill>
              </a:defRPr>
            </a:lvl1pPr>
          </a:lstStyle>
          <a:p>
            <a:r>
              <a:rPr lang="en-US"/>
              <a:t>Click to edit Master title style</a:t>
            </a:r>
          </a:p>
        </p:txBody>
      </p:sp>
      <p:sp>
        <p:nvSpPr>
          <p:cNvPr id="5" name="Text Placeholder 4">
            <a:extLst>
              <a:ext uri="{FF2B5EF4-FFF2-40B4-BE49-F238E27FC236}">
                <a16:creationId xmlns:a16="http://schemas.microsoft.com/office/drawing/2014/main" id="{9FC11842-2883-4603-B8AD-D8A8351774D0}"/>
              </a:ext>
            </a:extLst>
          </p:cNvPr>
          <p:cNvSpPr>
            <a:spLocks noGrp="1"/>
          </p:cNvSpPr>
          <p:nvPr>
            <p:ph type="body" sz="quarter" idx="10"/>
          </p:nvPr>
        </p:nvSpPr>
        <p:spPr>
          <a:xfrm>
            <a:off x="456672" y="1829526"/>
            <a:ext cx="4866100" cy="4571274"/>
          </a:xfrm>
        </p:spPr>
        <p:txBody>
          <a:bodyPr/>
          <a:lstStyle>
            <a:lvl1pPr>
              <a:defRPr>
                <a:solidFill>
                  <a:schemeClr val="tx1"/>
                </a:solidFill>
              </a:defRPr>
            </a:lvl1pPr>
            <a:lvl2pPr>
              <a:defRPr>
                <a:solidFill>
                  <a:schemeClr val="tx1"/>
                </a:solidFill>
              </a:defRPr>
            </a:lvl2pPr>
            <a:lvl3pPr>
              <a:defRPr>
                <a:solidFill>
                  <a:schemeClr val="tx1"/>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7EF5F2D7-220E-4653-B42A-C695C923D517}"/>
              </a:ext>
            </a:extLst>
          </p:cNvPr>
          <p:cNvSpPr/>
          <p:nvPr/>
        </p:nvSpPr>
        <p:spPr>
          <a:xfrm>
            <a:off x="5823870" y="280462"/>
            <a:ext cx="534597" cy="1126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a:extLst>
              <a:ext uri="{FF2B5EF4-FFF2-40B4-BE49-F238E27FC236}">
                <a16:creationId xmlns:a16="http://schemas.microsoft.com/office/drawing/2014/main" id="{00152366-B2E3-4D5C-ADA6-A44D813B5DF3}"/>
              </a:ext>
            </a:extLst>
          </p:cNvPr>
          <p:cNvSpPr>
            <a:spLocks noGrp="1"/>
          </p:cNvSpPr>
          <p:nvPr>
            <p:ph sz="quarter" idx="11" hasCustomPrompt="1"/>
          </p:nvPr>
        </p:nvSpPr>
        <p:spPr>
          <a:xfrm>
            <a:off x="5823870" y="0"/>
            <a:ext cx="6368130" cy="6858000"/>
          </a:xfrm>
        </p:spPr>
        <p:txBody>
          <a:bodyPr anchor="ctr"/>
          <a:lstStyle>
            <a:lvl1pPr algn="ctr">
              <a:defRPr/>
            </a:lvl1pPr>
          </a:lstStyle>
          <a:p>
            <a:pPr lvl="0"/>
            <a:r>
              <a:rPr lang="en-US"/>
              <a:t>Insert a chart, Graphic, Icon, or Photo here</a:t>
            </a:r>
          </a:p>
        </p:txBody>
      </p:sp>
      <p:sp>
        <p:nvSpPr>
          <p:cNvPr id="11" name="Slide Number Placeholder 10">
            <a:extLst>
              <a:ext uri="{FF2B5EF4-FFF2-40B4-BE49-F238E27FC236}">
                <a16:creationId xmlns:a16="http://schemas.microsoft.com/office/drawing/2014/main" id="{302A6727-14C5-4855-8F49-51273A8601CE}"/>
              </a:ext>
            </a:extLst>
          </p:cNvPr>
          <p:cNvSpPr>
            <a:spLocks noGrp="1"/>
          </p:cNvSpPr>
          <p:nvPr>
            <p:ph type="sldNum" sz="quarter" idx="1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4459709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Graphic Right  (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p:nvSpPr>
        <p:spPr>
          <a:xfrm>
            <a:off x="-9663" y="0"/>
            <a:ext cx="583353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3A180E1-11A9-46AF-BA08-9A22E41BA9B3}"/>
              </a:ext>
            </a:extLst>
          </p:cNvPr>
          <p:cNvSpPr>
            <a:spLocks noGrp="1"/>
          </p:cNvSpPr>
          <p:nvPr>
            <p:ph type="title"/>
          </p:nvPr>
        </p:nvSpPr>
        <p:spPr>
          <a:xfrm>
            <a:off x="457200" y="457200"/>
            <a:ext cx="4865621" cy="1107996"/>
          </a:xfrm>
        </p:spPr>
        <p:txBody>
          <a:bodyPr/>
          <a:lstStyle>
            <a:lvl1pPr>
              <a:defRPr>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9FC11842-2883-4603-B8AD-D8A8351774D0}"/>
              </a:ext>
            </a:extLst>
          </p:cNvPr>
          <p:cNvSpPr>
            <a:spLocks noGrp="1"/>
          </p:cNvSpPr>
          <p:nvPr>
            <p:ph type="body" sz="quarter" idx="10"/>
          </p:nvPr>
        </p:nvSpPr>
        <p:spPr>
          <a:xfrm>
            <a:off x="456672" y="1829526"/>
            <a:ext cx="4866100" cy="4571273"/>
          </a:xfrm>
        </p:spPr>
        <p:txBody>
          <a:bodyPr/>
          <a:lstStyle>
            <a:lvl1pPr>
              <a:defRPr>
                <a:solidFill>
                  <a:schemeClr val="bg1"/>
                </a:solidFill>
              </a:defRPr>
            </a:lvl1pPr>
            <a:lvl2pPr>
              <a:defRPr>
                <a:solidFill>
                  <a:schemeClr val="bg1"/>
                </a:solidFill>
              </a:defRPr>
            </a:lvl2pPr>
            <a:lvl3pPr>
              <a:defRPr>
                <a:solidFill>
                  <a:schemeClr val="bg1"/>
                </a:solidFill>
              </a:defRPr>
            </a:lvl3pPr>
            <a:lvl4pPr marL="0" indent="0">
              <a:buFont typeface="CiscoSansTT ExtraLight" panose="020B0303020201020303" pitchFamily="34" charset="0"/>
              <a:buChar char="​"/>
              <a:defRPr sz="2400">
                <a:solidFill>
                  <a:schemeClr val="bg1"/>
                </a:solidFill>
                <a:latin typeface="+mj-lt"/>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7EF5F2D7-220E-4653-B42A-C695C923D517}"/>
              </a:ext>
            </a:extLst>
          </p:cNvPr>
          <p:cNvSpPr/>
          <p:nvPr/>
        </p:nvSpPr>
        <p:spPr>
          <a:xfrm>
            <a:off x="5823870" y="280462"/>
            <a:ext cx="534597" cy="1126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a:extLst>
              <a:ext uri="{FF2B5EF4-FFF2-40B4-BE49-F238E27FC236}">
                <a16:creationId xmlns:a16="http://schemas.microsoft.com/office/drawing/2014/main" id="{00152366-B2E3-4D5C-ADA6-A44D813B5DF3}"/>
              </a:ext>
            </a:extLst>
          </p:cNvPr>
          <p:cNvSpPr>
            <a:spLocks noGrp="1"/>
          </p:cNvSpPr>
          <p:nvPr>
            <p:ph sz="quarter" idx="11" hasCustomPrompt="1"/>
          </p:nvPr>
        </p:nvSpPr>
        <p:spPr>
          <a:xfrm>
            <a:off x="5823870" y="0"/>
            <a:ext cx="6368130" cy="6858000"/>
          </a:xfrm>
        </p:spPr>
        <p:txBody>
          <a:bodyPr anchor="ctr"/>
          <a:lstStyle>
            <a:lvl1pPr algn="ctr">
              <a:defRPr/>
            </a:lvl1pPr>
          </a:lstStyle>
          <a:p>
            <a:pPr lvl="0"/>
            <a:r>
              <a:rPr lang="en-US"/>
              <a:t>Insert a chart, Graphic, Icon, or Photo here</a:t>
            </a:r>
          </a:p>
        </p:txBody>
      </p:sp>
      <p:sp>
        <p:nvSpPr>
          <p:cNvPr id="10" name="Slide Number Placeholder 9">
            <a:extLst>
              <a:ext uri="{FF2B5EF4-FFF2-40B4-BE49-F238E27FC236}">
                <a16:creationId xmlns:a16="http://schemas.microsoft.com/office/drawing/2014/main" id="{8A3DBFE3-F1CA-4F8D-9494-09CC9D54FB96}"/>
              </a:ext>
            </a:extLst>
          </p:cNvPr>
          <p:cNvSpPr>
            <a:spLocks noGrp="1"/>
          </p:cNvSpPr>
          <p:nvPr>
            <p:ph type="sldNum" sz="quarter" idx="1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14945825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Graphic Righ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p:nvSpPr>
        <p:spPr>
          <a:xfrm>
            <a:off x="-9663" y="0"/>
            <a:ext cx="583353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EF5F2D7-220E-4653-B42A-C695C923D517}"/>
              </a:ext>
            </a:extLst>
          </p:cNvPr>
          <p:cNvSpPr/>
          <p:nvPr/>
        </p:nvSpPr>
        <p:spPr>
          <a:xfrm>
            <a:off x="5834063" y="280462"/>
            <a:ext cx="524404" cy="1126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6">
            <a:extLst>
              <a:ext uri="{FF2B5EF4-FFF2-40B4-BE49-F238E27FC236}">
                <a16:creationId xmlns:a16="http://schemas.microsoft.com/office/drawing/2014/main" id="{AD8A387C-DDB4-4A39-8CC9-FD749C49F5B4}"/>
              </a:ext>
            </a:extLst>
          </p:cNvPr>
          <p:cNvSpPr>
            <a:spLocks noGrp="1"/>
          </p:cNvSpPr>
          <p:nvPr>
            <p:ph sz="quarter" idx="11" hasCustomPrompt="1"/>
          </p:nvPr>
        </p:nvSpPr>
        <p:spPr>
          <a:xfrm>
            <a:off x="5823870" y="0"/>
            <a:ext cx="6368130" cy="6858000"/>
          </a:xfrm>
        </p:spPr>
        <p:txBody>
          <a:bodyPr anchor="ctr"/>
          <a:lstStyle>
            <a:lvl1pPr algn="ctr">
              <a:defRPr/>
            </a:lvl1pPr>
          </a:lstStyle>
          <a:p>
            <a:pPr lvl="0"/>
            <a:r>
              <a:rPr lang="en-US"/>
              <a:t>Insert a chart, Graphic, Icon, or Photo here</a:t>
            </a:r>
          </a:p>
        </p:txBody>
      </p:sp>
      <p:sp>
        <p:nvSpPr>
          <p:cNvPr id="7" name="Title 2">
            <a:extLst>
              <a:ext uri="{FF2B5EF4-FFF2-40B4-BE49-F238E27FC236}">
                <a16:creationId xmlns:a16="http://schemas.microsoft.com/office/drawing/2014/main" id="{2644DDC8-68CC-4548-B4B4-EDE12C5AC180}"/>
              </a:ext>
            </a:extLst>
          </p:cNvPr>
          <p:cNvSpPr>
            <a:spLocks noGrp="1"/>
          </p:cNvSpPr>
          <p:nvPr>
            <p:ph type="title"/>
          </p:nvPr>
        </p:nvSpPr>
        <p:spPr>
          <a:xfrm>
            <a:off x="457200" y="457200"/>
            <a:ext cx="4865621" cy="1107996"/>
          </a:xfrm>
        </p:spPr>
        <p:txBody>
          <a:bodyPr/>
          <a:lstStyle>
            <a:lvl1pPr>
              <a:defRPr>
                <a:solidFill>
                  <a:schemeClr val="accent1"/>
                </a:solidFill>
              </a:defRPr>
            </a:lvl1pPr>
          </a:lstStyle>
          <a:p>
            <a:r>
              <a:rPr lang="en-US"/>
              <a:t>Click to edit Master title style</a:t>
            </a:r>
          </a:p>
        </p:txBody>
      </p:sp>
      <p:sp>
        <p:nvSpPr>
          <p:cNvPr id="9" name="Text Placeholder 4">
            <a:extLst>
              <a:ext uri="{FF2B5EF4-FFF2-40B4-BE49-F238E27FC236}">
                <a16:creationId xmlns:a16="http://schemas.microsoft.com/office/drawing/2014/main" id="{CCDCD105-F0AD-4840-9940-1572E3E3ECB6}"/>
              </a:ext>
            </a:extLst>
          </p:cNvPr>
          <p:cNvSpPr>
            <a:spLocks noGrp="1"/>
          </p:cNvSpPr>
          <p:nvPr>
            <p:ph type="body" sz="quarter" idx="10"/>
          </p:nvPr>
        </p:nvSpPr>
        <p:spPr>
          <a:xfrm>
            <a:off x="456672" y="1829526"/>
            <a:ext cx="4866100" cy="4571273"/>
          </a:xfrm>
        </p:spPr>
        <p:txBody>
          <a:bodyPr/>
          <a:lstStyle>
            <a:lvl1pPr>
              <a:defRPr>
                <a:solidFill>
                  <a:schemeClr val="bg1"/>
                </a:solidFill>
              </a:defRPr>
            </a:lvl1pPr>
            <a:lvl2pPr>
              <a:defRPr>
                <a:solidFill>
                  <a:schemeClr val="bg1"/>
                </a:solidFill>
              </a:defRPr>
            </a:lvl2pPr>
            <a:lvl3pPr>
              <a:defRPr>
                <a:solidFill>
                  <a:schemeClr val="bg1"/>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2E48476-0577-441C-BEE0-DAC2BBE32123}"/>
              </a:ext>
            </a:extLst>
          </p:cNvPr>
          <p:cNvSpPr>
            <a:spLocks noGrp="1"/>
          </p:cNvSpPr>
          <p:nvPr>
            <p:ph type="sldNum" sz="quarter" idx="1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15733848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raphic Right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p:nvSpPr>
        <p:spPr>
          <a:xfrm>
            <a:off x="-9663" y="0"/>
            <a:ext cx="583353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3A180E1-11A9-46AF-BA08-9A22E41BA9B3}"/>
              </a:ext>
            </a:extLst>
          </p:cNvPr>
          <p:cNvSpPr>
            <a:spLocks noGrp="1"/>
          </p:cNvSpPr>
          <p:nvPr>
            <p:ph type="title"/>
          </p:nvPr>
        </p:nvSpPr>
        <p:spPr>
          <a:xfrm>
            <a:off x="457200" y="463550"/>
            <a:ext cx="4865621" cy="1107996"/>
          </a:xfrm>
        </p:spPr>
        <p:txBody>
          <a:bodyPr/>
          <a:lstStyle>
            <a:lvl1pPr>
              <a:defRPr>
                <a:solidFill>
                  <a:schemeClr val="accent1"/>
                </a:solidFill>
              </a:defRPr>
            </a:lvl1pPr>
          </a:lstStyle>
          <a:p>
            <a:r>
              <a:rPr lang="en-US"/>
              <a:t>Click to edit Master title style</a:t>
            </a:r>
          </a:p>
        </p:txBody>
      </p:sp>
      <p:sp>
        <p:nvSpPr>
          <p:cNvPr id="5" name="Text Placeholder 4">
            <a:extLst>
              <a:ext uri="{FF2B5EF4-FFF2-40B4-BE49-F238E27FC236}">
                <a16:creationId xmlns:a16="http://schemas.microsoft.com/office/drawing/2014/main" id="{9FC11842-2883-4603-B8AD-D8A8351774D0}"/>
              </a:ext>
            </a:extLst>
          </p:cNvPr>
          <p:cNvSpPr>
            <a:spLocks noGrp="1"/>
          </p:cNvSpPr>
          <p:nvPr>
            <p:ph type="body" sz="quarter" idx="10"/>
          </p:nvPr>
        </p:nvSpPr>
        <p:spPr>
          <a:xfrm>
            <a:off x="456672" y="1829526"/>
            <a:ext cx="4866100" cy="4571274"/>
          </a:xfrm>
        </p:spPr>
        <p:txBody>
          <a:bodyPr/>
          <a:lstStyle>
            <a:lvl1pPr>
              <a:defRPr>
                <a:solidFill>
                  <a:schemeClr val="bg1"/>
                </a:solidFill>
              </a:defRPr>
            </a:lvl1pPr>
            <a:lvl2pPr>
              <a:defRPr>
                <a:solidFill>
                  <a:schemeClr val="bg1"/>
                </a:solidFill>
              </a:defRPr>
            </a:lvl2pPr>
            <a:lvl3pPr>
              <a:defRPr>
                <a:solidFill>
                  <a:schemeClr val="bg1"/>
                </a:solidFill>
              </a:defRPr>
            </a:lvl3pPr>
            <a:lvl4pPr marL="0" indent="0">
              <a:buFont typeface="CiscoSansTT ExtraLight" panose="020B0303020201020303" pitchFamily="34" charset="0"/>
              <a:buChar char="​"/>
              <a:defRPr sz="2400">
                <a:solidFill>
                  <a:schemeClr val="bg1"/>
                </a:solidFill>
                <a:latin typeface="+mj-lt"/>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7EF5F2D7-220E-4653-B42A-C695C923D517}"/>
              </a:ext>
            </a:extLst>
          </p:cNvPr>
          <p:cNvSpPr/>
          <p:nvPr/>
        </p:nvSpPr>
        <p:spPr>
          <a:xfrm>
            <a:off x="5823870" y="280462"/>
            <a:ext cx="534597" cy="1126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6">
            <a:extLst>
              <a:ext uri="{FF2B5EF4-FFF2-40B4-BE49-F238E27FC236}">
                <a16:creationId xmlns:a16="http://schemas.microsoft.com/office/drawing/2014/main" id="{FC99E2B5-5378-4393-A42D-4553D9389B00}"/>
              </a:ext>
            </a:extLst>
          </p:cNvPr>
          <p:cNvSpPr>
            <a:spLocks noGrp="1"/>
          </p:cNvSpPr>
          <p:nvPr>
            <p:ph sz="quarter" idx="11" hasCustomPrompt="1"/>
          </p:nvPr>
        </p:nvSpPr>
        <p:spPr>
          <a:xfrm>
            <a:off x="5823870" y="0"/>
            <a:ext cx="6368130" cy="6858000"/>
          </a:xfrm>
        </p:spPr>
        <p:txBody>
          <a:bodyPr anchor="ctr"/>
          <a:lstStyle>
            <a:lvl1pPr algn="ctr">
              <a:defRPr/>
            </a:lvl1pPr>
          </a:lstStyle>
          <a:p>
            <a:pPr lvl="0"/>
            <a:r>
              <a:rPr lang="en-US"/>
              <a:t>Insert a chart, Graphic, Icon, or Photo here</a:t>
            </a:r>
          </a:p>
        </p:txBody>
      </p:sp>
      <p:sp>
        <p:nvSpPr>
          <p:cNvPr id="9" name="Slide Number Placeholder 8">
            <a:extLst>
              <a:ext uri="{FF2B5EF4-FFF2-40B4-BE49-F238E27FC236}">
                <a16:creationId xmlns:a16="http://schemas.microsoft.com/office/drawing/2014/main" id="{067E4CCA-E9E2-4330-A579-3DD266DE49AA}"/>
              </a:ext>
            </a:extLst>
          </p:cNvPr>
          <p:cNvSpPr>
            <a:spLocks noGrp="1"/>
          </p:cNvSpPr>
          <p:nvPr>
            <p:ph type="sldNum" sz="quarter" idx="1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24586475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ix Sta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type="body" idx="1"/>
          </p:nvPr>
        </p:nvSpPr>
        <p:spPr>
          <a:xfrm>
            <a:off x="457201" y="1953040"/>
            <a:ext cx="3168649"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4" name="Straight Connector 13"/>
          <p:cNvCxnSpPr>
            <a:cxnSpLocks/>
          </p:cNvCxnSpPr>
          <p:nvPr/>
        </p:nvCxnSpPr>
        <p:spPr>
          <a:xfrm>
            <a:off x="457200" y="2681014"/>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22" name="Text Placeholder 2"/>
          <p:cNvSpPr>
            <a:spLocks noGrp="1"/>
          </p:cNvSpPr>
          <p:nvPr>
            <p:ph type="body" idx="10"/>
          </p:nvPr>
        </p:nvSpPr>
        <p:spPr>
          <a:xfrm>
            <a:off x="457202" y="2870461"/>
            <a:ext cx="3168648"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8" name="Text Placeholder 2"/>
          <p:cNvSpPr>
            <a:spLocks noGrp="1"/>
          </p:cNvSpPr>
          <p:nvPr>
            <p:ph type="body" idx="11"/>
          </p:nvPr>
        </p:nvSpPr>
        <p:spPr>
          <a:xfrm>
            <a:off x="4517975" y="1953040"/>
            <a:ext cx="3168650"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29" name="Straight Connector 28"/>
          <p:cNvCxnSpPr>
            <a:cxnSpLocks/>
          </p:cNvCxnSpPr>
          <p:nvPr/>
        </p:nvCxnSpPr>
        <p:spPr>
          <a:xfrm>
            <a:off x="4517974" y="2681014"/>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30" name="Text Placeholder 2"/>
          <p:cNvSpPr>
            <a:spLocks noGrp="1"/>
          </p:cNvSpPr>
          <p:nvPr>
            <p:ph type="body" idx="12"/>
          </p:nvPr>
        </p:nvSpPr>
        <p:spPr>
          <a:xfrm>
            <a:off x="4517974" y="2870461"/>
            <a:ext cx="3168650"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1" name="Text Placeholder 2"/>
          <p:cNvSpPr>
            <a:spLocks noGrp="1"/>
          </p:cNvSpPr>
          <p:nvPr>
            <p:ph type="body" idx="13"/>
          </p:nvPr>
        </p:nvSpPr>
        <p:spPr>
          <a:xfrm>
            <a:off x="8566148" y="1953040"/>
            <a:ext cx="3168650"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3" name="Text Placeholder 2"/>
          <p:cNvSpPr>
            <a:spLocks noGrp="1"/>
          </p:cNvSpPr>
          <p:nvPr>
            <p:ph type="body" idx="14"/>
          </p:nvPr>
        </p:nvSpPr>
        <p:spPr>
          <a:xfrm>
            <a:off x="8566148" y="2870461"/>
            <a:ext cx="3168650"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8" name="Text Placeholder 2"/>
          <p:cNvSpPr>
            <a:spLocks noGrp="1"/>
          </p:cNvSpPr>
          <p:nvPr>
            <p:ph type="body" idx="15"/>
          </p:nvPr>
        </p:nvSpPr>
        <p:spPr>
          <a:xfrm>
            <a:off x="457201" y="3730908"/>
            <a:ext cx="3168647"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39" name="Straight Connector 38"/>
          <p:cNvCxnSpPr>
            <a:cxnSpLocks/>
          </p:cNvCxnSpPr>
          <p:nvPr/>
        </p:nvCxnSpPr>
        <p:spPr>
          <a:xfrm>
            <a:off x="457200" y="4458882"/>
            <a:ext cx="3168648"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0" name="Text Placeholder 2"/>
          <p:cNvSpPr>
            <a:spLocks noGrp="1"/>
          </p:cNvSpPr>
          <p:nvPr>
            <p:ph type="body" idx="16"/>
          </p:nvPr>
        </p:nvSpPr>
        <p:spPr>
          <a:xfrm>
            <a:off x="457201" y="4648329"/>
            <a:ext cx="3168647"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1" name="Text Placeholder 2"/>
          <p:cNvSpPr>
            <a:spLocks noGrp="1"/>
          </p:cNvSpPr>
          <p:nvPr>
            <p:ph type="body" idx="17"/>
          </p:nvPr>
        </p:nvSpPr>
        <p:spPr>
          <a:xfrm>
            <a:off x="4441776" y="3730908"/>
            <a:ext cx="3308442"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42" name="Straight Connector 41"/>
          <p:cNvCxnSpPr>
            <a:cxnSpLocks/>
          </p:cNvCxnSpPr>
          <p:nvPr/>
        </p:nvCxnSpPr>
        <p:spPr>
          <a:xfrm>
            <a:off x="4517974" y="4458882"/>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3" name="Text Placeholder 2"/>
          <p:cNvSpPr>
            <a:spLocks noGrp="1"/>
          </p:cNvSpPr>
          <p:nvPr>
            <p:ph type="body" idx="18"/>
          </p:nvPr>
        </p:nvSpPr>
        <p:spPr>
          <a:xfrm>
            <a:off x="4517975" y="4648329"/>
            <a:ext cx="3168650"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4" name="Text Placeholder 2"/>
          <p:cNvSpPr>
            <a:spLocks noGrp="1"/>
          </p:cNvSpPr>
          <p:nvPr>
            <p:ph type="body" idx="19"/>
          </p:nvPr>
        </p:nvSpPr>
        <p:spPr>
          <a:xfrm>
            <a:off x="8566148" y="3730908"/>
            <a:ext cx="3168650" cy="664797"/>
          </a:xfrm>
        </p:spPr>
        <p:txBody>
          <a:bodyPr wrap="square" anchor="b">
            <a:spAutoFit/>
          </a:bodyPr>
          <a:lstStyle>
            <a:lvl1pPr marL="0" indent="0">
              <a:buNone/>
              <a:defRPr sz="4800" b="0" spc="-15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32" name="Straight Connector 31"/>
          <p:cNvCxnSpPr>
            <a:cxnSpLocks/>
          </p:cNvCxnSpPr>
          <p:nvPr/>
        </p:nvCxnSpPr>
        <p:spPr>
          <a:xfrm>
            <a:off x="8566148" y="2681014"/>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45" name="Straight Connector 44"/>
          <p:cNvCxnSpPr>
            <a:cxnSpLocks/>
          </p:cNvCxnSpPr>
          <p:nvPr/>
        </p:nvCxnSpPr>
        <p:spPr>
          <a:xfrm>
            <a:off x="8566148" y="4462944"/>
            <a:ext cx="316865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6" name="Text Placeholder 2"/>
          <p:cNvSpPr>
            <a:spLocks noGrp="1"/>
          </p:cNvSpPr>
          <p:nvPr>
            <p:ph type="body" idx="20"/>
          </p:nvPr>
        </p:nvSpPr>
        <p:spPr>
          <a:xfrm>
            <a:off x="8566148" y="4648329"/>
            <a:ext cx="3168650" cy="221599"/>
          </a:xfrm>
        </p:spPr>
        <p:txBody>
          <a:bodyPr wrap="square" anchor="t">
            <a:sp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1" name="Text Placeholder 2">
            <a:extLst>
              <a:ext uri="{FF2B5EF4-FFF2-40B4-BE49-F238E27FC236}">
                <a16:creationId xmlns:a16="http://schemas.microsoft.com/office/drawing/2014/main" id="{4A27D6DA-95E1-4BBD-B884-D448EEEE77E1}"/>
              </a:ext>
            </a:extLst>
          </p:cNvPr>
          <p:cNvSpPr>
            <a:spLocks noGrp="1"/>
          </p:cNvSpPr>
          <p:nvPr>
            <p:ph type="body" idx="21"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7655553E-678D-4D27-8561-65DB1FC95AEE}"/>
              </a:ext>
            </a:extLst>
          </p:cNvPr>
          <p:cNvSpPr>
            <a:spLocks noGrp="1"/>
          </p:cNvSpPr>
          <p:nvPr>
            <p:ph type="sldNum" sz="quarter" idx="23"/>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36747796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hree Sta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5" name="Text Placeholder 2"/>
          <p:cNvSpPr>
            <a:spLocks noGrp="1"/>
          </p:cNvSpPr>
          <p:nvPr>
            <p:ph type="body" idx="1" hasCustomPrompt="1"/>
          </p:nvPr>
        </p:nvSpPr>
        <p:spPr>
          <a:xfrm>
            <a:off x="457201" y="2695785"/>
            <a:ext cx="3454399" cy="664797"/>
          </a:xfrm>
        </p:spPr>
        <p:txBody>
          <a:bodyPr wrap="square" anchor="b">
            <a:spAutoFit/>
          </a:bodyPr>
          <a:lstStyle>
            <a:lvl1pPr marL="0" indent="0">
              <a:buNone/>
              <a:defRPr lang="en-US" sz="4800" b="0" kern="1200" spc="-150" dirty="0">
                <a:solidFill>
                  <a:schemeClr val="accent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Stat</a:t>
            </a:r>
          </a:p>
        </p:txBody>
      </p:sp>
      <p:cxnSp>
        <p:nvCxnSpPr>
          <p:cNvPr id="16" name="Straight Connector 15"/>
          <p:cNvCxnSpPr>
            <a:cxnSpLocks/>
          </p:cNvCxnSpPr>
          <p:nvPr/>
        </p:nvCxnSpPr>
        <p:spPr>
          <a:xfrm>
            <a:off x="457200" y="3423759"/>
            <a:ext cx="345440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7" name="Text Placeholder 2"/>
          <p:cNvSpPr>
            <a:spLocks noGrp="1"/>
          </p:cNvSpPr>
          <p:nvPr>
            <p:ph type="body" idx="10"/>
          </p:nvPr>
        </p:nvSpPr>
        <p:spPr>
          <a:xfrm>
            <a:off x="457202" y="3613206"/>
            <a:ext cx="3454398" cy="221599"/>
          </a:xfrm>
        </p:spPr>
        <p:txBody>
          <a:bodyPr wrap="square" anchor="t">
            <a:spAutoFit/>
          </a:bodyPr>
          <a:lstStyle>
            <a:lvl1pPr marL="0" indent="0">
              <a:buNone/>
              <a:defRPr lang="en-US" sz="1600" b="1"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Click to edit Master text styles</a:t>
            </a:r>
          </a:p>
        </p:txBody>
      </p:sp>
      <p:sp>
        <p:nvSpPr>
          <p:cNvPr id="18" name="Text Placeholder 2"/>
          <p:cNvSpPr>
            <a:spLocks noGrp="1"/>
          </p:cNvSpPr>
          <p:nvPr>
            <p:ph type="body" idx="11" hasCustomPrompt="1"/>
          </p:nvPr>
        </p:nvSpPr>
        <p:spPr>
          <a:xfrm>
            <a:off x="4368801" y="2695785"/>
            <a:ext cx="3454400" cy="664797"/>
          </a:xfrm>
        </p:spPr>
        <p:txBody>
          <a:bodyPr wrap="square" anchor="b">
            <a:spAutoFit/>
          </a:bodyPr>
          <a:lstStyle>
            <a:lvl1pPr marL="0" indent="0">
              <a:buNone/>
              <a:defRPr lang="en-US" sz="4800" b="0" kern="1200" spc="-150" dirty="0">
                <a:solidFill>
                  <a:schemeClr val="accent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Stat</a:t>
            </a:r>
          </a:p>
        </p:txBody>
      </p:sp>
      <p:cxnSp>
        <p:nvCxnSpPr>
          <p:cNvPr id="19" name="Straight Connector 18"/>
          <p:cNvCxnSpPr>
            <a:cxnSpLocks/>
          </p:cNvCxnSpPr>
          <p:nvPr/>
        </p:nvCxnSpPr>
        <p:spPr>
          <a:xfrm>
            <a:off x="4368800" y="3423759"/>
            <a:ext cx="345440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20" name="Text Placeholder 2"/>
          <p:cNvSpPr>
            <a:spLocks noGrp="1"/>
          </p:cNvSpPr>
          <p:nvPr>
            <p:ph type="body" idx="12"/>
          </p:nvPr>
        </p:nvSpPr>
        <p:spPr>
          <a:xfrm>
            <a:off x="4368800" y="3613206"/>
            <a:ext cx="3454400" cy="221599"/>
          </a:xfrm>
        </p:spPr>
        <p:txBody>
          <a:bodyPr wrap="square" anchor="t">
            <a:spAutoFit/>
          </a:bodyPr>
          <a:lstStyle>
            <a:lvl1pPr marL="0" indent="0">
              <a:buNone/>
              <a:defRPr lang="en-US" sz="1600" b="1"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Click to edit Master text styles</a:t>
            </a:r>
          </a:p>
        </p:txBody>
      </p:sp>
      <p:sp>
        <p:nvSpPr>
          <p:cNvPr id="21" name="Text Placeholder 2"/>
          <p:cNvSpPr>
            <a:spLocks noGrp="1"/>
          </p:cNvSpPr>
          <p:nvPr>
            <p:ph type="body" idx="13" hasCustomPrompt="1"/>
          </p:nvPr>
        </p:nvSpPr>
        <p:spPr>
          <a:xfrm>
            <a:off x="8280400" y="2695785"/>
            <a:ext cx="3454400" cy="664797"/>
          </a:xfrm>
        </p:spPr>
        <p:txBody>
          <a:bodyPr wrap="square" anchor="b">
            <a:spAutoFit/>
          </a:bodyPr>
          <a:lstStyle>
            <a:lvl1pPr marL="0" indent="0">
              <a:buNone/>
              <a:defRPr lang="en-US" sz="4800" b="0" kern="1200" spc="-150" dirty="0">
                <a:solidFill>
                  <a:schemeClr val="accent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Stat</a:t>
            </a:r>
          </a:p>
        </p:txBody>
      </p:sp>
      <p:sp>
        <p:nvSpPr>
          <p:cNvPr id="23" name="Text Placeholder 2"/>
          <p:cNvSpPr>
            <a:spLocks noGrp="1"/>
          </p:cNvSpPr>
          <p:nvPr>
            <p:ph type="body" idx="14"/>
          </p:nvPr>
        </p:nvSpPr>
        <p:spPr>
          <a:xfrm>
            <a:off x="8280400" y="3613206"/>
            <a:ext cx="3454400" cy="221599"/>
          </a:xfrm>
        </p:spPr>
        <p:txBody>
          <a:bodyPr wrap="square" anchor="t">
            <a:spAutoFit/>
          </a:bodyPr>
          <a:lstStyle>
            <a:lvl1pPr marL="0" indent="0">
              <a:buNone/>
              <a:defRPr lang="en-US" sz="1600" b="1"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Click to edit Master text styles</a:t>
            </a:r>
          </a:p>
        </p:txBody>
      </p:sp>
      <p:cxnSp>
        <p:nvCxnSpPr>
          <p:cNvPr id="11" name="Straight Connector 10"/>
          <p:cNvCxnSpPr>
            <a:cxnSpLocks/>
          </p:cNvCxnSpPr>
          <p:nvPr/>
        </p:nvCxnSpPr>
        <p:spPr>
          <a:xfrm>
            <a:off x="8280400" y="3423759"/>
            <a:ext cx="3454400" cy="0"/>
          </a:xfrm>
          <a:prstGeom prst="line">
            <a:avLst/>
          </a:prstGeom>
          <a:noFill/>
          <a:ln w="9525"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3" name="Text Placeholder 2">
            <a:extLst>
              <a:ext uri="{FF2B5EF4-FFF2-40B4-BE49-F238E27FC236}">
                <a16:creationId xmlns:a16="http://schemas.microsoft.com/office/drawing/2014/main" id="{0A32B4AB-8CDF-4DE9-99AB-969EB80A572E}"/>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832EA70D-80B6-4EA8-86E6-8B06EF3D1CC2}"/>
              </a:ext>
            </a:extLst>
          </p:cNvPr>
          <p:cNvSpPr>
            <a:spLocks noGrp="1"/>
          </p:cNvSpPr>
          <p:nvPr>
            <p:ph type="sldNum" sz="quarter" idx="18"/>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30920935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Black)">
    <p:bg>
      <p:bgPr>
        <a:solidFill>
          <a:schemeClr val="tx1"/>
        </a:solidFill>
        <a:effectLst/>
      </p:bgPr>
    </p:bg>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538EE21-2FE0-47B3-AF78-D8177EED6F14}"/>
              </a:ext>
            </a:extLst>
          </p:cNvPr>
          <p:cNvSpPr>
            <a:spLocks noGrp="1"/>
          </p:cNvSpPr>
          <p:nvPr>
            <p:ph sz="half" idx="17"/>
          </p:nvPr>
        </p:nvSpPr>
        <p:spPr>
          <a:xfrm>
            <a:off x="457200" y="1943100"/>
            <a:ext cx="5410200" cy="4457700"/>
          </a:xfrm>
        </p:spPr>
        <p:txBody>
          <a:bodyPr/>
          <a:lstStyle>
            <a:lvl1pPr marL="0" indent="0">
              <a:defRPr lang="en-US" sz="1800" b="1" kern="1200" dirty="0">
                <a:solidFill>
                  <a:schemeClr val="accent1"/>
                </a:solidFill>
                <a:latin typeface="+mn-lt"/>
                <a:ea typeface="+mn-ea"/>
                <a:cs typeface="+mn-cs"/>
              </a:defRPr>
            </a:lvl1pPr>
            <a:lvl2pPr marL="0" indent="0">
              <a:defRPr lang="en-US" sz="1600" kern="1200" dirty="0">
                <a:solidFill>
                  <a:schemeClr val="bg1"/>
                </a:solidFill>
                <a:latin typeface="+mn-lt"/>
                <a:ea typeface="+mn-ea"/>
                <a:cs typeface="+mn-cs"/>
              </a:defRPr>
            </a:lvl2pPr>
            <a:lvl3pPr marL="0" indent="0">
              <a:buFont typeface="Century Gothic" panose="020B0502020202020204" pitchFamily="34" charset="0"/>
              <a:buChar char="−"/>
              <a:defRPr lang="en-US" sz="1400" kern="1200" dirty="0">
                <a:solidFill>
                  <a:schemeClr val="bg1"/>
                </a:solidFill>
                <a:latin typeface="+mn-lt"/>
                <a:ea typeface="+mn-ea"/>
                <a:cs typeface="+mn-cs"/>
              </a:defRPr>
            </a:lvl3pPr>
            <a:lvl4pPr marL="0" indent="0">
              <a:spcBef>
                <a:spcPts val="600"/>
              </a:spcBef>
              <a:spcAft>
                <a:spcPts val="200"/>
              </a:spcAft>
              <a:buFont typeface="Arial" panose="020B0604020202020204" pitchFamily="34" charset="0"/>
              <a:buChar char="•"/>
              <a:defRPr lang="en-US" sz="1400" b="0" kern="1200" spc="0" dirty="0">
                <a:solidFill>
                  <a:schemeClr val="bg2">
                    <a:lumMod val="75000"/>
                  </a:schemeClr>
                </a:solidFill>
                <a:latin typeface="+mn-lt"/>
                <a:ea typeface="+mn-ea"/>
                <a:cs typeface="+mn-cs"/>
              </a:defRPr>
            </a:lvl4pPr>
            <a:lvl5pPr marL="0" indent="0">
              <a:defRPr lang="en-US" sz="1600" b="1" kern="1200" spc="0" dirty="0">
                <a:solidFill>
                  <a:schemeClr val="bg1"/>
                </a:solidFill>
                <a:latin typeface="+mn-lt"/>
                <a:ea typeface="+mn-ea"/>
                <a:cs typeface="+mn-cs"/>
              </a:defRPr>
            </a:lvl5pPr>
          </a:lstStyle>
          <a:p>
            <a:pPr marL="0" lvl="0" indent="0" algn="l" defTabSz="914400" rtl="0" eaLnBrk="1" latinLnBrk="0" hangingPunct="1">
              <a:lnSpc>
                <a:spcPct val="90000"/>
              </a:lnSpc>
              <a:spcBef>
                <a:spcPts val="1800"/>
              </a:spcBef>
              <a:spcAft>
                <a:spcPts val="200"/>
              </a:spcAft>
              <a:buFont typeface="Arial" panose="020B0604020202020204" pitchFamily="34" charset="0"/>
              <a:buChar char="​"/>
            </a:pPr>
            <a:r>
              <a:rPr lang="en-US"/>
              <a:t>Edit Master text styles</a:t>
            </a:r>
          </a:p>
          <a:p>
            <a:pPr marL="0" lvl="1" indent="0" algn="l" defTabSz="914400" rtl="0" eaLnBrk="1" latinLnBrk="0" hangingPunct="1">
              <a:lnSpc>
                <a:spcPct val="90000"/>
              </a:lnSpc>
              <a:spcBef>
                <a:spcPts val="600"/>
              </a:spcBef>
              <a:spcAft>
                <a:spcPts val="200"/>
              </a:spcAft>
              <a:buFont typeface="CiscoSansTT ExtraLight" panose="020B0303020201020303" pitchFamily="34" charset="0"/>
              <a:buChar char="​"/>
            </a:pPr>
            <a:r>
              <a:rPr lang="en-US"/>
              <a:t>Second level</a:t>
            </a:r>
          </a:p>
          <a:p>
            <a:pPr marL="171450" lvl="2" indent="-171450" algn="l" defTabSz="914400" rtl="0" eaLnBrk="1" latinLnBrk="0" hangingPunct="1">
              <a:lnSpc>
                <a:spcPct val="90000"/>
              </a:lnSpc>
              <a:spcBef>
                <a:spcPts val="600"/>
              </a:spcBef>
              <a:spcAft>
                <a:spcPts val="200"/>
              </a:spcAft>
              <a:buFont typeface="Arial" panose="020B0604020202020204" pitchFamily="34" charset="0"/>
              <a:buChar char="•"/>
              <a:tabLst>
                <a:tab pos="171450" algn="l"/>
              </a:tabLst>
            </a:pPr>
            <a:r>
              <a:rPr lang="en-US"/>
              <a:t>Third level</a:t>
            </a:r>
          </a:p>
          <a:p>
            <a:pPr marL="342900" lvl="3" indent="-171450" algn="l" defTabSz="914400" rtl="0" eaLnBrk="1" latinLnBrk="0" hangingPunct="1">
              <a:lnSpc>
                <a:spcPct val="90000"/>
              </a:lnSpc>
              <a:spcBef>
                <a:spcPts val="600"/>
              </a:spcBef>
              <a:spcAft>
                <a:spcPts val="200"/>
              </a:spcAft>
              <a:buFont typeface="Arial" panose="020B0604020202020204" pitchFamily="34" charset="0"/>
              <a:buChar char="–"/>
            </a:pPr>
            <a:r>
              <a:rPr lang="en-US"/>
              <a:t>Fourth level</a:t>
            </a:r>
          </a:p>
          <a:p>
            <a:pPr marL="0" lvl="4" indent="0" algn="l" defTabSz="914400" rtl="0" eaLnBrk="1" latinLnBrk="0" hangingPunct="1">
              <a:lnSpc>
                <a:spcPct val="85000"/>
              </a:lnSpc>
              <a:spcBef>
                <a:spcPts val="600"/>
              </a:spcBef>
              <a:spcAft>
                <a:spcPts val="1800"/>
              </a:spcAft>
              <a:buFont typeface="Arial" panose="020B0604020202020204" pitchFamily="34" charset="0"/>
              <a:buNone/>
            </a:pPr>
            <a:r>
              <a:rPr lang="en-US"/>
              <a:t>Fifth level</a:t>
            </a:r>
          </a:p>
        </p:txBody>
      </p:sp>
      <p:sp>
        <p:nvSpPr>
          <p:cNvPr id="7" name="Title 1">
            <a:extLst>
              <a:ext uri="{FF2B5EF4-FFF2-40B4-BE49-F238E27FC236}">
                <a16:creationId xmlns:a16="http://schemas.microsoft.com/office/drawing/2014/main" id="{914D906C-16B7-4F74-AD03-4AF0FB468530}"/>
              </a:ext>
            </a:extLst>
          </p:cNvPr>
          <p:cNvSpPr>
            <a:spLocks noGrp="1"/>
          </p:cNvSpPr>
          <p:nvPr>
            <p:ph type="title"/>
          </p:nvPr>
        </p:nvSpPr>
        <p:spPr>
          <a:xfrm>
            <a:off x="457200" y="457200"/>
            <a:ext cx="10902950" cy="553998"/>
          </a:xfrm>
        </p:spPr>
        <p:txBody>
          <a:bodyPr/>
          <a:lstStyle>
            <a:lvl1pPr>
              <a:defRPr>
                <a:ln>
                  <a:noFill/>
                </a:ln>
                <a:solidFill>
                  <a:schemeClr val="bg1"/>
                </a:solidFill>
              </a:defRPr>
            </a:lvl1pPr>
          </a:lstStyle>
          <a:p>
            <a:r>
              <a:rPr lang="en-US"/>
              <a:t>Click to edit Master title style</a:t>
            </a:r>
          </a:p>
        </p:txBody>
      </p:sp>
      <p:sp>
        <p:nvSpPr>
          <p:cNvPr id="8" name="Text Placeholder 2">
            <a:extLst>
              <a:ext uri="{FF2B5EF4-FFF2-40B4-BE49-F238E27FC236}">
                <a16:creationId xmlns:a16="http://schemas.microsoft.com/office/drawing/2014/main" id="{A5DF42E2-0D95-4622-94FB-D7971E8E3CC2}"/>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lang="en-US" sz="2000" b="0" kern="1200" dirty="0">
                <a:solidFill>
                  <a:schemeClr val="bg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spcAft>
                <a:spcPts val="200"/>
              </a:spcAft>
              <a:buFont typeface="Arial" panose="020B0604020202020204" pitchFamily="34" charset="0"/>
              <a:buNone/>
            </a:pPr>
            <a:r>
              <a:rPr lang="en-US"/>
              <a:t>Edit master styles text</a:t>
            </a:r>
          </a:p>
        </p:txBody>
      </p:sp>
      <p:sp>
        <p:nvSpPr>
          <p:cNvPr id="15" name="Content Placeholder 3">
            <a:extLst>
              <a:ext uri="{FF2B5EF4-FFF2-40B4-BE49-F238E27FC236}">
                <a16:creationId xmlns:a16="http://schemas.microsoft.com/office/drawing/2014/main" id="{116D5856-A4DD-4205-957E-79C200592465}"/>
              </a:ext>
            </a:extLst>
          </p:cNvPr>
          <p:cNvSpPr>
            <a:spLocks noGrp="1"/>
          </p:cNvSpPr>
          <p:nvPr>
            <p:ph sz="half" idx="18"/>
          </p:nvPr>
        </p:nvSpPr>
        <p:spPr>
          <a:xfrm>
            <a:off x="6324600" y="1943100"/>
            <a:ext cx="5410200" cy="4457700"/>
          </a:xfrm>
        </p:spPr>
        <p:txBody>
          <a:bodyPr/>
          <a:lstStyle>
            <a:lvl1pPr marL="342900" indent="-342900">
              <a:defRPr lang="en-US" sz="1800" b="1" kern="1200" dirty="0">
                <a:solidFill>
                  <a:schemeClr val="accent1"/>
                </a:solidFill>
                <a:latin typeface="+mn-lt"/>
                <a:ea typeface="+mn-ea"/>
                <a:cs typeface="+mn-cs"/>
              </a:defRPr>
            </a:lvl1pPr>
            <a:lvl2pPr marL="228600" indent="-228600">
              <a:defRPr lang="en-US" sz="1600" kern="1200" dirty="0">
                <a:solidFill>
                  <a:schemeClr val="bg1"/>
                </a:solidFill>
                <a:latin typeface="+mn-lt"/>
                <a:ea typeface="+mn-ea"/>
                <a:cs typeface="+mn-cs"/>
              </a:defRPr>
            </a:lvl2pPr>
            <a:lvl3pPr marL="285750" indent="-285750">
              <a:buFont typeface="Century Gothic" panose="020B0502020202020204" pitchFamily="34" charset="0"/>
              <a:buChar char="−"/>
              <a:defRPr lang="en-US" sz="1400" kern="1200" dirty="0">
                <a:solidFill>
                  <a:schemeClr val="bg1"/>
                </a:solidFill>
                <a:latin typeface="+mn-lt"/>
                <a:ea typeface="+mn-ea"/>
                <a:cs typeface="+mn-cs"/>
              </a:defRPr>
            </a:lvl3pPr>
            <a:lvl4pPr marL="457200" indent="-285750">
              <a:spcBef>
                <a:spcPts val="600"/>
              </a:spcBef>
              <a:spcAft>
                <a:spcPts val="200"/>
              </a:spcAft>
              <a:buFont typeface="Arial" panose="020B0604020202020204" pitchFamily="34" charset="0"/>
              <a:buChar char="•"/>
              <a:defRPr lang="en-US" sz="1400" b="0" kern="1200" spc="0" dirty="0">
                <a:solidFill>
                  <a:schemeClr val="bg2">
                    <a:lumMod val="75000"/>
                  </a:schemeClr>
                </a:solidFill>
                <a:latin typeface="+mn-lt"/>
                <a:ea typeface="+mn-ea"/>
                <a:cs typeface="+mn-cs"/>
              </a:defRPr>
            </a:lvl4pPr>
            <a:lvl5pPr>
              <a:defRPr lang="en-US" sz="1600" b="1" kern="1200" spc="0" dirty="0">
                <a:solidFill>
                  <a:schemeClr val="bg1"/>
                </a:solidFill>
                <a:latin typeface="+mn-lt"/>
                <a:ea typeface="+mn-ea"/>
                <a:cs typeface="+mn-cs"/>
              </a:defRPr>
            </a:lvl5pPr>
          </a:lstStyle>
          <a:p>
            <a:pPr marL="0" lvl="0" indent="0" algn="l" defTabSz="914400" rtl="0" eaLnBrk="1" latinLnBrk="0" hangingPunct="1">
              <a:lnSpc>
                <a:spcPct val="90000"/>
              </a:lnSpc>
              <a:spcBef>
                <a:spcPts val="1800"/>
              </a:spcBef>
              <a:spcAft>
                <a:spcPts val="200"/>
              </a:spcAft>
              <a:buFont typeface="Arial" panose="020B0604020202020204" pitchFamily="34" charset="0"/>
              <a:buChar char="​"/>
            </a:pPr>
            <a:r>
              <a:rPr lang="en-US"/>
              <a:t>Edit Master text styles</a:t>
            </a:r>
          </a:p>
          <a:p>
            <a:pPr marL="0" lvl="1" indent="0" algn="l" defTabSz="914400" rtl="0" eaLnBrk="1" latinLnBrk="0" hangingPunct="1">
              <a:lnSpc>
                <a:spcPct val="90000"/>
              </a:lnSpc>
              <a:spcBef>
                <a:spcPts val="600"/>
              </a:spcBef>
              <a:spcAft>
                <a:spcPts val="200"/>
              </a:spcAft>
              <a:buFont typeface="CiscoSansTT ExtraLight" panose="020B0303020201020303" pitchFamily="34" charset="0"/>
              <a:buChar char="​"/>
            </a:pPr>
            <a:r>
              <a:rPr lang="en-US"/>
              <a:t>Second level</a:t>
            </a:r>
          </a:p>
          <a:p>
            <a:pPr marL="171450" lvl="2" indent="-171450" algn="l" defTabSz="914400" rtl="0" eaLnBrk="1" latinLnBrk="0" hangingPunct="1">
              <a:lnSpc>
                <a:spcPct val="90000"/>
              </a:lnSpc>
              <a:spcBef>
                <a:spcPts val="600"/>
              </a:spcBef>
              <a:spcAft>
                <a:spcPts val="200"/>
              </a:spcAft>
              <a:buFont typeface="Arial" panose="020B0604020202020204" pitchFamily="34" charset="0"/>
              <a:buChar char="•"/>
              <a:tabLst>
                <a:tab pos="171450" algn="l"/>
              </a:tabLst>
            </a:pPr>
            <a:r>
              <a:rPr lang="en-US"/>
              <a:t>Third level</a:t>
            </a:r>
          </a:p>
          <a:p>
            <a:pPr marL="342900" lvl="3" indent="-171450" algn="l" defTabSz="914400" rtl="0" eaLnBrk="1" latinLnBrk="0" hangingPunct="1">
              <a:lnSpc>
                <a:spcPct val="90000"/>
              </a:lnSpc>
              <a:spcBef>
                <a:spcPts val="600"/>
              </a:spcBef>
              <a:spcAft>
                <a:spcPts val="200"/>
              </a:spcAft>
              <a:buFont typeface="Arial" panose="020B0604020202020204" pitchFamily="34" charset="0"/>
              <a:buChar char="–"/>
            </a:pPr>
            <a:r>
              <a:rPr lang="en-US"/>
              <a:t>Fourth level</a:t>
            </a:r>
          </a:p>
          <a:p>
            <a:pPr marL="0" lvl="4" indent="0" algn="l" defTabSz="914400" rtl="0" eaLnBrk="1" latinLnBrk="0" hangingPunct="1">
              <a:lnSpc>
                <a:spcPct val="85000"/>
              </a:lnSpc>
              <a:spcBef>
                <a:spcPts val="600"/>
              </a:spcBef>
              <a:spcAft>
                <a:spcPts val="1800"/>
              </a:spcAft>
              <a:buFont typeface="Arial" panose="020B0604020202020204" pitchFamily="34" charset="0"/>
              <a:buNone/>
            </a:pPr>
            <a:r>
              <a:rPr lang="en-US"/>
              <a:t>Fifth level</a:t>
            </a:r>
          </a:p>
        </p:txBody>
      </p:sp>
      <p:sp>
        <p:nvSpPr>
          <p:cNvPr id="3" name="Slide Number Placeholder 2">
            <a:extLst>
              <a:ext uri="{FF2B5EF4-FFF2-40B4-BE49-F238E27FC236}">
                <a16:creationId xmlns:a16="http://schemas.microsoft.com/office/drawing/2014/main" id="{DB137165-BE0E-48FA-B927-00B86F485244}"/>
              </a:ext>
            </a:extLst>
          </p:cNvPr>
          <p:cNvSpPr>
            <a:spLocks noGrp="1"/>
          </p:cNvSpPr>
          <p:nvPr>
            <p:ph type="sldNum" sz="quarter" idx="20"/>
          </p:nvPr>
        </p:nvSpPr>
        <p:spPr/>
        <p:txBody>
          <a:bodyPr/>
          <a:lstStyle/>
          <a:p>
            <a:fld id="{4C9EABC9-A6DF-4002-BA8F-FA0D4CABB02D}" type="slidenum">
              <a:rPr lang="en-US" smtClean="0"/>
              <a:pPr/>
              <a:t>‹#›</a:t>
            </a:fld>
            <a:endParaRPr lang="en-US"/>
          </a:p>
        </p:txBody>
      </p:sp>
      <p:grpSp>
        <p:nvGrpSpPr>
          <p:cNvPr id="13" name="Group 12">
            <a:extLst>
              <a:ext uri="{FF2B5EF4-FFF2-40B4-BE49-F238E27FC236}">
                <a16:creationId xmlns:a16="http://schemas.microsoft.com/office/drawing/2014/main" id="{D627339A-5699-4D23-A3EC-EFD71D2BA34D}"/>
              </a:ext>
            </a:extLst>
          </p:cNvPr>
          <p:cNvGrpSpPr/>
          <p:nvPr userDrawn="1"/>
        </p:nvGrpSpPr>
        <p:grpSpPr>
          <a:xfrm>
            <a:off x="11420680" y="457200"/>
            <a:ext cx="323850" cy="324895"/>
            <a:chOff x="11693125" y="130630"/>
            <a:chExt cx="368246" cy="369434"/>
          </a:xfrm>
          <a:solidFill>
            <a:schemeClr val="bg1"/>
          </a:solidFill>
        </p:grpSpPr>
        <p:sp>
          <p:nvSpPr>
            <p:cNvPr id="14" name="Freeform 5">
              <a:extLst>
                <a:ext uri="{FF2B5EF4-FFF2-40B4-BE49-F238E27FC236}">
                  <a16:creationId xmlns:a16="http://schemas.microsoft.com/office/drawing/2014/main" id="{35D47DFC-967B-4C4A-A56C-D42D3B94734C}"/>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CF390383-E59D-490E-BDB2-9E45CB723C1C}"/>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DF8F91EB-C769-4A45-9FA3-EA8900020C02}"/>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306909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Map">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grpSp>
        <p:nvGrpSpPr>
          <p:cNvPr id="23" name="Group 22"/>
          <p:cNvGrpSpPr/>
          <p:nvPr/>
        </p:nvGrpSpPr>
        <p:grpSpPr>
          <a:xfrm>
            <a:off x="1626409" y="1197749"/>
            <a:ext cx="8939182" cy="5170298"/>
            <a:chOff x="1097280" y="932122"/>
            <a:chExt cx="9429985" cy="5454173"/>
          </a:xfrm>
          <a:solidFill>
            <a:schemeClr val="bg2"/>
          </a:solidFill>
        </p:grpSpPr>
        <p:sp>
          <p:nvSpPr>
            <p:cNvPr id="24" name="Freeform 6"/>
            <p:cNvSpPr>
              <a:spLocks/>
            </p:cNvSpPr>
            <p:nvPr/>
          </p:nvSpPr>
          <p:spPr bwMode="auto">
            <a:xfrm>
              <a:off x="8548870" y="1873309"/>
              <a:ext cx="0" cy="1812"/>
            </a:xfrm>
            <a:custGeom>
              <a:avLst/>
              <a:gdLst>
                <a:gd name="T0" fmla="*/ 1 h 1"/>
                <a:gd name="T1" fmla="*/ 0 h 1"/>
                <a:gd name="T2" fmla="*/ 1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0"/>
                  </a:cubicBezTo>
                  <a:cubicBezTo>
                    <a:pt x="0" y="1"/>
                    <a:pt x="0" y="1"/>
                    <a:pt x="0" y="1"/>
                  </a:cubicBezTo>
                  <a:cubicBezTo>
                    <a:pt x="0" y="1"/>
                    <a:pt x="0" y="1"/>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
            <p:cNvSpPr>
              <a:spLocks/>
            </p:cNvSpPr>
            <p:nvPr/>
          </p:nvSpPr>
          <p:spPr bwMode="auto">
            <a:xfrm>
              <a:off x="8617716" y="2121514"/>
              <a:ext cx="160337" cy="147655"/>
            </a:xfrm>
            <a:custGeom>
              <a:avLst/>
              <a:gdLst>
                <a:gd name="T0" fmla="*/ 24 w 75"/>
                <a:gd name="T1" fmla="*/ 4 h 69"/>
                <a:gd name="T2" fmla="*/ 24 w 75"/>
                <a:gd name="T3" fmla="*/ 4 h 69"/>
                <a:gd name="T4" fmla="*/ 24 w 75"/>
                <a:gd name="T5" fmla="*/ 4 h 69"/>
                <a:gd name="T6" fmla="*/ 21 w 75"/>
                <a:gd name="T7" fmla="*/ 13 h 69"/>
                <a:gd name="T8" fmla="*/ 10 w 75"/>
                <a:gd name="T9" fmla="*/ 40 h 69"/>
                <a:gd name="T10" fmla="*/ 5 w 75"/>
                <a:gd name="T11" fmla="*/ 45 h 69"/>
                <a:gd name="T12" fmla="*/ 2 w 75"/>
                <a:gd name="T13" fmla="*/ 48 h 69"/>
                <a:gd name="T14" fmla="*/ 3 w 75"/>
                <a:gd name="T15" fmla="*/ 54 h 69"/>
                <a:gd name="T16" fmla="*/ 6 w 75"/>
                <a:gd name="T17" fmla="*/ 55 h 69"/>
                <a:gd name="T18" fmla="*/ 10 w 75"/>
                <a:gd name="T19" fmla="*/ 60 h 69"/>
                <a:gd name="T20" fmla="*/ 9 w 75"/>
                <a:gd name="T21" fmla="*/ 63 h 69"/>
                <a:gd name="T22" fmla="*/ 16 w 75"/>
                <a:gd name="T23" fmla="*/ 68 h 69"/>
                <a:gd name="T24" fmla="*/ 22 w 75"/>
                <a:gd name="T25" fmla="*/ 66 h 69"/>
                <a:gd name="T26" fmla="*/ 40 w 75"/>
                <a:gd name="T27" fmla="*/ 50 h 69"/>
                <a:gd name="T28" fmla="*/ 43 w 75"/>
                <a:gd name="T29" fmla="*/ 49 h 69"/>
                <a:gd name="T30" fmla="*/ 49 w 75"/>
                <a:gd name="T31" fmla="*/ 57 h 69"/>
                <a:gd name="T32" fmla="*/ 52 w 75"/>
                <a:gd name="T33" fmla="*/ 61 h 69"/>
                <a:gd name="T34" fmla="*/ 64 w 75"/>
                <a:gd name="T35" fmla="*/ 65 h 69"/>
                <a:gd name="T36" fmla="*/ 67 w 75"/>
                <a:gd name="T37" fmla="*/ 65 h 69"/>
                <a:gd name="T38" fmla="*/ 73 w 75"/>
                <a:gd name="T39" fmla="*/ 60 h 69"/>
                <a:gd name="T40" fmla="*/ 71 w 75"/>
                <a:gd name="T41" fmla="*/ 53 h 69"/>
                <a:gd name="T42" fmla="*/ 70 w 75"/>
                <a:gd name="T43" fmla="*/ 52 h 69"/>
                <a:gd name="T44" fmla="*/ 64 w 75"/>
                <a:gd name="T45" fmla="*/ 46 h 69"/>
                <a:gd name="T46" fmla="*/ 59 w 75"/>
                <a:gd name="T47" fmla="*/ 34 h 69"/>
                <a:gd name="T48" fmla="*/ 54 w 75"/>
                <a:gd name="T49" fmla="*/ 28 h 69"/>
                <a:gd name="T50" fmla="*/ 42 w 75"/>
                <a:gd name="T51" fmla="*/ 14 h 69"/>
                <a:gd name="T52" fmla="*/ 39 w 75"/>
                <a:gd name="T53" fmla="*/ 13 h 69"/>
                <a:gd name="T54" fmla="*/ 37 w 75"/>
                <a:gd name="T55" fmla="*/ 10 h 69"/>
                <a:gd name="T56" fmla="*/ 43 w 75"/>
                <a:gd name="T57" fmla="*/ 4 h 69"/>
                <a:gd name="T58" fmla="*/ 43 w 75"/>
                <a:gd name="T59" fmla="*/ 1 h 69"/>
                <a:gd name="T60" fmla="*/ 40 w 75"/>
                <a:gd name="T61" fmla="*/ 0 h 69"/>
                <a:gd name="T62" fmla="*/ 34 w 75"/>
                <a:gd name="T63" fmla="*/ 1 h 69"/>
                <a:gd name="T64" fmla="*/ 27 w 75"/>
                <a:gd name="T65" fmla="*/ 1 h 69"/>
                <a:gd name="T66" fmla="*/ 24 w 75"/>
                <a:gd name="T67" fmla="*/ 4 h 69"/>
                <a:gd name="T68" fmla="*/ 24 w 75"/>
                <a:gd name="T69"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69">
                  <a:moveTo>
                    <a:pt x="24" y="4"/>
                  </a:moveTo>
                  <a:cubicBezTo>
                    <a:pt x="24" y="4"/>
                    <a:pt x="24" y="4"/>
                    <a:pt x="24" y="4"/>
                  </a:cubicBezTo>
                  <a:cubicBezTo>
                    <a:pt x="24" y="4"/>
                    <a:pt x="24" y="4"/>
                    <a:pt x="24" y="4"/>
                  </a:cubicBezTo>
                  <a:cubicBezTo>
                    <a:pt x="23" y="7"/>
                    <a:pt x="22" y="10"/>
                    <a:pt x="21" y="13"/>
                  </a:cubicBezTo>
                  <a:cubicBezTo>
                    <a:pt x="18" y="22"/>
                    <a:pt x="12" y="30"/>
                    <a:pt x="10" y="40"/>
                  </a:cubicBezTo>
                  <a:cubicBezTo>
                    <a:pt x="9" y="42"/>
                    <a:pt x="7" y="43"/>
                    <a:pt x="5" y="45"/>
                  </a:cubicBezTo>
                  <a:cubicBezTo>
                    <a:pt x="4" y="45"/>
                    <a:pt x="3" y="46"/>
                    <a:pt x="2" y="48"/>
                  </a:cubicBezTo>
                  <a:cubicBezTo>
                    <a:pt x="0" y="49"/>
                    <a:pt x="1" y="53"/>
                    <a:pt x="3" y="54"/>
                  </a:cubicBezTo>
                  <a:cubicBezTo>
                    <a:pt x="4" y="55"/>
                    <a:pt x="5" y="55"/>
                    <a:pt x="6" y="55"/>
                  </a:cubicBezTo>
                  <a:cubicBezTo>
                    <a:pt x="9" y="56"/>
                    <a:pt x="10" y="58"/>
                    <a:pt x="10" y="60"/>
                  </a:cubicBezTo>
                  <a:cubicBezTo>
                    <a:pt x="10" y="61"/>
                    <a:pt x="9" y="62"/>
                    <a:pt x="9" y="63"/>
                  </a:cubicBezTo>
                  <a:cubicBezTo>
                    <a:pt x="9" y="67"/>
                    <a:pt x="12" y="69"/>
                    <a:pt x="16" y="68"/>
                  </a:cubicBezTo>
                  <a:cubicBezTo>
                    <a:pt x="18" y="67"/>
                    <a:pt x="21" y="67"/>
                    <a:pt x="22" y="66"/>
                  </a:cubicBezTo>
                  <a:cubicBezTo>
                    <a:pt x="27" y="60"/>
                    <a:pt x="36" y="58"/>
                    <a:pt x="40" y="50"/>
                  </a:cubicBezTo>
                  <a:cubicBezTo>
                    <a:pt x="40" y="50"/>
                    <a:pt x="42" y="49"/>
                    <a:pt x="43" y="49"/>
                  </a:cubicBezTo>
                  <a:cubicBezTo>
                    <a:pt x="46" y="51"/>
                    <a:pt x="49" y="53"/>
                    <a:pt x="49" y="57"/>
                  </a:cubicBezTo>
                  <a:cubicBezTo>
                    <a:pt x="50" y="59"/>
                    <a:pt x="50" y="61"/>
                    <a:pt x="52" y="61"/>
                  </a:cubicBezTo>
                  <a:cubicBezTo>
                    <a:pt x="56" y="63"/>
                    <a:pt x="60" y="64"/>
                    <a:pt x="64" y="65"/>
                  </a:cubicBezTo>
                  <a:cubicBezTo>
                    <a:pt x="65" y="66"/>
                    <a:pt x="67" y="65"/>
                    <a:pt x="67" y="65"/>
                  </a:cubicBezTo>
                  <a:cubicBezTo>
                    <a:pt x="69" y="63"/>
                    <a:pt x="71" y="61"/>
                    <a:pt x="73" y="60"/>
                  </a:cubicBezTo>
                  <a:cubicBezTo>
                    <a:pt x="75" y="58"/>
                    <a:pt x="74" y="54"/>
                    <a:pt x="71" y="53"/>
                  </a:cubicBezTo>
                  <a:cubicBezTo>
                    <a:pt x="71" y="53"/>
                    <a:pt x="70" y="53"/>
                    <a:pt x="70" y="52"/>
                  </a:cubicBezTo>
                  <a:cubicBezTo>
                    <a:pt x="66" y="51"/>
                    <a:pt x="64" y="49"/>
                    <a:pt x="64" y="46"/>
                  </a:cubicBezTo>
                  <a:cubicBezTo>
                    <a:pt x="64" y="41"/>
                    <a:pt x="63" y="37"/>
                    <a:pt x="59" y="34"/>
                  </a:cubicBezTo>
                  <a:cubicBezTo>
                    <a:pt x="58" y="32"/>
                    <a:pt x="55" y="31"/>
                    <a:pt x="54" y="28"/>
                  </a:cubicBezTo>
                  <a:cubicBezTo>
                    <a:pt x="52" y="22"/>
                    <a:pt x="45" y="20"/>
                    <a:pt x="42" y="14"/>
                  </a:cubicBezTo>
                  <a:cubicBezTo>
                    <a:pt x="41" y="14"/>
                    <a:pt x="40" y="14"/>
                    <a:pt x="39" y="13"/>
                  </a:cubicBezTo>
                  <a:cubicBezTo>
                    <a:pt x="35" y="12"/>
                    <a:pt x="35" y="12"/>
                    <a:pt x="37" y="10"/>
                  </a:cubicBezTo>
                  <a:cubicBezTo>
                    <a:pt x="39" y="8"/>
                    <a:pt x="41" y="6"/>
                    <a:pt x="43" y="4"/>
                  </a:cubicBezTo>
                  <a:cubicBezTo>
                    <a:pt x="43" y="3"/>
                    <a:pt x="43" y="2"/>
                    <a:pt x="43" y="1"/>
                  </a:cubicBezTo>
                  <a:cubicBezTo>
                    <a:pt x="42" y="0"/>
                    <a:pt x="41" y="0"/>
                    <a:pt x="40" y="0"/>
                  </a:cubicBezTo>
                  <a:cubicBezTo>
                    <a:pt x="38" y="1"/>
                    <a:pt x="36" y="2"/>
                    <a:pt x="34" y="1"/>
                  </a:cubicBezTo>
                  <a:cubicBezTo>
                    <a:pt x="32" y="1"/>
                    <a:pt x="29" y="1"/>
                    <a:pt x="27" y="1"/>
                  </a:cubicBezTo>
                  <a:cubicBezTo>
                    <a:pt x="26" y="2"/>
                    <a:pt x="25" y="3"/>
                    <a:pt x="24" y="4"/>
                  </a:cubicBezTo>
                  <a:cubicBezTo>
                    <a:pt x="24" y="4"/>
                    <a:pt x="24" y="4"/>
                    <a:pt x="24" y="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p:cNvSpPr>
            <p:nvPr/>
          </p:nvSpPr>
          <p:spPr bwMode="auto">
            <a:xfrm>
              <a:off x="8825157" y="1906826"/>
              <a:ext cx="0" cy="2718"/>
            </a:xfrm>
            <a:custGeom>
              <a:avLst/>
              <a:gdLst>
                <a:gd name="T0" fmla="*/ 1 h 1"/>
                <a:gd name="T1" fmla="*/ 1 h 1"/>
                <a:gd name="T2" fmla="*/ 0 h 1"/>
                <a:gd name="T3" fmla="*/ 0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1"/>
                  </a:cubicBezTo>
                  <a:cubicBezTo>
                    <a:pt x="0" y="0"/>
                    <a:pt x="0" y="0"/>
                    <a:pt x="0" y="0"/>
                  </a:cubicBezTo>
                  <a:cubicBezTo>
                    <a:pt x="0" y="0"/>
                    <a:pt x="0" y="0"/>
                    <a:pt x="0" y="0"/>
                  </a:cubicBezTo>
                  <a:cubicBezTo>
                    <a:pt x="0" y="0"/>
                    <a:pt x="0" y="0"/>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p:cNvSpPr>
            <p:nvPr/>
          </p:nvSpPr>
          <p:spPr bwMode="auto">
            <a:xfrm>
              <a:off x="9052528" y="3042772"/>
              <a:ext cx="0" cy="1812"/>
            </a:xfrm>
            <a:custGeom>
              <a:avLst/>
              <a:gdLst>
                <a:gd name="T0" fmla="*/ 1 h 1"/>
                <a:gd name="T1" fmla="*/ 0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0"/>
                  </a:cubicBezTo>
                  <a:cubicBezTo>
                    <a:pt x="0" y="0"/>
                    <a:pt x="0" y="0"/>
                    <a:pt x="0" y="0"/>
                  </a:cubicBezTo>
                  <a:cubicBezTo>
                    <a:pt x="0" y="1"/>
                    <a:pt x="0" y="1"/>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4"/>
            <p:cNvSpPr>
              <a:spLocks/>
            </p:cNvSpPr>
            <p:nvPr/>
          </p:nvSpPr>
          <p:spPr bwMode="auto">
            <a:xfrm>
              <a:off x="7392995" y="2780979"/>
              <a:ext cx="1812" cy="2718"/>
            </a:xfrm>
            <a:custGeom>
              <a:avLst/>
              <a:gdLst>
                <a:gd name="T0" fmla="*/ 1 w 1"/>
                <a:gd name="T1" fmla="*/ 0 h 1"/>
                <a:gd name="T2" fmla="*/ 0 w 1"/>
                <a:gd name="T3" fmla="*/ 0 h 1"/>
                <a:gd name="T4" fmla="*/ 1 w 1"/>
                <a:gd name="T5" fmla="*/ 0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0" y="0"/>
                  </a:cubicBezTo>
                  <a:cubicBezTo>
                    <a:pt x="0" y="0"/>
                    <a:pt x="1" y="0"/>
                    <a:pt x="1" y="0"/>
                  </a:cubicBezTo>
                  <a:cubicBezTo>
                    <a:pt x="1" y="1"/>
                    <a:pt x="1" y="1"/>
                    <a:pt x="1" y="1"/>
                  </a:cubicBezTo>
                  <a:cubicBezTo>
                    <a:pt x="1"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5"/>
            <p:cNvSpPr>
              <a:spLocks/>
            </p:cNvSpPr>
            <p:nvPr/>
          </p:nvSpPr>
          <p:spPr bwMode="auto">
            <a:xfrm>
              <a:off x="9512704" y="207622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6"/>
            <p:cNvSpPr>
              <a:spLocks noEditPoints="1"/>
            </p:cNvSpPr>
            <p:nvPr/>
          </p:nvSpPr>
          <p:spPr bwMode="auto">
            <a:xfrm>
              <a:off x="9300733" y="1011838"/>
              <a:ext cx="1226532" cy="1492855"/>
            </a:xfrm>
            <a:custGeom>
              <a:avLst/>
              <a:gdLst>
                <a:gd name="T0" fmla="*/ 402 w 573"/>
                <a:gd name="T1" fmla="*/ 471 h 697"/>
                <a:gd name="T2" fmla="*/ 444 w 573"/>
                <a:gd name="T3" fmla="*/ 456 h 697"/>
                <a:gd name="T4" fmla="*/ 421 w 573"/>
                <a:gd name="T5" fmla="*/ 407 h 697"/>
                <a:gd name="T6" fmla="*/ 433 w 573"/>
                <a:gd name="T7" fmla="*/ 393 h 697"/>
                <a:gd name="T8" fmla="*/ 437 w 573"/>
                <a:gd name="T9" fmla="*/ 395 h 697"/>
                <a:gd name="T10" fmla="*/ 469 w 573"/>
                <a:gd name="T11" fmla="*/ 370 h 697"/>
                <a:gd name="T12" fmla="*/ 481 w 573"/>
                <a:gd name="T13" fmla="*/ 326 h 697"/>
                <a:gd name="T14" fmla="*/ 469 w 573"/>
                <a:gd name="T15" fmla="*/ 300 h 697"/>
                <a:gd name="T16" fmla="*/ 491 w 573"/>
                <a:gd name="T17" fmla="*/ 314 h 697"/>
                <a:gd name="T18" fmla="*/ 490 w 573"/>
                <a:gd name="T19" fmla="*/ 261 h 697"/>
                <a:gd name="T20" fmla="*/ 520 w 573"/>
                <a:gd name="T21" fmla="*/ 176 h 697"/>
                <a:gd name="T22" fmla="*/ 541 w 573"/>
                <a:gd name="T23" fmla="*/ 153 h 697"/>
                <a:gd name="T24" fmla="*/ 540 w 573"/>
                <a:gd name="T25" fmla="*/ 104 h 697"/>
                <a:gd name="T26" fmla="*/ 467 w 573"/>
                <a:gd name="T27" fmla="*/ 136 h 697"/>
                <a:gd name="T28" fmla="*/ 480 w 573"/>
                <a:gd name="T29" fmla="*/ 122 h 697"/>
                <a:gd name="T30" fmla="*/ 450 w 573"/>
                <a:gd name="T31" fmla="*/ 106 h 697"/>
                <a:gd name="T32" fmla="*/ 396 w 573"/>
                <a:gd name="T33" fmla="*/ 96 h 697"/>
                <a:gd name="T34" fmla="*/ 508 w 573"/>
                <a:gd name="T35" fmla="*/ 62 h 697"/>
                <a:gd name="T36" fmla="*/ 442 w 573"/>
                <a:gd name="T37" fmla="*/ 33 h 697"/>
                <a:gd name="T38" fmla="*/ 406 w 573"/>
                <a:gd name="T39" fmla="*/ 33 h 697"/>
                <a:gd name="T40" fmla="*/ 374 w 573"/>
                <a:gd name="T41" fmla="*/ 13 h 697"/>
                <a:gd name="T42" fmla="*/ 373 w 573"/>
                <a:gd name="T43" fmla="*/ 17 h 697"/>
                <a:gd name="T44" fmla="*/ 326 w 573"/>
                <a:gd name="T45" fmla="*/ 19 h 697"/>
                <a:gd name="T46" fmla="*/ 301 w 573"/>
                <a:gd name="T47" fmla="*/ 64 h 697"/>
                <a:gd name="T48" fmla="*/ 274 w 573"/>
                <a:gd name="T49" fmla="*/ 43 h 697"/>
                <a:gd name="T50" fmla="*/ 249 w 573"/>
                <a:gd name="T51" fmla="*/ 68 h 697"/>
                <a:gd name="T52" fmla="*/ 235 w 573"/>
                <a:gd name="T53" fmla="*/ 71 h 697"/>
                <a:gd name="T54" fmla="*/ 235 w 573"/>
                <a:gd name="T55" fmla="*/ 70 h 697"/>
                <a:gd name="T56" fmla="*/ 182 w 573"/>
                <a:gd name="T57" fmla="*/ 58 h 697"/>
                <a:gd name="T58" fmla="*/ 151 w 573"/>
                <a:gd name="T59" fmla="*/ 83 h 697"/>
                <a:gd name="T60" fmla="*/ 105 w 573"/>
                <a:gd name="T61" fmla="*/ 124 h 697"/>
                <a:gd name="T62" fmla="*/ 81 w 573"/>
                <a:gd name="T63" fmla="*/ 154 h 697"/>
                <a:gd name="T64" fmla="*/ 18 w 573"/>
                <a:gd name="T65" fmla="*/ 194 h 697"/>
                <a:gd name="T66" fmla="*/ 49 w 573"/>
                <a:gd name="T67" fmla="*/ 208 h 697"/>
                <a:gd name="T68" fmla="*/ 14 w 573"/>
                <a:gd name="T69" fmla="*/ 240 h 697"/>
                <a:gd name="T70" fmla="*/ 64 w 573"/>
                <a:gd name="T71" fmla="*/ 261 h 697"/>
                <a:gd name="T72" fmla="*/ 102 w 573"/>
                <a:gd name="T73" fmla="*/ 324 h 697"/>
                <a:gd name="T74" fmla="*/ 107 w 573"/>
                <a:gd name="T75" fmla="*/ 369 h 697"/>
                <a:gd name="T76" fmla="*/ 102 w 573"/>
                <a:gd name="T77" fmla="*/ 397 h 697"/>
                <a:gd name="T78" fmla="*/ 94 w 573"/>
                <a:gd name="T79" fmla="*/ 417 h 697"/>
                <a:gd name="T80" fmla="*/ 122 w 573"/>
                <a:gd name="T81" fmla="*/ 419 h 697"/>
                <a:gd name="T82" fmla="*/ 128 w 573"/>
                <a:gd name="T83" fmla="*/ 448 h 697"/>
                <a:gd name="T84" fmla="*/ 96 w 573"/>
                <a:gd name="T85" fmla="*/ 447 h 697"/>
                <a:gd name="T86" fmla="*/ 109 w 573"/>
                <a:gd name="T87" fmla="*/ 457 h 697"/>
                <a:gd name="T88" fmla="*/ 128 w 573"/>
                <a:gd name="T89" fmla="*/ 472 h 697"/>
                <a:gd name="T90" fmla="*/ 102 w 573"/>
                <a:gd name="T91" fmla="*/ 506 h 697"/>
                <a:gd name="T92" fmla="*/ 79 w 573"/>
                <a:gd name="T93" fmla="*/ 533 h 697"/>
                <a:gd name="T94" fmla="*/ 85 w 573"/>
                <a:gd name="T95" fmla="*/ 541 h 697"/>
                <a:gd name="T96" fmla="*/ 98 w 573"/>
                <a:gd name="T97" fmla="*/ 594 h 697"/>
                <a:gd name="T98" fmla="*/ 92 w 573"/>
                <a:gd name="T99" fmla="*/ 625 h 697"/>
                <a:gd name="T100" fmla="*/ 102 w 573"/>
                <a:gd name="T101" fmla="*/ 662 h 697"/>
                <a:gd name="T102" fmla="*/ 150 w 573"/>
                <a:gd name="T103" fmla="*/ 695 h 697"/>
                <a:gd name="T104" fmla="*/ 186 w 573"/>
                <a:gd name="T105" fmla="*/ 643 h 697"/>
                <a:gd name="T106" fmla="*/ 212 w 573"/>
                <a:gd name="T107" fmla="*/ 604 h 697"/>
                <a:gd name="T108" fmla="*/ 259 w 573"/>
                <a:gd name="T109" fmla="*/ 576 h 697"/>
                <a:gd name="T110" fmla="*/ 356 w 573"/>
                <a:gd name="T111" fmla="*/ 524 h 697"/>
                <a:gd name="T112" fmla="*/ 507 w 573"/>
                <a:gd name="T113" fmla="*/ 171 h 697"/>
                <a:gd name="T114" fmla="*/ 248 w 573"/>
                <a:gd name="T115" fmla="*/ 573 h 697"/>
                <a:gd name="T116" fmla="*/ 337 w 573"/>
                <a:gd name="T117" fmla="*/ 42 h 697"/>
                <a:gd name="T118" fmla="*/ 381 w 573"/>
                <a:gd name="T119" fmla="*/ 463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3" h="697">
                  <a:moveTo>
                    <a:pt x="432" y="486"/>
                  </a:moveTo>
                  <a:cubicBezTo>
                    <a:pt x="433" y="486"/>
                    <a:pt x="433" y="484"/>
                    <a:pt x="433" y="483"/>
                  </a:cubicBezTo>
                  <a:cubicBezTo>
                    <a:pt x="433" y="483"/>
                    <a:pt x="432" y="483"/>
                    <a:pt x="432" y="482"/>
                  </a:cubicBezTo>
                  <a:cubicBezTo>
                    <a:pt x="425" y="480"/>
                    <a:pt x="418" y="482"/>
                    <a:pt x="412" y="478"/>
                  </a:cubicBezTo>
                  <a:cubicBezTo>
                    <a:pt x="408" y="475"/>
                    <a:pt x="403" y="476"/>
                    <a:pt x="398" y="477"/>
                  </a:cubicBezTo>
                  <a:cubicBezTo>
                    <a:pt x="397" y="478"/>
                    <a:pt x="396" y="477"/>
                    <a:pt x="395" y="477"/>
                  </a:cubicBezTo>
                  <a:cubicBezTo>
                    <a:pt x="395" y="477"/>
                    <a:pt x="394" y="476"/>
                    <a:pt x="394" y="476"/>
                  </a:cubicBezTo>
                  <a:cubicBezTo>
                    <a:pt x="393" y="475"/>
                    <a:pt x="393" y="474"/>
                    <a:pt x="394" y="473"/>
                  </a:cubicBezTo>
                  <a:cubicBezTo>
                    <a:pt x="397" y="472"/>
                    <a:pt x="400" y="472"/>
                    <a:pt x="402" y="471"/>
                  </a:cubicBezTo>
                  <a:cubicBezTo>
                    <a:pt x="405" y="470"/>
                    <a:pt x="407" y="467"/>
                    <a:pt x="407" y="463"/>
                  </a:cubicBezTo>
                  <a:cubicBezTo>
                    <a:pt x="406" y="460"/>
                    <a:pt x="406" y="457"/>
                    <a:pt x="405" y="454"/>
                  </a:cubicBezTo>
                  <a:cubicBezTo>
                    <a:pt x="405" y="453"/>
                    <a:pt x="407" y="451"/>
                    <a:pt x="409" y="451"/>
                  </a:cubicBezTo>
                  <a:cubicBezTo>
                    <a:pt x="410" y="451"/>
                    <a:pt x="411" y="452"/>
                    <a:pt x="411" y="453"/>
                  </a:cubicBezTo>
                  <a:cubicBezTo>
                    <a:pt x="413" y="459"/>
                    <a:pt x="415" y="465"/>
                    <a:pt x="419" y="470"/>
                  </a:cubicBezTo>
                  <a:cubicBezTo>
                    <a:pt x="422" y="473"/>
                    <a:pt x="425" y="476"/>
                    <a:pt x="430" y="475"/>
                  </a:cubicBezTo>
                  <a:cubicBezTo>
                    <a:pt x="432" y="475"/>
                    <a:pt x="435" y="475"/>
                    <a:pt x="437" y="475"/>
                  </a:cubicBezTo>
                  <a:cubicBezTo>
                    <a:pt x="443" y="475"/>
                    <a:pt x="444" y="475"/>
                    <a:pt x="444" y="470"/>
                  </a:cubicBezTo>
                  <a:cubicBezTo>
                    <a:pt x="444" y="465"/>
                    <a:pt x="444" y="460"/>
                    <a:pt x="444" y="456"/>
                  </a:cubicBezTo>
                  <a:cubicBezTo>
                    <a:pt x="445" y="451"/>
                    <a:pt x="440" y="447"/>
                    <a:pt x="442" y="442"/>
                  </a:cubicBezTo>
                  <a:cubicBezTo>
                    <a:pt x="442" y="441"/>
                    <a:pt x="440" y="440"/>
                    <a:pt x="440" y="438"/>
                  </a:cubicBezTo>
                  <a:cubicBezTo>
                    <a:pt x="437" y="432"/>
                    <a:pt x="432" y="428"/>
                    <a:pt x="427" y="424"/>
                  </a:cubicBezTo>
                  <a:cubicBezTo>
                    <a:pt x="424" y="423"/>
                    <a:pt x="422" y="421"/>
                    <a:pt x="420" y="419"/>
                  </a:cubicBezTo>
                  <a:cubicBezTo>
                    <a:pt x="419" y="418"/>
                    <a:pt x="418" y="417"/>
                    <a:pt x="418" y="415"/>
                  </a:cubicBezTo>
                  <a:cubicBezTo>
                    <a:pt x="417" y="412"/>
                    <a:pt x="416" y="408"/>
                    <a:pt x="416" y="405"/>
                  </a:cubicBezTo>
                  <a:cubicBezTo>
                    <a:pt x="416" y="404"/>
                    <a:pt x="416" y="403"/>
                    <a:pt x="417" y="402"/>
                  </a:cubicBezTo>
                  <a:cubicBezTo>
                    <a:pt x="418" y="402"/>
                    <a:pt x="420" y="402"/>
                    <a:pt x="420" y="403"/>
                  </a:cubicBezTo>
                  <a:cubicBezTo>
                    <a:pt x="421" y="404"/>
                    <a:pt x="421" y="406"/>
                    <a:pt x="421" y="407"/>
                  </a:cubicBezTo>
                  <a:cubicBezTo>
                    <a:pt x="421" y="413"/>
                    <a:pt x="424" y="417"/>
                    <a:pt x="429" y="420"/>
                  </a:cubicBezTo>
                  <a:cubicBezTo>
                    <a:pt x="432" y="422"/>
                    <a:pt x="434" y="425"/>
                    <a:pt x="438" y="426"/>
                  </a:cubicBezTo>
                  <a:cubicBezTo>
                    <a:pt x="440" y="426"/>
                    <a:pt x="442" y="426"/>
                    <a:pt x="442" y="424"/>
                  </a:cubicBezTo>
                  <a:cubicBezTo>
                    <a:pt x="442" y="422"/>
                    <a:pt x="443" y="419"/>
                    <a:pt x="445" y="417"/>
                  </a:cubicBezTo>
                  <a:cubicBezTo>
                    <a:pt x="444" y="414"/>
                    <a:pt x="445" y="412"/>
                    <a:pt x="447" y="410"/>
                  </a:cubicBezTo>
                  <a:cubicBezTo>
                    <a:pt x="448" y="408"/>
                    <a:pt x="447" y="405"/>
                    <a:pt x="446" y="404"/>
                  </a:cubicBezTo>
                  <a:cubicBezTo>
                    <a:pt x="442" y="402"/>
                    <a:pt x="438" y="400"/>
                    <a:pt x="435" y="397"/>
                  </a:cubicBezTo>
                  <a:cubicBezTo>
                    <a:pt x="434" y="397"/>
                    <a:pt x="434" y="395"/>
                    <a:pt x="433" y="394"/>
                  </a:cubicBezTo>
                  <a:cubicBezTo>
                    <a:pt x="433" y="394"/>
                    <a:pt x="433" y="394"/>
                    <a:pt x="433" y="393"/>
                  </a:cubicBezTo>
                  <a:cubicBezTo>
                    <a:pt x="433" y="393"/>
                    <a:pt x="433" y="393"/>
                    <a:pt x="432" y="393"/>
                  </a:cubicBezTo>
                  <a:cubicBezTo>
                    <a:pt x="429" y="393"/>
                    <a:pt x="426" y="391"/>
                    <a:pt x="423" y="389"/>
                  </a:cubicBezTo>
                  <a:cubicBezTo>
                    <a:pt x="423" y="389"/>
                    <a:pt x="423" y="388"/>
                    <a:pt x="423" y="388"/>
                  </a:cubicBezTo>
                  <a:cubicBezTo>
                    <a:pt x="423" y="388"/>
                    <a:pt x="424" y="387"/>
                    <a:pt x="424" y="387"/>
                  </a:cubicBezTo>
                  <a:cubicBezTo>
                    <a:pt x="425" y="387"/>
                    <a:pt x="427" y="387"/>
                    <a:pt x="427" y="388"/>
                  </a:cubicBezTo>
                  <a:cubicBezTo>
                    <a:pt x="429" y="389"/>
                    <a:pt x="431" y="391"/>
                    <a:pt x="432" y="393"/>
                  </a:cubicBezTo>
                  <a:cubicBezTo>
                    <a:pt x="433" y="393"/>
                    <a:pt x="433" y="393"/>
                    <a:pt x="433" y="393"/>
                  </a:cubicBezTo>
                  <a:cubicBezTo>
                    <a:pt x="433" y="393"/>
                    <a:pt x="433" y="393"/>
                    <a:pt x="433" y="394"/>
                  </a:cubicBezTo>
                  <a:cubicBezTo>
                    <a:pt x="435" y="394"/>
                    <a:pt x="436" y="395"/>
                    <a:pt x="437" y="395"/>
                  </a:cubicBezTo>
                  <a:cubicBezTo>
                    <a:pt x="441" y="397"/>
                    <a:pt x="445" y="398"/>
                    <a:pt x="448" y="396"/>
                  </a:cubicBezTo>
                  <a:cubicBezTo>
                    <a:pt x="452" y="393"/>
                    <a:pt x="456" y="392"/>
                    <a:pt x="460" y="392"/>
                  </a:cubicBezTo>
                  <a:cubicBezTo>
                    <a:pt x="462" y="391"/>
                    <a:pt x="463" y="390"/>
                    <a:pt x="464" y="389"/>
                  </a:cubicBezTo>
                  <a:cubicBezTo>
                    <a:pt x="465" y="387"/>
                    <a:pt x="465" y="385"/>
                    <a:pt x="466" y="383"/>
                  </a:cubicBezTo>
                  <a:cubicBezTo>
                    <a:pt x="466" y="381"/>
                    <a:pt x="465" y="378"/>
                    <a:pt x="463" y="378"/>
                  </a:cubicBezTo>
                  <a:cubicBezTo>
                    <a:pt x="459" y="377"/>
                    <a:pt x="455" y="375"/>
                    <a:pt x="451" y="373"/>
                  </a:cubicBezTo>
                  <a:cubicBezTo>
                    <a:pt x="451" y="373"/>
                    <a:pt x="451" y="372"/>
                    <a:pt x="451" y="371"/>
                  </a:cubicBezTo>
                  <a:cubicBezTo>
                    <a:pt x="451" y="370"/>
                    <a:pt x="452" y="370"/>
                    <a:pt x="453" y="370"/>
                  </a:cubicBezTo>
                  <a:cubicBezTo>
                    <a:pt x="459" y="373"/>
                    <a:pt x="463" y="375"/>
                    <a:pt x="469" y="370"/>
                  </a:cubicBezTo>
                  <a:cubicBezTo>
                    <a:pt x="470" y="369"/>
                    <a:pt x="472" y="370"/>
                    <a:pt x="473" y="369"/>
                  </a:cubicBezTo>
                  <a:cubicBezTo>
                    <a:pt x="479" y="369"/>
                    <a:pt x="482" y="361"/>
                    <a:pt x="478" y="357"/>
                  </a:cubicBezTo>
                  <a:cubicBezTo>
                    <a:pt x="475" y="355"/>
                    <a:pt x="473" y="353"/>
                    <a:pt x="473" y="350"/>
                  </a:cubicBezTo>
                  <a:cubicBezTo>
                    <a:pt x="473" y="348"/>
                    <a:pt x="472" y="347"/>
                    <a:pt x="470" y="346"/>
                  </a:cubicBezTo>
                  <a:cubicBezTo>
                    <a:pt x="469" y="345"/>
                    <a:pt x="468" y="345"/>
                    <a:pt x="469" y="344"/>
                  </a:cubicBezTo>
                  <a:cubicBezTo>
                    <a:pt x="469" y="342"/>
                    <a:pt x="470" y="342"/>
                    <a:pt x="472" y="342"/>
                  </a:cubicBezTo>
                  <a:cubicBezTo>
                    <a:pt x="473" y="343"/>
                    <a:pt x="475" y="343"/>
                    <a:pt x="476" y="342"/>
                  </a:cubicBezTo>
                  <a:cubicBezTo>
                    <a:pt x="479" y="342"/>
                    <a:pt x="479" y="339"/>
                    <a:pt x="480" y="337"/>
                  </a:cubicBezTo>
                  <a:cubicBezTo>
                    <a:pt x="480" y="334"/>
                    <a:pt x="480" y="330"/>
                    <a:pt x="481" y="326"/>
                  </a:cubicBezTo>
                  <a:cubicBezTo>
                    <a:pt x="481" y="324"/>
                    <a:pt x="480" y="321"/>
                    <a:pt x="477" y="319"/>
                  </a:cubicBezTo>
                  <a:cubicBezTo>
                    <a:pt x="474" y="317"/>
                    <a:pt x="477" y="316"/>
                    <a:pt x="478" y="314"/>
                  </a:cubicBezTo>
                  <a:cubicBezTo>
                    <a:pt x="479" y="312"/>
                    <a:pt x="479" y="310"/>
                    <a:pt x="478" y="309"/>
                  </a:cubicBezTo>
                  <a:cubicBezTo>
                    <a:pt x="475" y="308"/>
                    <a:pt x="471" y="309"/>
                    <a:pt x="469" y="306"/>
                  </a:cubicBezTo>
                  <a:cubicBezTo>
                    <a:pt x="468" y="306"/>
                    <a:pt x="467" y="305"/>
                    <a:pt x="466" y="305"/>
                  </a:cubicBezTo>
                  <a:cubicBezTo>
                    <a:pt x="464" y="305"/>
                    <a:pt x="463" y="303"/>
                    <a:pt x="463" y="301"/>
                  </a:cubicBezTo>
                  <a:cubicBezTo>
                    <a:pt x="463" y="299"/>
                    <a:pt x="464" y="297"/>
                    <a:pt x="465" y="296"/>
                  </a:cubicBezTo>
                  <a:cubicBezTo>
                    <a:pt x="467" y="297"/>
                    <a:pt x="468" y="298"/>
                    <a:pt x="469" y="300"/>
                  </a:cubicBezTo>
                  <a:cubicBezTo>
                    <a:pt x="469" y="300"/>
                    <a:pt x="469" y="300"/>
                    <a:pt x="469" y="300"/>
                  </a:cubicBezTo>
                  <a:cubicBezTo>
                    <a:pt x="469" y="300"/>
                    <a:pt x="469" y="299"/>
                    <a:pt x="469" y="299"/>
                  </a:cubicBezTo>
                  <a:cubicBezTo>
                    <a:pt x="468" y="298"/>
                    <a:pt x="467" y="297"/>
                    <a:pt x="466" y="296"/>
                  </a:cubicBezTo>
                  <a:cubicBezTo>
                    <a:pt x="465" y="296"/>
                    <a:pt x="465" y="296"/>
                    <a:pt x="465" y="296"/>
                  </a:cubicBezTo>
                  <a:cubicBezTo>
                    <a:pt x="468" y="293"/>
                    <a:pt x="471" y="291"/>
                    <a:pt x="473" y="288"/>
                  </a:cubicBezTo>
                  <a:cubicBezTo>
                    <a:pt x="475" y="287"/>
                    <a:pt x="478" y="287"/>
                    <a:pt x="480" y="288"/>
                  </a:cubicBezTo>
                  <a:cubicBezTo>
                    <a:pt x="480" y="288"/>
                    <a:pt x="481" y="288"/>
                    <a:pt x="481" y="289"/>
                  </a:cubicBezTo>
                  <a:cubicBezTo>
                    <a:pt x="484" y="292"/>
                    <a:pt x="489" y="295"/>
                    <a:pt x="488" y="301"/>
                  </a:cubicBezTo>
                  <a:cubicBezTo>
                    <a:pt x="487" y="305"/>
                    <a:pt x="488" y="310"/>
                    <a:pt x="490" y="314"/>
                  </a:cubicBezTo>
                  <a:cubicBezTo>
                    <a:pt x="490" y="314"/>
                    <a:pt x="491" y="314"/>
                    <a:pt x="491" y="314"/>
                  </a:cubicBezTo>
                  <a:cubicBezTo>
                    <a:pt x="492" y="313"/>
                    <a:pt x="492" y="311"/>
                    <a:pt x="492" y="310"/>
                  </a:cubicBezTo>
                  <a:cubicBezTo>
                    <a:pt x="491" y="304"/>
                    <a:pt x="492" y="299"/>
                    <a:pt x="496" y="293"/>
                  </a:cubicBezTo>
                  <a:cubicBezTo>
                    <a:pt x="498" y="289"/>
                    <a:pt x="499" y="285"/>
                    <a:pt x="499" y="280"/>
                  </a:cubicBezTo>
                  <a:cubicBezTo>
                    <a:pt x="499" y="278"/>
                    <a:pt x="497" y="274"/>
                    <a:pt x="494" y="274"/>
                  </a:cubicBezTo>
                  <a:cubicBezTo>
                    <a:pt x="492" y="273"/>
                    <a:pt x="490" y="273"/>
                    <a:pt x="488" y="273"/>
                  </a:cubicBezTo>
                  <a:cubicBezTo>
                    <a:pt x="486" y="272"/>
                    <a:pt x="485" y="271"/>
                    <a:pt x="484" y="270"/>
                  </a:cubicBezTo>
                  <a:cubicBezTo>
                    <a:pt x="484" y="270"/>
                    <a:pt x="483" y="269"/>
                    <a:pt x="484" y="269"/>
                  </a:cubicBezTo>
                  <a:cubicBezTo>
                    <a:pt x="484" y="268"/>
                    <a:pt x="485" y="267"/>
                    <a:pt x="485" y="267"/>
                  </a:cubicBezTo>
                  <a:cubicBezTo>
                    <a:pt x="492" y="266"/>
                    <a:pt x="492" y="265"/>
                    <a:pt x="490" y="261"/>
                  </a:cubicBezTo>
                  <a:cubicBezTo>
                    <a:pt x="488" y="258"/>
                    <a:pt x="487" y="256"/>
                    <a:pt x="485" y="255"/>
                  </a:cubicBezTo>
                  <a:cubicBezTo>
                    <a:pt x="483" y="253"/>
                    <a:pt x="482" y="252"/>
                    <a:pt x="480" y="250"/>
                  </a:cubicBezTo>
                  <a:cubicBezTo>
                    <a:pt x="480" y="250"/>
                    <a:pt x="480" y="249"/>
                    <a:pt x="481" y="249"/>
                  </a:cubicBezTo>
                  <a:cubicBezTo>
                    <a:pt x="481" y="249"/>
                    <a:pt x="482" y="248"/>
                    <a:pt x="482" y="248"/>
                  </a:cubicBezTo>
                  <a:cubicBezTo>
                    <a:pt x="487" y="250"/>
                    <a:pt x="489" y="248"/>
                    <a:pt x="490" y="244"/>
                  </a:cubicBezTo>
                  <a:cubicBezTo>
                    <a:pt x="492" y="239"/>
                    <a:pt x="496" y="234"/>
                    <a:pt x="496" y="228"/>
                  </a:cubicBezTo>
                  <a:cubicBezTo>
                    <a:pt x="496" y="214"/>
                    <a:pt x="501" y="201"/>
                    <a:pt x="511" y="191"/>
                  </a:cubicBezTo>
                  <a:cubicBezTo>
                    <a:pt x="514" y="188"/>
                    <a:pt x="517" y="184"/>
                    <a:pt x="519" y="181"/>
                  </a:cubicBezTo>
                  <a:cubicBezTo>
                    <a:pt x="520" y="179"/>
                    <a:pt x="520" y="178"/>
                    <a:pt x="520" y="176"/>
                  </a:cubicBezTo>
                  <a:cubicBezTo>
                    <a:pt x="519" y="172"/>
                    <a:pt x="519" y="172"/>
                    <a:pt x="523" y="172"/>
                  </a:cubicBezTo>
                  <a:cubicBezTo>
                    <a:pt x="528" y="171"/>
                    <a:pt x="530" y="168"/>
                    <a:pt x="533" y="164"/>
                  </a:cubicBezTo>
                  <a:cubicBezTo>
                    <a:pt x="534" y="163"/>
                    <a:pt x="533" y="159"/>
                    <a:pt x="531" y="159"/>
                  </a:cubicBezTo>
                  <a:cubicBezTo>
                    <a:pt x="529" y="158"/>
                    <a:pt x="528" y="158"/>
                    <a:pt x="526" y="157"/>
                  </a:cubicBezTo>
                  <a:cubicBezTo>
                    <a:pt x="524" y="157"/>
                    <a:pt x="522" y="157"/>
                    <a:pt x="520" y="157"/>
                  </a:cubicBezTo>
                  <a:cubicBezTo>
                    <a:pt x="519" y="157"/>
                    <a:pt x="519" y="156"/>
                    <a:pt x="519" y="156"/>
                  </a:cubicBezTo>
                  <a:cubicBezTo>
                    <a:pt x="520" y="155"/>
                    <a:pt x="520" y="154"/>
                    <a:pt x="521" y="153"/>
                  </a:cubicBezTo>
                  <a:cubicBezTo>
                    <a:pt x="524" y="152"/>
                    <a:pt x="526" y="153"/>
                    <a:pt x="529" y="154"/>
                  </a:cubicBezTo>
                  <a:cubicBezTo>
                    <a:pt x="533" y="156"/>
                    <a:pt x="537" y="155"/>
                    <a:pt x="541" y="153"/>
                  </a:cubicBezTo>
                  <a:cubicBezTo>
                    <a:pt x="543" y="152"/>
                    <a:pt x="544" y="152"/>
                    <a:pt x="546" y="151"/>
                  </a:cubicBezTo>
                  <a:cubicBezTo>
                    <a:pt x="547" y="150"/>
                    <a:pt x="548" y="148"/>
                    <a:pt x="547" y="147"/>
                  </a:cubicBezTo>
                  <a:cubicBezTo>
                    <a:pt x="547" y="146"/>
                    <a:pt x="547" y="145"/>
                    <a:pt x="547" y="144"/>
                  </a:cubicBezTo>
                  <a:cubicBezTo>
                    <a:pt x="547" y="142"/>
                    <a:pt x="548" y="140"/>
                    <a:pt x="550" y="141"/>
                  </a:cubicBezTo>
                  <a:cubicBezTo>
                    <a:pt x="554" y="141"/>
                    <a:pt x="557" y="141"/>
                    <a:pt x="560" y="137"/>
                  </a:cubicBezTo>
                  <a:cubicBezTo>
                    <a:pt x="561" y="136"/>
                    <a:pt x="563" y="134"/>
                    <a:pt x="565" y="133"/>
                  </a:cubicBezTo>
                  <a:cubicBezTo>
                    <a:pt x="573" y="128"/>
                    <a:pt x="573" y="124"/>
                    <a:pt x="567" y="117"/>
                  </a:cubicBezTo>
                  <a:cubicBezTo>
                    <a:pt x="566" y="116"/>
                    <a:pt x="565" y="115"/>
                    <a:pt x="564" y="114"/>
                  </a:cubicBezTo>
                  <a:cubicBezTo>
                    <a:pt x="558" y="107"/>
                    <a:pt x="549" y="104"/>
                    <a:pt x="540" y="104"/>
                  </a:cubicBezTo>
                  <a:cubicBezTo>
                    <a:pt x="534" y="104"/>
                    <a:pt x="529" y="106"/>
                    <a:pt x="524" y="107"/>
                  </a:cubicBezTo>
                  <a:cubicBezTo>
                    <a:pt x="523" y="107"/>
                    <a:pt x="522" y="108"/>
                    <a:pt x="521" y="109"/>
                  </a:cubicBezTo>
                  <a:cubicBezTo>
                    <a:pt x="521" y="111"/>
                    <a:pt x="521" y="112"/>
                    <a:pt x="520" y="114"/>
                  </a:cubicBezTo>
                  <a:cubicBezTo>
                    <a:pt x="519" y="116"/>
                    <a:pt x="517" y="116"/>
                    <a:pt x="514" y="116"/>
                  </a:cubicBezTo>
                  <a:cubicBezTo>
                    <a:pt x="512" y="116"/>
                    <a:pt x="510" y="115"/>
                    <a:pt x="509" y="113"/>
                  </a:cubicBezTo>
                  <a:cubicBezTo>
                    <a:pt x="507" y="112"/>
                    <a:pt x="506" y="112"/>
                    <a:pt x="505" y="114"/>
                  </a:cubicBezTo>
                  <a:cubicBezTo>
                    <a:pt x="499" y="123"/>
                    <a:pt x="491" y="127"/>
                    <a:pt x="481" y="130"/>
                  </a:cubicBezTo>
                  <a:cubicBezTo>
                    <a:pt x="476" y="131"/>
                    <a:pt x="471" y="132"/>
                    <a:pt x="467" y="136"/>
                  </a:cubicBezTo>
                  <a:cubicBezTo>
                    <a:pt x="467" y="136"/>
                    <a:pt x="467" y="136"/>
                    <a:pt x="467" y="136"/>
                  </a:cubicBezTo>
                  <a:cubicBezTo>
                    <a:pt x="465" y="137"/>
                    <a:pt x="464" y="138"/>
                    <a:pt x="463" y="139"/>
                  </a:cubicBezTo>
                  <a:cubicBezTo>
                    <a:pt x="462" y="140"/>
                    <a:pt x="461" y="141"/>
                    <a:pt x="460" y="142"/>
                  </a:cubicBezTo>
                  <a:cubicBezTo>
                    <a:pt x="459" y="143"/>
                    <a:pt x="459" y="143"/>
                    <a:pt x="459" y="143"/>
                  </a:cubicBezTo>
                  <a:cubicBezTo>
                    <a:pt x="459" y="142"/>
                    <a:pt x="459" y="142"/>
                    <a:pt x="459" y="142"/>
                  </a:cubicBezTo>
                  <a:cubicBezTo>
                    <a:pt x="460" y="141"/>
                    <a:pt x="462" y="140"/>
                    <a:pt x="463" y="139"/>
                  </a:cubicBezTo>
                  <a:cubicBezTo>
                    <a:pt x="464" y="138"/>
                    <a:pt x="465" y="137"/>
                    <a:pt x="466" y="136"/>
                  </a:cubicBezTo>
                  <a:cubicBezTo>
                    <a:pt x="466" y="136"/>
                    <a:pt x="466" y="136"/>
                    <a:pt x="467" y="136"/>
                  </a:cubicBezTo>
                  <a:cubicBezTo>
                    <a:pt x="467" y="134"/>
                    <a:pt x="467" y="133"/>
                    <a:pt x="468" y="132"/>
                  </a:cubicBezTo>
                  <a:cubicBezTo>
                    <a:pt x="471" y="128"/>
                    <a:pt x="475" y="124"/>
                    <a:pt x="480" y="122"/>
                  </a:cubicBezTo>
                  <a:cubicBezTo>
                    <a:pt x="486" y="120"/>
                    <a:pt x="490" y="116"/>
                    <a:pt x="493" y="110"/>
                  </a:cubicBezTo>
                  <a:cubicBezTo>
                    <a:pt x="493" y="109"/>
                    <a:pt x="494" y="107"/>
                    <a:pt x="495" y="106"/>
                  </a:cubicBezTo>
                  <a:cubicBezTo>
                    <a:pt x="500" y="94"/>
                    <a:pt x="493" y="91"/>
                    <a:pt x="484" y="92"/>
                  </a:cubicBezTo>
                  <a:cubicBezTo>
                    <a:pt x="483" y="92"/>
                    <a:pt x="482" y="92"/>
                    <a:pt x="482" y="93"/>
                  </a:cubicBezTo>
                  <a:cubicBezTo>
                    <a:pt x="481" y="93"/>
                    <a:pt x="480" y="94"/>
                    <a:pt x="479" y="94"/>
                  </a:cubicBezTo>
                  <a:cubicBezTo>
                    <a:pt x="478" y="97"/>
                    <a:pt x="478" y="99"/>
                    <a:pt x="477" y="102"/>
                  </a:cubicBezTo>
                  <a:cubicBezTo>
                    <a:pt x="475" y="105"/>
                    <a:pt x="472" y="107"/>
                    <a:pt x="469" y="107"/>
                  </a:cubicBezTo>
                  <a:cubicBezTo>
                    <a:pt x="468" y="107"/>
                    <a:pt x="468" y="107"/>
                    <a:pt x="467" y="107"/>
                  </a:cubicBezTo>
                  <a:cubicBezTo>
                    <a:pt x="461" y="104"/>
                    <a:pt x="456" y="106"/>
                    <a:pt x="450" y="106"/>
                  </a:cubicBezTo>
                  <a:cubicBezTo>
                    <a:pt x="449" y="106"/>
                    <a:pt x="449" y="106"/>
                    <a:pt x="449" y="105"/>
                  </a:cubicBezTo>
                  <a:cubicBezTo>
                    <a:pt x="449" y="105"/>
                    <a:pt x="449" y="104"/>
                    <a:pt x="449" y="104"/>
                  </a:cubicBezTo>
                  <a:cubicBezTo>
                    <a:pt x="452" y="103"/>
                    <a:pt x="455" y="102"/>
                    <a:pt x="458" y="101"/>
                  </a:cubicBezTo>
                  <a:cubicBezTo>
                    <a:pt x="461" y="100"/>
                    <a:pt x="463" y="98"/>
                    <a:pt x="464" y="95"/>
                  </a:cubicBezTo>
                  <a:cubicBezTo>
                    <a:pt x="464" y="93"/>
                    <a:pt x="463" y="90"/>
                    <a:pt x="461" y="90"/>
                  </a:cubicBezTo>
                  <a:cubicBezTo>
                    <a:pt x="458" y="89"/>
                    <a:pt x="454" y="88"/>
                    <a:pt x="450" y="87"/>
                  </a:cubicBezTo>
                  <a:cubicBezTo>
                    <a:pt x="434" y="84"/>
                    <a:pt x="428" y="85"/>
                    <a:pt x="412" y="91"/>
                  </a:cubicBezTo>
                  <a:cubicBezTo>
                    <a:pt x="410" y="92"/>
                    <a:pt x="408" y="93"/>
                    <a:pt x="406" y="93"/>
                  </a:cubicBezTo>
                  <a:cubicBezTo>
                    <a:pt x="402" y="94"/>
                    <a:pt x="399" y="95"/>
                    <a:pt x="396" y="96"/>
                  </a:cubicBezTo>
                  <a:cubicBezTo>
                    <a:pt x="396" y="96"/>
                    <a:pt x="395" y="95"/>
                    <a:pt x="394" y="94"/>
                  </a:cubicBezTo>
                  <a:cubicBezTo>
                    <a:pt x="394" y="94"/>
                    <a:pt x="394" y="93"/>
                    <a:pt x="395" y="93"/>
                  </a:cubicBezTo>
                  <a:cubicBezTo>
                    <a:pt x="396" y="92"/>
                    <a:pt x="398" y="91"/>
                    <a:pt x="400" y="90"/>
                  </a:cubicBezTo>
                  <a:cubicBezTo>
                    <a:pt x="406" y="88"/>
                    <a:pt x="412" y="86"/>
                    <a:pt x="417" y="84"/>
                  </a:cubicBezTo>
                  <a:cubicBezTo>
                    <a:pt x="427" y="79"/>
                    <a:pt x="437" y="79"/>
                    <a:pt x="448" y="82"/>
                  </a:cubicBezTo>
                  <a:cubicBezTo>
                    <a:pt x="455" y="84"/>
                    <a:pt x="462" y="84"/>
                    <a:pt x="469" y="83"/>
                  </a:cubicBezTo>
                  <a:cubicBezTo>
                    <a:pt x="476" y="83"/>
                    <a:pt x="482" y="81"/>
                    <a:pt x="489" y="81"/>
                  </a:cubicBezTo>
                  <a:cubicBezTo>
                    <a:pt x="496" y="80"/>
                    <a:pt x="502" y="76"/>
                    <a:pt x="507" y="72"/>
                  </a:cubicBezTo>
                  <a:cubicBezTo>
                    <a:pt x="510" y="70"/>
                    <a:pt x="511" y="64"/>
                    <a:pt x="508" y="62"/>
                  </a:cubicBezTo>
                  <a:cubicBezTo>
                    <a:pt x="504" y="59"/>
                    <a:pt x="500" y="56"/>
                    <a:pt x="496" y="54"/>
                  </a:cubicBezTo>
                  <a:cubicBezTo>
                    <a:pt x="489" y="49"/>
                    <a:pt x="482" y="47"/>
                    <a:pt x="475" y="51"/>
                  </a:cubicBezTo>
                  <a:cubicBezTo>
                    <a:pt x="474" y="51"/>
                    <a:pt x="472" y="51"/>
                    <a:pt x="471" y="51"/>
                  </a:cubicBezTo>
                  <a:cubicBezTo>
                    <a:pt x="471" y="51"/>
                    <a:pt x="470" y="51"/>
                    <a:pt x="470" y="50"/>
                  </a:cubicBezTo>
                  <a:cubicBezTo>
                    <a:pt x="470" y="50"/>
                    <a:pt x="470" y="49"/>
                    <a:pt x="471" y="49"/>
                  </a:cubicBezTo>
                  <a:cubicBezTo>
                    <a:pt x="472" y="48"/>
                    <a:pt x="474" y="48"/>
                    <a:pt x="475" y="47"/>
                  </a:cubicBezTo>
                  <a:cubicBezTo>
                    <a:pt x="479" y="45"/>
                    <a:pt x="480" y="41"/>
                    <a:pt x="478" y="36"/>
                  </a:cubicBezTo>
                  <a:cubicBezTo>
                    <a:pt x="477" y="35"/>
                    <a:pt x="474" y="33"/>
                    <a:pt x="472" y="34"/>
                  </a:cubicBezTo>
                  <a:cubicBezTo>
                    <a:pt x="462" y="37"/>
                    <a:pt x="452" y="37"/>
                    <a:pt x="442" y="33"/>
                  </a:cubicBezTo>
                  <a:cubicBezTo>
                    <a:pt x="439" y="32"/>
                    <a:pt x="435" y="32"/>
                    <a:pt x="432" y="32"/>
                  </a:cubicBezTo>
                  <a:cubicBezTo>
                    <a:pt x="428" y="32"/>
                    <a:pt x="424" y="33"/>
                    <a:pt x="421" y="34"/>
                  </a:cubicBezTo>
                  <a:cubicBezTo>
                    <a:pt x="415" y="35"/>
                    <a:pt x="410" y="36"/>
                    <a:pt x="404" y="35"/>
                  </a:cubicBezTo>
                  <a:cubicBezTo>
                    <a:pt x="401" y="34"/>
                    <a:pt x="397" y="35"/>
                    <a:pt x="393" y="37"/>
                  </a:cubicBezTo>
                  <a:cubicBezTo>
                    <a:pt x="392" y="38"/>
                    <a:pt x="390" y="38"/>
                    <a:pt x="389" y="38"/>
                  </a:cubicBezTo>
                  <a:cubicBezTo>
                    <a:pt x="388" y="38"/>
                    <a:pt x="388" y="38"/>
                    <a:pt x="387" y="37"/>
                  </a:cubicBezTo>
                  <a:cubicBezTo>
                    <a:pt x="387" y="37"/>
                    <a:pt x="387" y="36"/>
                    <a:pt x="388" y="36"/>
                  </a:cubicBezTo>
                  <a:cubicBezTo>
                    <a:pt x="389" y="35"/>
                    <a:pt x="391" y="34"/>
                    <a:pt x="393" y="34"/>
                  </a:cubicBezTo>
                  <a:cubicBezTo>
                    <a:pt x="398" y="33"/>
                    <a:pt x="402" y="34"/>
                    <a:pt x="406" y="33"/>
                  </a:cubicBezTo>
                  <a:cubicBezTo>
                    <a:pt x="414" y="30"/>
                    <a:pt x="423" y="30"/>
                    <a:pt x="431" y="30"/>
                  </a:cubicBezTo>
                  <a:cubicBezTo>
                    <a:pt x="437" y="29"/>
                    <a:pt x="444" y="29"/>
                    <a:pt x="450" y="31"/>
                  </a:cubicBezTo>
                  <a:cubicBezTo>
                    <a:pt x="457" y="33"/>
                    <a:pt x="462" y="31"/>
                    <a:pt x="468" y="28"/>
                  </a:cubicBezTo>
                  <a:cubicBezTo>
                    <a:pt x="468" y="27"/>
                    <a:pt x="469" y="26"/>
                    <a:pt x="468" y="25"/>
                  </a:cubicBezTo>
                  <a:cubicBezTo>
                    <a:pt x="465" y="19"/>
                    <a:pt x="459" y="16"/>
                    <a:pt x="453" y="14"/>
                  </a:cubicBezTo>
                  <a:cubicBezTo>
                    <a:pt x="441" y="12"/>
                    <a:pt x="430" y="7"/>
                    <a:pt x="418" y="4"/>
                  </a:cubicBezTo>
                  <a:cubicBezTo>
                    <a:pt x="413" y="2"/>
                    <a:pt x="407" y="2"/>
                    <a:pt x="402" y="1"/>
                  </a:cubicBezTo>
                  <a:cubicBezTo>
                    <a:pt x="396" y="0"/>
                    <a:pt x="390" y="3"/>
                    <a:pt x="384" y="3"/>
                  </a:cubicBezTo>
                  <a:cubicBezTo>
                    <a:pt x="379" y="5"/>
                    <a:pt x="377" y="9"/>
                    <a:pt x="374" y="13"/>
                  </a:cubicBezTo>
                  <a:cubicBezTo>
                    <a:pt x="374" y="13"/>
                    <a:pt x="374" y="13"/>
                    <a:pt x="373" y="14"/>
                  </a:cubicBezTo>
                  <a:cubicBezTo>
                    <a:pt x="373" y="14"/>
                    <a:pt x="373" y="14"/>
                    <a:pt x="373" y="14"/>
                  </a:cubicBezTo>
                  <a:cubicBezTo>
                    <a:pt x="373" y="14"/>
                    <a:pt x="373" y="14"/>
                    <a:pt x="373" y="14"/>
                  </a:cubicBezTo>
                  <a:cubicBezTo>
                    <a:pt x="373" y="14"/>
                    <a:pt x="373" y="14"/>
                    <a:pt x="373" y="14"/>
                  </a:cubicBezTo>
                  <a:cubicBezTo>
                    <a:pt x="373" y="15"/>
                    <a:pt x="373" y="16"/>
                    <a:pt x="373" y="17"/>
                  </a:cubicBezTo>
                  <a:cubicBezTo>
                    <a:pt x="373" y="17"/>
                    <a:pt x="373" y="17"/>
                    <a:pt x="373" y="17"/>
                  </a:cubicBezTo>
                  <a:cubicBezTo>
                    <a:pt x="374" y="18"/>
                    <a:pt x="374" y="18"/>
                    <a:pt x="374" y="18"/>
                  </a:cubicBezTo>
                  <a:cubicBezTo>
                    <a:pt x="373" y="17"/>
                    <a:pt x="373" y="17"/>
                    <a:pt x="373" y="17"/>
                  </a:cubicBezTo>
                  <a:cubicBezTo>
                    <a:pt x="373" y="17"/>
                    <a:pt x="373" y="17"/>
                    <a:pt x="373" y="17"/>
                  </a:cubicBezTo>
                  <a:cubicBezTo>
                    <a:pt x="369" y="17"/>
                    <a:pt x="366" y="15"/>
                    <a:pt x="363" y="13"/>
                  </a:cubicBezTo>
                  <a:cubicBezTo>
                    <a:pt x="362" y="12"/>
                    <a:pt x="361" y="12"/>
                    <a:pt x="360" y="13"/>
                  </a:cubicBezTo>
                  <a:cubicBezTo>
                    <a:pt x="360" y="14"/>
                    <a:pt x="360" y="14"/>
                    <a:pt x="360" y="15"/>
                  </a:cubicBezTo>
                  <a:cubicBezTo>
                    <a:pt x="360" y="16"/>
                    <a:pt x="361" y="18"/>
                    <a:pt x="361" y="19"/>
                  </a:cubicBezTo>
                  <a:cubicBezTo>
                    <a:pt x="362" y="20"/>
                    <a:pt x="361" y="21"/>
                    <a:pt x="360" y="22"/>
                  </a:cubicBezTo>
                  <a:cubicBezTo>
                    <a:pt x="359" y="22"/>
                    <a:pt x="358" y="23"/>
                    <a:pt x="357" y="22"/>
                  </a:cubicBezTo>
                  <a:cubicBezTo>
                    <a:pt x="353" y="21"/>
                    <a:pt x="348" y="19"/>
                    <a:pt x="344" y="16"/>
                  </a:cubicBezTo>
                  <a:cubicBezTo>
                    <a:pt x="341" y="14"/>
                    <a:pt x="338" y="14"/>
                    <a:pt x="335" y="16"/>
                  </a:cubicBezTo>
                  <a:cubicBezTo>
                    <a:pt x="333" y="18"/>
                    <a:pt x="330" y="19"/>
                    <a:pt x="326" y="19"/>
                  </a:cubicBezTo>
                  <a:cubicBezTo>
                    <a:pt x="324" y="19"/>
                    <a:pt x="323" y="21"/>
                    <a:pt x="323" y="22"/>
                  </a:cubicBezTo>
                  <a:cubicBezTo>
                    <a:pt x="323" y="26"/>
                    <a:pt x="323" y="29"/>
                    <a:pt x="322" y="33"/>
                  </a:cubicBezTo>
                  <a:cubicBezTo>
                    <a:pt x="322" y="35"/>
                    <a:pt x="321" y="37"/>
                    <a:pt x="319" y="38"/>
                  </a:cubicBezTo>
                  <a:cubicBezTo>
                    <a:pt x="318" y="39"/>
                    <a:pt x="316" y="41"/>
                    <a:pt x="315" y="42"/>
                  </a:cubicBezTo>
                  <a:cubicBezTo>
                    <a:pt x="314" y="43"/>
                    <a:pt x="313" y="43"/>
                    <a:pt x="312" y="43"/>
                  </a:cubicBezTo>
                  <a:cubicBezTo>
                    <a:pt x="308" y="41"/>
                    <a:pt x="305" y="39"/>
                    <a:pt x="301" y="39"/>
                  </a:cubicBezTo>
                  <a:cubicBezTo>
                    <a:pt x="300" y="39"/>
                    <a:pt x="298" y="41"/>
                    <a:pt x="298" y="42"/>
                  </a:cubicBezTo>
                  <a:cubicBezTo>
                    <a:pt x="297" y="44"/>
                    <a:pt x="297" y="45"/>
                    <a:pt x="297" y="47"/>
                  </a:cubicBezTo>
                  <a:cubicBezTo>
                    <a:pt x="298" y="52"/>
                    <a:pt x="299" y="58"/>
                    <a:pt x="301" y="64"/>
                  </a:cubicBezTo>
                  <a:cubicBezTo>
                    <a:pt x="303" y="71"/>
                    <a:pt x="303" y="78"/>
                    <a:pt x="306" y="85"/>
                  </a:cubicBezTo>
                  <a:cubicBezTo>
                    <a:pt x="307" y="86"/>
                    <a:pt x="305" y="88"/>
                    <a:pt x="304" y="87"/>
                  </a:cubicBezTo>
                  <a:cubicBezTo>
                    <a:pt x="301" y="87"/>
                    <a:pt x="298" y="88"/>
                    <a:pt x="297" y="84"/>
                  </a:cubicBezTo>
                  <a:cubicBezTo>
                    <a:pt x="296" y="82"/>
                    <a:pt x="295" y="80"/>
                    <a:pt x="292" y="79"/>
                  </a:cubicBezTo>
                  <a:cubicBezTo>
                    <a:pt x="291" y="79"/>
                    <a:pt x="291" y="78"/>
                    <a:pt x="292" y="77"/>
                  </a:cubicBezTo>
                  <a:cubicBezTo>
                    <a:pt x="295" y="75"/>
                    <a:pt x="296" y="73"/>
                    <a:pt x="293" y="71"/>
                  </a:cubicBezTo>
                  <a:cubicBezTo>
                    <a:pt x="290" y="69"/>
                    <a:pt x="288" y="68"/>
                    <a:pt x="287" y="64"/>
                  </a:cubicBezTo>
                  <a:cubicBezTo>
                    <a:pt x="285" y="59"/>
                    <a:pt x="283" y="55"/>
                    <a:pt x="281" y="50"/>
                  </a:cubicBezTo>
                  <a:cubicBezTo>
                    <a:pt x="279" y="47"/>
                    <a:pt x="277" y="45"/>
                    <a:pt x="274" y="43"/>
                  </a:cubicBezTo>
                  <a:cubicBezTo>
                    <a:pt x="271" y="42"/>
                    <a:pt x="268" y="43"/>
                    <a:pt x="267" y="45"/>
                  </a:cubicBezTo>
                  <a:cubicBezTo>
                    <a:pt x="266" y="46"/>
                    <a:pt x="266" y="47"/>
                    <a:pt x="266" y="48"/>
                  </a:cubicBezTo>
                  <a:cubicBezTo>
                    <a:pt x="263" y="54"/>
                    <a:pt x="264" y="61"/>
                    <a:pt x="264" y="67"/>
                  </a:cubicBezTo>
                  <a:cubicBezTo>
                    <a:pt x="264" y="69"/>
                    <a:pt x="264" y="72"/>
                    <a:pt x="262" y="74"/>
                  </a:cubicBezTo>
                  <a:cubicBezTo>
                    <a:pt x="261" y="77"/>
                    <a:pt x="257" y="75"/>
                    <a:pt x="255" y="75"/>
                  </a:cubicBezTo>
                  <a:cubicBezTo>
                    <a:pt x="254" y="75"/>
                    <a:pt x="254" y="75"/>
                    <a:pt x="253" y="75"/>
                  </a:cubicBezTo>
                  <a:cubicBezTo>
                    <a:pt x="252" y="76"/>
                    <a:pt x="251" y="76"/>
                    <a:pt x="250" y="77"/>
                  </a:cubicBezTo>
                  <a:cubicBezTo>
                    <a:pt x="249" y="78"/>
                    <a:pt x="248" y="76"/>
                    <a:pt x="247" y="75"/>
                  </a:cubicBezTo>
                  <a:cubicBezTo>
                    <a:pt x="246" y="72"/>
                    <a:pt x="250" y="70"/>
                    <a:pt x="249" y="68"/>
                  </a:cubicBezTo>
                  <a:cubicBezTo>
                    <a:pt x="247" y="63"/>
                    <a:pt x="248" y="57"/>
                    <a:pt x="248" y="52"/>
                  </a:cubicBezTo>
                  <a:cubicBezTo>
                    <a:pt x="248" y="51"/>
                    <a:pt x="247" y="49"/>
                    <a:pt x="247" y="48"/>
                  </a:cubicBezTo>
                  <a:cubicBezTo>
                    <a:pt x="246" y="47"/>
                    <a:pt x="246" y="47"/>
                    <a:pt x="246" y="47"/>
                  </a:cubicBezTo>
                  <a:cubicBezTo>
                    <a:pt x="245" y="47"/>
                    <a:pt x="243" y="47"/>
                    <a:pt x="243" y="48"/>
                  </a:cubicBezTo>
                  <a:cubicBezTo>
                    <a:pt x="241" y="50"/>
                    <a:pt x="241" y="53"/>
                    <a:pt x="241" y="55"/>
                  </a:cubicBezTo>
                  <a:cubicBezTo>
                    <a:pt x="241" y="58"/>
                    <a:pt x="241" y="61"/>
                    <a:pt x="241" y="63"/>
                  </a:cubicBezTo>
                  <a:cubicBezTo>
                    <a:pt x="240" y="65"/>
                    <a:pt x="237" y="67"/>
                    <a:pt x="236" y="69"/>
                  </a:cubicBezTo>
                  <a:cubicBezTo>
                    <a:pt x="235" y="69"/>
                    <a:pt x="235" y="70"/>
                    <a:pt x="235" y="70"/>
                  </a:cubicBezTo>
                  <a:cubicBezTo>
                    <a:pt x="235" y="70"/>
                    <a:pt x="235" y="70"/>
                    <a:pt x="235" y="71"/>
                  </a:cubicBezTo>
                  <a:cubicBezTo>
                    <a:pt x="234" y="71"/>
                    <a:pt x="233" y="72"/>
                    <a:pt x="231" y="73"/>
                  </a:cubicBezTo>
                  <a:cubicBezTo>
                    <a:pt x="230" y="74"/>
                    <a:pt x="229" y="75"/>
                    <a:pt x="227" y="77"/>
                  </a:cubicBezTo>
                  <a:cubicBezTo>
                    <a:pt x="227" y="77"/>
                    <a:pt x="227" y="77"/>
                    <a:pt x="227" y="77"/>
                  </a:cubicBezTo>
                  <a:cubicBezTo>
                    <a:pt x="227" y="78"/>
                    <a:pt x="227" y="78"/>
                    <a:pt x="227" y="79"/>
                  </a:cubicBezTo>
                  <a:cubicBezTo>
                    <a:pt x="226" y="78"/>
                    <a:pt x="226" y="78"/>
                    <a:pt x="227" y="77"/>
                  </a:cubicBezTo>
                  <a:cubicBezTo>
                    <a:pt x="227" y="77"/>
                    <a:pt x="227" y="77"/>
                    <a:pt x="227" y="76"/>
                  </a:cubicBezTo>
                  <a:cubicBezTo>
                    <a:pt x="228" y="75"/>
                    <a:pt x="230" y="74"/>
                    <a:pt x="231" y="73"/>
                  </a:cubicBezTo>
                  <a:cubicBezTo>
                    <a:pt x="232" y="72"/>
                    <a:pt x="233" y="71"/>
                    <a:pt x="235" y="70"/>
                  </a:cubicBezTo>
                  <a:cubicBezTo>
                    <a:pt x="235" y="70"/>
                    <a:pt x="235" y="70"/>
                    <a:pt x="235" y="70"/>
                  </a:cubicBezTo>
                  <a:cubicBezTo>
                    <a:pt x="234" y="68"/>
                    <a:pt x="233" y="67"/>
                    <a:pt x="234" y="65"/>
                  </a:cubicBezTo>
                  <a:cubicBezTo>
                    <a:pt x="235" y="61"/>
                    <a:pt x="237" y="58"/>
                    <a:pt x="237" y="54"/>
                  </a:cubicBezTo>
                  <a:cubicBezTo>
                    <a:pt x="238" y="51"/>
                    <a:pt x="239" y="47"/>
                    <a:pt x="238" y="44"/>
                  </a:cubicBezTo>
                  <a:cubicBezTo>
                    <a:pt x="238" y="42"/>
                    <a:pt x="235" y="40"/>
                    <a:pt x="233" y="40"/>
                  </a:cubicBezTo>
                  <a:cubicBezTo>
                    <a:pt x="231" y="41"/>
                    <a:pt x="228" y="41"/>
                    <a:pt x="225" y="42"/>
                  </a:cubicBezTo>
                  <a:cubicBezTo>
                    <a:pt x="220" y="44"/>
                    <a:pt x="215" y="45"/>
                    <a:pt x="209" y="46"/>
                  </a:cubicBezTo>
                  <a:cubicBezTo>
                    <a:pt x="202" y="47"/>
                    <a:pt x="194" y="47"/>
                    <a:pt x="187" y="48"/>
                  </a:cubicBezTo>
                  <a:cubicBezTo>
                    <a:pt x="184" y="48"/>
                    <a:pt x="182" y="50"/>
                    <a:pt x="182" y="53"/>
                  </a:cubicBezTo>
                  <a:cubicBezTo>
                    <a:pt x="182" y="54"/>
                    <a:pt x="182" y="56"/>
                    <a:pt x="182" y="58"/>
                  </a:cubicBezTo>
                  <a:cubicBezTo>
                    <a:pt x="182" y="58"/>
                    <a:pt x="181" y="59"/>
                    <a:pt x="181" y="59"/>
                  </a:cubicBezTo>
                  <a:cubicBezTo>
                    <a:pt x="180" y="59"/>
                    <a:pt x="180" y="58"/>
                    <a:pt x="180" y="58"/>
                  </a:cubicBezTo>
                  <a:cubicBezTo>
                    <a:pt x="178" y="57"/>
                    <a:pt x="177" y="54"/>
                    <a:pt x="175" y="53"/>
                  </a:cubicBezTo>
                  <a:cubicBezTo>
                    <a:pt x="173" y="52"/>
                    <a:pt x="170" y="54"/>
                    <a:pt x="168" y="55"/>
                  </a:cubicBezTo>
                  <a:cubicBezTo>
                    <a:pt x="165" y="56"/>
                    <a:pt x="163" y="58"/>
                    <a:pt x="162" y="60"/>
                  </a:cubicBezTo>
                  <a:cubicBezTo>
                    <a:pt x="162" y="62"/>
                    <a:pt x="162" y="63"/>
                    <a:pt x="161" y="65"/>
                  </a:cubicBezTo>
                  <a:cubicBezTo>
                    <a:pt x="161" y="68"/>
                    <a:pt x="161" y="71"/>
                    <a:pt x="160" y="74"/>
                  </a:cubicBezTo>
                  <a:cubicBezTo>
                    <a:pt x="158" y="77"/>
                    <a:pt x="156" y="78"/>
                    <a:pt x="153" y="81"/>
                  </a:cubicBezTo>
                  <a:cubicBezTo>
                    <a:pt x="153" y="82"/>
                    <a:pt x="152" y="82"/>
                    <a:pt x="151" y="83"/>
                  </a:cubicBezTo>
                  <a:cubicBezTo>
                    <a:pt x="150" y="85"/>
                    <a:pt x="147" y="86"/>
                    <a:pt x="146" y="84"/>
                  </a:cubicBezTo>
                  <a:cubicBezTo>
                    <a:pt x="142" y="81"/>
                    <a:pt x="139" y="80"/>
                    <a:pt x="134" y="81"/>
                  </a:cubicBezTo>
                  <a:cubicBezTo>
                    <a:pt x="128" y="82"/>
                    <a:pt x="123" y="84"/>
                    <a:pt x="120" y="88"/>
                  </a:cubicBezTo>
                  <a:cubicBezTo>
                    <a:pt x="116" y="93"/>
                    <a:pt x="111" y="95"/>
                    <a:pt x="105" y="95"/>
                  </a:cubicBezTo>
                  <a:cubicBezTo>
                    <a:pt x="104" y="96"/>
                    <a:pt x="104" y="97"/>
                    <a:pt x="102" y="98"/>
                  </a:cubicBezTo>
                  <a:cubicBezTo>
                    <a:pt x="97" y="102"/>
                    <a:pt x="94" y="107"/>
                    <a:pt x="90" y="112"/>
                  </a:cubicBezTo>
                  <a:cubicBezTo>
                    <a:pt x="88" y="116"/>
                    <a:pt x="89" y="119"/>
                    <a:pt x="93" y="121"/>
                  </a:cubicBezTo>
                  <a:cubicBezTo>
                    <a:pt x="97" y="122"/>
                    <a:pt x="101" y="123"/>
                    <a:pt x="105" y="124"/>
                  </a:cubicBezTo>
                  <a:cubicBezTo>
                    <a:pt x="105" y="124"/>
                    <a:pt x="105" y="124"/>
                    <a:pt x="105" y="124"/>
                  </a:cubicBezTo>
                  <a:cubicBezTo>
                    <a:pt x="106" y="123"/>
                    <a:pt x="106" y="123"/>
                    <a:pt x="106" y="123"/>
                  </a:cubicBezTo>
                  <a:cubicBezTo>
                    <a:pt x="105" y="124"/>
                    <a:pt x="105" y="124"/>
                    <a:pt x="105" y="124"/>
                  </a:cubicBezTo>
                  <a:cubicBezTo>
                    <a:pt x="105" y="124"/>
                    <a:pt x="105" y="124"/>
                    <a:pt x="105" y="124"/>
                  </a:cubicBezTo>
                  <a:cubicBezTo>
                    <a:pt x="106" y="125"/>
                    <a:pt x="106" y="126"/>
                    <a:pt x="106" y="127"/>
                  </a:cubicBezTo>
                  <a:cubicBezTo>
                    <a:pt x="107" y="128"/>
                    <a:pt x="107" y="130"/>
                    <a:pt x="105" y="131"/>
                  </a:cubicBezTo>
                  <a:cubicBezTo>
                    <a:pt x="103" y="132"/>
                    <a:pt x="101" y="134"/>
                    <a:pt x="100" y="137"/>
                  </a:cubicBezTo>
                  <a:cubicBezTo>
                    <a:pt x="100" y="139"/>
                    <a:pt x="99" y="141"/>
                    <a:pt x="97" y="142"/>
                  </a:cubicBezTo>
                  <a:cubicBezTo>
                    <a:pt x="94" y="146"/>
                    <a:pt x="91" y="149"/>
                    <a:pt x="87" y="152"/>
                  </a:cubicBezTo>
                  <a:cubicBezTo>
                    <a:pt x="86" y="154"/>
                    <a:pt x="83" y="155"/>
                    <a:pt x="81" y="154"/>
                  </a:cubicBezTo>
                  <a:cubicBezTo>
                    <a:pt x="75" y="151"/>
                    <a:pt x="67" y="152"/>
                    <a:pt x="60" y="152"/>
                  </a:cubicBezTo>
                  <a:cubicBezTo>
                    <a:pt x="58" y="152"/>
                    <a:pt x="55" y="152"/>
                    <a:pt x="53" y="154"/>
                  </a:cubicBezTo>
                  <a:cubicBezTo>
                    <a:pt x="50" y="156"/>
                    <a:pt x="46" y="157"/>
                    <a:pt x="42" y="158"/>
                  </a:cubicBezTo>
                  <a:cubicBezTo>
                    <a:pt x="35" y="159"/>
                    <a:pt x="27" y="161"/>
                    <a:pt x="19" y="162"/>
                  </a:cubicBezTo>
                  <a:cubicBezTo>
                    <a:pt x="13" y="162"/>
                    <a:pt x="9" y="167"/>
                    <a:pt x="6" y="172"/>
                  </a:cubicBezTo>
                  <a:cubicBezTo>
                    <a:pt x="4" y="175"/>
                    <a:pt x="3" y="178"/>
                    <a:pt x="6" y="182"/>
                  </a:cubicBezTo>
                  <a:cubicBezTo>
                    <a:pt x="10" y="186"/>
                    <a:pt x="11" y="192"/>
                    <a:pt x="16" y="195"/>
                  </a:cubicBezTo>
                  <a:cubicBezTo>
                    <a:pt x="16" y="195"/>
                    <a:pt x="16" y="195"/>
                    <a:pt x="17" y="195"/>
                  </a:cubicBezTo>
                  <a:cubicBezTo>
                    <a:pt x="17" y="195"/>
                    <a:pt x="18" y="195"/>
                    <a:pt x="18" y="194"/>
                  </a:cubicBezTo>
                  <a:cubicBezTo>
                    <a:pt x="18" y="195"/>
                    <a:pt x="17" y="195"/>
                    <a:pt x="17" y="195"/>
                  </a:cubicBezTo>
                  <a:cubicBezTo>
                    <a:pt x="16" y="195"/>
                    <a:pt x="16" y="196"/>
                    <a:pt x="16" y="196"/>
                  </a:cubicBezTo>
                  <a:cubicBezTo>
                    <a:pt x="16" y="196"/>
                    <a:pt x="16" y="196"/>
                    <a:pt x="16" y="195"/>
                  </a:cubicBezTo>
                  <a:cubicBezTo>
                    <a:pt x="16" y="195"/>
                    <a:pt x="16" y="195"/>
                    <a:pt x="16" y="195"/>
                  </a:cubicBezTo>
                  <a:cubicBezTo>
                    <a:pt x="17" y="198"/>
                    <a:pt x="18" y="201"/>
                    <a:pt x="20" y="204"/>
                  </a:cubicBezTo>
                  <a:cubicBezTo>
                    <a:pt x="22" y="207"/>
                    <a:pt x="24" y="208"/>
                    <a:pt x="28" y="208"/>
                  </a:cubicBezTo>
                  <a:cubicBezTo>
                    <a:pt x="31" y="208"/>
                    <a:pt x="33" y="206"/>
                    <a:pt x="36" y="207"/>
                  </a:cubicBezTo>
                  <a:cubicBezTo>
                    <a:pt x="39" y="208"/>
                    <a:pt x="42" y="208"/>
                    <a:pt x="46" y="207"/>
                  </a:cubicBezTo>
                  <a:cubicBezTo>
                    <a:pt x="47" y="207"/>
                    <a:pt x="48" y="208"/>
                    <a:pt x="49" y="208"/>
                  </a:cubicBezTo>
                  <a:cubicBezTo>
                    <a:pt x="49" y="209"/>
                    <a:pt x="50" y="210"/>
                    <a:pt x="50" y="211"/>
                  </a:cubicBezTo>
                  <a:cubicBezTo>
                    <a:pt x="50" y="212"/>
                    <a:pt x="49" y="213"/>
                    <a:pt x="48" y="213"/>
                  </a:cubicBezTo>
                  <a:cubicBezTo>
                    <a:pt x="47" y="213"/>
                    <a:pt x="45" y="214"/>
                    <a:pt x="44" y="213"/>
                  </a:cubicBezTo>
                  <a:cubicBezTo>
                    <a:pt x="37" y="211"/>
                    <a:pt x="31" y="210"/>
                    <a:pt x="24" y="213"/>
                  </a:cubicBezTo>
                  <a:cubicBezTo>
                    <a:pt x="22" y="215"/>
                    <a:pt x="19" y="214"/>
                    <a:pt x="16" y="214"/>
                  </a:cubicBezTo>
                  <a:cubicBezTo>
                    <a:pt x="13" y="213"/>
                    <a:pt x="10" y="214"/>
                    <a:pt x="7" y="216"/>
                  </a:cubicBezTo>
                  <a:cubicBezTo>
                    <a:pt x="2" y="218"/>
                    <a:pt x="0" y="224"/>
                    <a:pt x="4" y="227"/>
                  </a:cubicBezTo>
                  <a:cubicBezTo>
                    <a:pt x="7" y="231"/>
                    <a:pt x="9" y="235"/>
                    <a:pt x="14" y="237"/>
                  </a:cubicBezTo>
                  <a:cubicBezTo>
                    <a:pt x="16" y="238"/>
                    <a:pt x="16" y="238"/>
                    <a:pt x="14" y="240"/>
                  </a:cubicBezTo>
                  <a:cubicBezTo>
                    <a:pt x="12" y="241"/>
                    <a:pt x="10" y="242"/>
                    <a:pt x="8" y="243"/>
                  </a:cubicBezTo>
                  <a:cubicBezTo>
                    <a:pt x="7" y="244"/>
                    <a:pt x="6" y="246"/>
                    <a:pt x="7" y="247"/>
                  </a:cubicBezTo>
                  <a:cubicBezTo>
                    <a:pt x="9" y="254"/>
                    <a:pt x="14" y="259"/>
                    <a:pt x="20" y="263"/>
                  </a:cubicBezTo>
                  <a:cubicBezTo>
                    <a:pt x="24" y="265"/>
                    <a:pt x="26" y="265"/>
                    <a:pt x="29" y="261"/>
                  </a:cubicBezTo>
                  <a:cubicBezTo>
                    <a:pt x="31" y="258"/>
                    <a:pt x="31" y="258"/>
                    <a:pt x="34" y="259"/>
                  </a:cubicBezTo>
                  <a:cubicBezTo>
                    <a:pt x="36" y="260"/>
                    <a:pt x="38" y="260"/>
                    <a:pt x="39" y="262"/>
                  </a:cubicBezTo>
                  <a:cubicBezTo>
                    <a:pt x="40" y="263"/>
                    <a:pt x="41" y="264"/>
                    <a:pt x="42" y="263"/>
                  </a:cubicBezTo>
                  <a:cubicBezTo>
                    <a:pt x="49" y="261"/>
                    <a:pt x="56" y="266"/>
                    <a:pt x="63" y="261"/>
                  </a:cubicBezTo>
                  <a:cubicBezTo>
                    <a:pt x="63" y="261"/>
                    <a:pt x="64" y="261"/>
                    <a:pt x="64" y="261"/>
                  </a:cubicBezTo>
                  <a:cubicBezTo>
                    <a:pt x="71" y="264"/>
                    <a:pt x="77" y="266"/>
                    <a:pt x="83" y="270"/>
                  </a:cubicBezTo>
                  <a:cubicBezTo>
                    <a:pt x="88" y="274"/>
                    <a:pt x="93" y="277"/>
                    <a:pt x="98" y="281"/>
                  </a:cubicBezTo>
                  <a:cubicBezTo>
                    <a:pt x="99" y="282"/>
                    <a:pt x="101" y="284"/>
                    <a:pt x="102" y="286"/>
                  </a:cubicBezTo>
                  <a:cubicBezTo>
                    <a:pt x="103" y="287"/>
                    <a:pt x="103" y="289"/>
                    <a:pt x="103" y="290"/>
                  </a:cubicBezTo>
                  <a:cubicBezTo>
                    <a:pt x="103" y="292"/>
                    <a:pt x="102" y="295"/>
                    <a:pt x="101" y="297"/>
                  </a:cubicBezTo>
                  <a:cubicBezTo>
                    <a:pt x="98" y="302"/>
                    <a:pt x="99" y="305"/>
                    <a:pt x="102" y="309"/>
                  </a:cubicBezTo>
                  <a:cubicBezTo>
                    <a:pt x="103" y="310"/>
                    <a:pt x="104" y="312"/>
                    <a:pt x="105" y="314"/>
                  </a:cubicBezTo>
                  <a:cubicBezTo>
                    <a:pt x="105" y="317"/>
                    <a:pt x="105" y="320"/>
                    <a:pt x="102" y="321"/>
                  </a:cubicBezTo>
                  <a:cubicBezTo>
                    <a:pt x="101" y="322"/>
                    <a:pt x="101" y="323"/>
                    <a:pt x="102" y="324"/>
                  </a:cubicBezTo>
                  <a:cubicBezTo>
                    <a:pt x="104" y="324"/>
                    <a:pt x="105" y="325"/>
                    <a:pt x="107" y="325"/>
                  </a:cubicBezTo>
                  <a:cubicBezTo>
                    <a:pt x="109" y="326"/>
                    <a:pt x="109" y="328"/>
                    <a:pt x="108" y="329"/>
                  </a:cubicBezTo>
                  <a:cubicBezTo>
                    <a:pt x="108" y="330"/>
                    <a:pt x="107" y="331"/>
                    <a:pt x="107" y="331"/>
                  </a:cubicBezTo>
                  <a:cubicBezTo>
                    <a:pt x="104" y="334"/>
                    <a:pt x="104" y="336"/>
                    <a:pt x="107" y="338"/>
                  </a:cubicBezTo>
                  <a:cubicBezTo>
                    <a:pt x="107" y="339"/>
                    <a:pt x="108" y="340"/>
                    <a:pt x="107" y="341"/>
                  </a:cubicBezTo>
                  <a:cubicBezTo>
                    <a:pt x="107" y="342"/>
                    <a:pt x="105" y="344"/>
                    <a:pt x="105" y="345"/>
                  </a:cubicBezTo>
                  <a:cubicBezTo>
                    <a:pt x="106" y="347"/>
                    <a:pt x="107" y="349"/>
                    <a:pt x="108" y="351"/>
                  </a:cubicBezTo>
                  <a:cubicBezTo>
                    <a:pt x="108" y="354"/>
                    <a:pt x="108" y="357"/>
                    <a:pt x="109" y="360"/>
                  </a:cubicBezTo>
                  <a:cubicBezTo>
                    <a:pt x="110" y="363"/>
                    <a:pt x="109" y="366"/>
                    <a:pt x="107" y="369"/>
                  </a:cubicBezTo>
                  <a:cubicBezTo>
                    <a:pt x="107" y="369"/>
                    <a:pt x="107" y="371"/>
                    <a:pt x="108" y="372"/>
                  </a:cubicBezTo>
                  <a:cubicBezTo>
                    <a:pt x="108" y="372"/>
                    <a:pt x="109" y="373"/>
                    <a:pt x="110" y="374"/>
                  </a:cubicBezTo>
                  <a:cubicBezTo>
                    <a:pt x="112" y="376"/>
                    <a:pt x="111" y="378"/>
                    <a:pt x="108" y="379"/>
                  </a:cubicBezTo>
                  <a:cubicBezTo>
                    <a:pt x="106" y="379"/>
                    <a:pt x="104" y="380"/>
                    <a:pt x="102" y="381"/>
                  </a:cubicBezTo>
                  <a:cubicBezTo>
                    <a:pt x="101" y="382"/>
                    <a:pt x="101" y="383"/>
                    <a:pt x="102" y="384"/>
                  </a:cubicBezTo>
                  <a:cubicBezTo>
                    <a:pt x="103" y="385"/>
                    <a:pt x="108" y="385"/>
                    <a:pt x="103" y="387"/>
                  </a:cubicBezTo>
                  <a:cubicBezTo>
                    <a:pt x="99" y="389"/>
                    <a:pt x="99" y="393"/>
                    <a:pt x="99" y="396"/>
                  </a:cubicBezTo>
                  <a:cubicBezTo>
                    <a:pt x="100" y="397"/>
                    <a:pt x="101" y="397"/>
                    <a:pt x="102" y="397"/>
                  </a:cubicBezTo>
                  <a:cubicBezTo>
                    <a:pt x="102" y="397"/>
                    <a:pt x="102" y="397"/>
                    <a:pt x="102" y="397"/>
                  </a:cubicBezTo>
                  <a:cubicBezTo>
                    <a:pt x="103" y="396"/>
                    <a:pt x="103" y="396"/>
                    <a:pt x="103" y="396"/>
                  </a:cubicBezTo>
                  <a:cubicBezTo>
                    <a:pt x="103" y="397"/>
                    <a:pt x="103" y="397"/>
                    <a:pt x="103" y="397"/>
                  </a:cubicBezTo>
                  <a:cubicBezTo>
                    <a:pt x="103" y="397"/>
                    <a:pt x="102" y="397"/>
                    <a:pt x="102" y="397"/>
                  </a:cubicBezTo>
                  <a:cubicBezTo>
                    <a:pt x="101" y="398"/>
                    <a:pt x="100" y="399"/>
                    <a:pt x="99" y="400"/>
                  </a:cubicBezTo>
                  <a:cubicBezTo>
                    <a:pt x="99" y="400"/>
                    <a:pt x="99" y="399"/>
                    <a:pt x="99" y="399"/>
                  </a:cubicBezTo>
                  <a:cubicBezTo>
                    <a:pt x="99" y="400"/>
                    <a:pt x="99" y="400"/>
                    <a:pt x="99" y="400"/>
                  </a:cubicBezTo>
                  <a:cubicBezTo>
                    <a:pt x="99" y="400"/>
                    <a:pt x="99" y="400"/>
                    <a:pt x="99" y="400"/>
                  </a:cubicBezTo>
                  <a:cubicBezTo>
                    <a:pt x="98" y="404"/>
                    <a:pt x="96" y="407"/>
                    <a:pt x="93" y="410"/>
                  </a:cubicBezTo>
                  <a:cubicBezTo>
                    <a:pt x="92" y="412"/>
                    <a:pt x="93" y="416"/>
                    <a:pt x="94" y="417"/>
                  </a:cubicBezTo>
                  <a:cubicBezTo>
                    <a:pt x="100" y="423"/>
                    <a:pt x="105" y="424"/>
                    <a:pt x="110" y="418"/>
                  </a:cubicBezTo>
                  <a:cubicBezTo>
                    <a:pt x="112" y="417"/>
                    <a:pt x="112" y="416"/>
                    <a:pt x="113" y="415"/>
                  </a:cubicBezTo>
                  <a:cubicBezTo>
                    <a:pt x="115" y="413"/>
                    <a:pt x="117" y="413"/>
                    <a:pt x="119" y="414"/>
                  </a:cubicBezTo>
                  <a:cubicBezTo>
                    <a:pt x="120" y="414"/>
                    <a:pt x="121" y="415"/>
                    <a:pt x="122" y="415"/>
                  </a:cubicBezTo>
                  <a:cubicBezTo>
                    <a:pt x="122" y="415"/>
                    <a:pt x="122" y="415"/>
                    <a:pt x="122" y="415"/>
                  </a:cubicBezTo>
                  <a:cubicBezTo>
                    <a:pt x="122" y="415"/>
                    <a:pt x="122" y="415"/>
                    <a:pt x="122" y="415"/>
                  </a:cubicBezTo>
                  <a:cubicBezTo>
                    <a:pt x="122" y="415"/>
                    <a:pt x="122" y="415"/>
                    <a:pt x="122" y="415"/>
                  </a:cubicBezTo>
                  <a:cubicBezTo>
                    <a:pt x="123" y="415"/>
                    <a:pt x="124" y="416"/>
                    <a:pt x="124" y="416"/>
                  </a:cubicBezTo>
                  <a:cubicBezTo>
                    <a:pt x="125" y="418"/>
                    <a:pt x="123" y="418"/>
                    <a:pt x="122" y="419"/>
                  </a:cubicBezTo>
                  <a:cubicBezTo>
                    <a:pt x="120" y="421"/>
                    <a:pt x="118" y="423"/>
                    <a:pt x="117" y="426"/>
                  </a:cubicBezTo>
                  <a:cubicBezTo>
                    <a:pt x="116" y="427"/>
                    <a:pt x="116" y="429"/>
                    <a:pt x="118" y="430"/>
                  </a:cubicBezTo>
                  <a:cubicBezTo>
                    <a:pt x="119" y="430"/>
                    <a:pt x="120" y="431"/>
                    <a:pt x="122" y="432"/>
                  </a:cubicBezTo>
                  <a:cubicBezTo>
                    <a:pt x="124" y="433"/>
                    <a:pt x="124" y="434"/>
                    <a:pt x="124" y="437"/>
                  </a:cubicBezTo>
                  <a:cubicBezTo>
                    <a:pt x="123" y="438"/>
                    <a:pt x="122" y="439"/>
                    <a:pt x="122" y="440"/>
                  </a:cubicBezTo>
                  <a:cubicBezTo>
                    <a:pt x="122" y="440"/>
                    <a:pt x="122" y="440"/>
                    <a:pt x="122" y="440"/>
                  </a:cubicBezTo>
                  <a:cubicBezTo>
                    <a:pt x="122" y="440"/>
                    <a:pt x="122" y="441"/>
                    <a:pt x="122" y="441"/>
                  </a:cubicBezTo>
                  <a:cubicBezTo>
                    <a:pt x="126" y="441"/>
                    <a:pt x="128" y="443"/>
                    <a:pt x="129" y="447"/>
                  </a:cubicBezTo>
                  <a:cubicBezTo>
                    <a:pt x="129" y="447"/>
                    <a:pt x="128" y="448"/>
                    <a:pt x="128" y="448"/>
                  </a:cubicBezTo>
                  <a:cubicBezTo>
                    <a:pt x="128" y="448"/>
                    <a:pt x="127" y="448"/>
                    <a:pt x="127" y="448"/>
                  </a:cubicBezTo>
                  <a:cubicBezTo>
                    <a:pt x="125" y="446"/>
                    <a:pt x="124" y="443"/>
                    <a:pt x="122" y="441"/>
                  </a:cubicBezTo>
                  <a:cubicBezTo>
                    <a:pt x="122" y="441"/>
                    <a:pt x="122" y="441"/>
                    <a:pt x="121" y="441"/>
                  </a:cubicBezTo>
                  <a:cubicBezTo>
                    <a:pt x="121" y="441"/>
                    <a:pt x="122" y="440"/>
                    <a:pt x="122" y="440"/>
                  </a:cubicBezTo>
                  <a:cubicBezTo>
                    <a:pt x="117" y="440"/>
                    <a:pt x="113" y="439"/>
                    <a:pt x="109" y="438"/>
                  </a:cubicBezTo>
                  <a:cubicBezTo>
                    <a:pt x="107" y="437"/>
                    <a:pt x="104" y="436"/>
                    <a:pt x="101" y="436"/>
                  </a:cubicBezTo>
                  <a:cubicBezTo>
                    <a:pt x="98" y="435"/>
                    <a:pt x="95" y="438"/>
                    <a:pt x="95" y="441"/>
                  </a:cubicBezTo>
                  <a:cubicBezTo>
                    <a:pt x="95" y="442"/>
                    <a:pt x="96" y="442"/>
                    <a:pt x="96" y="443"/>
                  </a:cubicBezTo>
                  <a:cubicBezTo>
                    <a:pt x="96" y="444"/>
                    <a:pt x="97" y="446"/>
                    <a:pt x="96" y="447"/>
                  </a:cubicBezTo>
                  <a:cubicBezTo>
                    <a:pt x="96" y="448"/>
                    <a:pt x="94" y="449"/>
                    <a:pt x="92" y="450"/>
                  </a:cubicBezTo>
                  <a:cubicBezTo>
                    <a:pt x="90" y="450"/>
                    <a:pt x="89" y="452"/>
                    <a:pt x="88" y="454"/>
                  </a:cubicBezTo>
                  <a:cubicBezTo>
                    <a:pt x="87" y="457"/>
                    <a:pt x="86" y="460"/>
                    <a:pt x="87" y="463"/>
                  </a:cubicBezTo>
                  <a:cubicBezTo>
                    <a:pt x="87" y="469"/>
                    <a:pt x="90" y="474"/>
                    <a:pt x="95" y="478"/>
                  </a:cubicBezTo>
                  <a:cubicBezTo>
                    <a:pt x="95" y="478"/>
                    <a:pt x="96" y="478"/>
                    <a:pt x="96" y="478"/>
                  </a:cubicBezTo>
                  <a:cubicBezTo>
                    <a:pt x="102" y="479"/>
                    <a:pt x="108" y="478"/>
                    <a:pt x="113" y="476"/>
                  </a:cubicBezTo>
                  <a:cubicBezTo>
                    <a:pt x="116" y="475"/>
                    <a:pt x="118" y="470"/>
                    <a:pt x="116" y="468"/>
                  </a:cubicBezTo>
                  <a:cubicBezTo>
                    <a:pt x="115" y="466"/>
                    <a:pt x="114" y="465"/>
                    <a:pt x="113" y="464"/>
                  </a:cubicBezTo>
                  <a:cubicBezTo>
                    <a:pt x="110" y="462"/>
                    <a:pt x="109" y="460"/>
                    <a:pt x="109" y="457"/>
                  </a:cubicBezTo>
                  <a:cubicBezTo>
                    <a:pt x="109" y="457"/>
                    <a:pt x="109" y="457"/>
                    <a:pt x="108" y="457"/>
                  </a:cubicBezTo>
                  <a:cubicBezTo>
                    <a:pt x="108" y="455"/>
                    <a:pt x="108" y="455"/>
                    <a:pt x="108" y="455"/>
                  </a:cubicBezTo>
                  <a:cubicBezTo>
                    <a:pt x="109" y="456"/>
                    <a:pt x="109" y="456"/>
                    <a:pt x="109" y="456"/>
                  </a:cubicBezTo>
                  <a:cubicBezTo>
                    <a:pt x="109" y="456"/>
                    <a:pt x="109" y="457"/>
                    <a:pt x="109" y="457"/>
                  </a:cubicBezTo>
                  <a:cubicBezTo>
                    <a:pt x="116" y="460"/>
                    <a:pt x="123" y="464"/>
                    <a:pt x="131" y="464"/>
                  </a:cubicBezTo>
                  <a:cubicBezTo>
                    <a:pt x="133" y="464"/>
                    <a:pt x="134" y="466"/>
                    <a:pt x="133" y="468"/>
                  </a:cubicBezTo>
                  <a:cubicBezTo>
                    <a:pt x="131" y="469"/>
                    <a:pt x="130" y="470"/>
                    <a:pt x="129" y="472"/>
                  </a:cubicBezTo>
                  <a:cubicBezTo>
                    <a:pt x="128" y="472"/>
                    <a:pt x="128" y="472"/>
                    <a:pt x="128" y="472"/>
                  </a:cubicBezTo>
                  <a:cubicBezTo>
                    <a:pt x="128" y="472"/>
                    <a:pt x="128" y="472"/>
                    <a:pt x="128" y="472"/>
                  </a:cubicBezTo>
                  <a:cubicBezTo>
                    <a:pt x="129" y="472"/>
                    <a:pt x="129" y="472"/>
                    <a:pt x="129" y="472"/>
                  </a:cubicBezTo>
                  <a:cubicBezTo>
                    <a:pt x="128" y="474"/>
                    <a:pt x="127" y="476"/>
                    <a:pt x="126" y="477"/>
                  </a:cubicBezTo>
                  <a:cubicBezTo>
                    <a:pt x="125" y="479"/>
                    <a:pt x="125" y="480"/>
                    <a:pt x="126" y="482"/>
                  </a:cubicBezTo>
                  <a:cubicBezTo>
                    <a:pt x="127" y="485"/>
                    <a:pt x="126" y="485"/>
                    <a:pt x="123" y="485"/>
                  </a:cubicBezTo>
                  <a:cubicBezTo>
                    <a:pt x="122" y="486"/>
                    <a:pt x="120" y="486"/>
                    <a:pt x="119" y="487"/>
                  </a:cubicBezTo>
                  <a:cubicBezTo>
                    <a:pt x="118" y="494"/>
                    <a:pt x="114" y="497"/>
                    <a:pt x="107" y="496"/>
                  </a:cubicBezTo>
                  <a:cubicBezTo>
                    <a:pt x="104" y="496"/>
                    <a:pt x="102" y="497"/>
                    <a:pt x="99" y="497"/>
                  </a:cubicBezTo>
                  <a:cubicBezTo>
                    <a:pt x="99" y="500"/>
                    <a:pt x="100" y="503"/>
                    <a:pt x="101" y="506"/>
                  </a:cubicBezTo>
                  <a:cubicBezTo>
                    <a:pt x="102" y="506"/>
                    <a:pt x="102" y="506"/>
                    <a:pt x="102" y="506"/>
                  </a:cubicBezTo>
                  <a:cubicBezTo>
                    <a:pt x="102" y="507"/>
                    <a:pt x="102" y="507"/>
                    <a:pt x="102" y="507"/>
                  </a:cubicBezTo>
                  <a:cubicBezTo>
                    <a:pt x="102" y="506"/>
                    <a:pt x="102" y="506"/>
                    <a:pt x="102" y="506"/>
                  </a:cubicBezTo>
                  <a:cubicBezTo>
                    <a:pt x="102" y="506"/>
                    <a:pt x="101" y="506"/>
                    <a:pt x="101" y="506"/>
                  </a:cubicBezTo>
                  <a:cubicBezTo>
                    <a:pt x="100" y="506"/>
                    <a:pt x="99" y="505"/>
                    <a:pt x="97" y="505"/>
                  </a:cubicBezTo>
                  <a:cubicBezTo>
                    <a:pt x="94" y="505"/>
                    <a:pt x="94" y="505"/>
                    <a:pt x="92" y="508"/>
                  </a:cubicBezTo>
                  <a:cubicBezTo>
                    <a:pt x="92" y="509"/>
                    <a:pt x="91" y="510"/>
                    <a:pt x="90" y="512"/>
                  </a:cubicBezTo>
                  <a:cubicBezTo>
                    <a:pt x="88" y="514"/>
                    <a:pt x="85" y="516"/>
                    <a:pt x="84" y="518"/>
                  </a:cubicBezTo>
                  <a:cubicBezTo>
                    <a:pt x="83" y="521"/>
                    <a:pt x="83" y="524"/>
                    <a:pt x="81" y="527"/>
                  </a:cubicBezTo>
                  <a:cubicBezTo>
                    <a:pt x="80" y="528"/>
                    <a:pt x="80" y="531"/>
                    <a:pt x="79" y="533"/>
                  </a:cubicBezTo>
                  <a:cubicBezTo>
                    <a:pt x="79" y="535"/>
                    <a:pt x="80" y="537"/>
                    <a:pt x="82" y="538"/>
                  </a:cubicBezTo>
                  <a:cubicBezTo>
                    <a:pt x="83" y="539"/>
                    <a:pt x="84" y="540"/>
                    <a:pt x="85" y="541"/>
                  </a:cubicBezTo>
                  <a:cubicBezTo>
                    <a:pt x="85" y="541"/>
                    <a:pt x="85" y="541"/>
                    <a:pt x="85" y="541"/>
                  </a:cubicBezTo>
                  <a:cubicBezTo>
                    <a:pt x="85" y="540"/>
                    <a:pt x="86" y="540"/>
                    <a:pt x="86" y="540"/>
                  </a:cubicBezTo>
                  <a:cubicBezTo>
                    <a:pt x="87" y="540"/>
                    <a:pt x="87" y="539"/>
                    <a:pt x="87" y="539"/>
                  </a:cubicBezTo>
                  <a:cubicBezTo>
                    <a:pt x="87" y="539"/>
                    <a:pt x="88" y="539"/>
                    <a:pt x="88" y="539"/>
                  </a:cubicBezTo>
                  <a:cubicBezTo>
                    <a:pt x="88" y="540"/>
                    <a:pt x="87" y="540"/>
                    <a:pt x="86" y="540"/>
                  </a:cubicBezTo>
                  <a:cubicBezTo>
                    <a:pt x="86" y="540"/>
                    <a:pt x="86" y="541"/>
                    <a:pt x="85" y="541"/>
                  </a:cubicBezTo>
                  <a:cubicBezTo>
                    <a:pt x="85" y="541"/>
                    <a:pt x="85" y="541"/>
                    <a:pt x="85" y="541"/>
                  </a:cubicBezTo>
                  <a:cubicBezTo>
                    <a:pt x="83" y="543"/>
                    <a:pt x="80" y="545"/>
                    <a:pt x="78" y="547"/>
                  </a:cubicBezTo>
                  <a:cubicBezTo>
                    <a:pt x="76" y="550"/>
                    <a:pt x="75" y="554"/>
                    <a:pt x="77" y="557"/>
                  </a:cubicBezTo>
                  <a:cubicBezTo>
                    <a:pt x="79" y="559"/>
                    <a:pt x="80" y="561"/>
                    <a:pt x="80" y="564"/>
                  </a:cubicBezTo>
                  <a:cubicBezTo>
                    <a:pt x="80" y="566"/>
                    <a:pt x="80" y="568"/>
                    <a:pt x="81" y="570"/>
                  </a:cubicBezTo>
                  <a:cubicBezTo>
                    <a:pt x="84" y="577"/>
                    <a:pt x="85" y="584"/>
                    <a:pt x="84" y="592"/>
                  </a:cubicBezTo>
                  <a:cubicBezTo>
                    <a:pt x="84" y="593"/>
                    <a:pt x="84" y="594"/>
                    <a:pt x="84" y="595"/>
                  </a:cubicBezTo>
                  <a:cubicBezTo>
                    <a:pt x="84" y="596"/>
                    <a:pt x="86" y="598"/>
                    <a:pt x="88" y="597"/>
                  </a:cubicBezTo>
                  <a:cubicBezTo>
                    <a:pt x="91" y="596"/>
                    <a:pt x="94" y="595"/>
                    <a:pt x="98" y="594"/>
                  </a:cubicBezTo>
                  <a:cubicBezTo>
                    <a:pt x="98" y="594"/>
                    <a:pt x="98" y="594"/>
                    <a:pt x="98" y="594"/>
                  </a:cubicBezTo>
                  <a:cubicBezTo>
                    <a:pt x="98" y="594"/>
                    <a:pt x="99" y="594"/>
                    <a:pt x="99" y="594"/>
                  </a:cubicBezTo>
                  <a:cubicBezTo>
                    <a:pt x="100" y="593"/>
                    <a:pt x="100" y="593"/>
                    <a:pt x="101" y="593"/>
                  </a:cubicBezTo>
                  <a:cubicBezTo>
                    <a:pt x="101" y="594"/>
                    <a:pt x="100" y="594"/>
                    <a:pt x="99" y="594"/>
                  </a:cubicBezTo>
                  <a:cubicBezTo>
                    <a:pt x="99" y="594"/>
                    <a:pt x="99" y="594"/>
                    <a:pt x="99" y="594"/>
                  </a:cubicBezTo>
                  <a:cubicBezTo>
                    <a:pt x="98" y="594"/>
                    <a:pt x="98" y="594"/>
                    <a:pt x="98" y="594"/>
                  </a:cubicBezTo>
                  <a:cubicBezTo>
                    <a:pt x="96" y="598"/>
                    <a:pt x="94" y="600"/>
                    <a:pt x="91" y="601"/>
                  </a:cubicBezTo>
                  <a:cubicBezTo>
                    <a:pt x="87" y="604"/>
                    <a:pt x="86" y="607"/>
                    <a:pt x="87" y="611"/>
                  </a:cubicBezTo>
                  <a:cubicBezTo>
                    <a:pt x="88" y="616"/>
                    <a:pt x="89" y="621"/>
                    <a:pt x="92" y="626"/>
                  </a:cubicBezTo>
                  <a:cubicBezTo>
                    <a:pt x="92" y="625"/>
                    <a:pt x="92" y="625"/>
                    <a:pt x="92" y="625"/>
                  </a:cubicBezTo>
                  <a:cubicBezTo>
                    <a:pt x="92" y="626"/>
                    <a:pt x="92" y="626"/>
                    <a:pt x="92" y="626"/>
                  </a:cubicBezTo>
                  <a:cubicBezTo>
                    <a:pt x="92" y="626"/>
                    <a:pt x="92" y="626"/>
                    <a:pt x="92" y="626"/>
                  </a:cubicBezTo>
                  <a:cubicBezTo>
                    <a:pt x="92" y="626"/>
                    <a:pt x="92" y="626"/>
                    <a:pt x="92" y="626"/>
                  </a:cubicBezTo>
                  <a:cubicBezTo>
                    <a:pt x="93" y="627"/>
                    <a:pt x="94" y="628"/>
                    <a:pt x="95" y="629"/>
                  </a:cubicBezTo>
                  <a:cubicBezTo>
                    <a:pt x="98" y="631"/>
                    <a:pt x="98" y="633"/>
                    <a:pt x="97" y="636"/>
                  </a:cubicBezTo>
                  <a:cubicBezTo>
                    <a:pt x="96" y="637"/>
                    <a:pt x="96" y="639"/>
                    <a:pt x="97" y="640"/>
                  </a:cubicBezTo>
                  <a:cubicBezTo>
                    <a:pt x="100" y="644"/>
                    <a:pt x="100" y="648"/>
                    <a:pt x="102" y="652"/>
                  </a:cubicBezTo>
                  <a:cubicBezTo>
                    <a:pt x="103" y="654"/>
                    <a:pt x="103" y="657"/>
                    <a:pt x="102" y="659"/>
                  </a:cubicBezTo>
                  <a:cubicBezTo>
                    <a:pt x="101" y="660"/>
                    <a:pt x="101" y="662"/>
                    <a:pt x="102" y="662"/>
                  </a:cubicBezTo>
                  <a:cubicBezTo>
                    <a:pt x="103" y="665"/>
                    <a:pt x="106" y="667"/>
                    <a:pt x="108" y="669"/>
                  </a:cubicBezTo>
                  <a:cubicBezTo>
                    <a:pt x="113" y="670"/>
                    <a:pt x="115" y="673"/>
                    <a:pt x="115" y="677"/>
                  </a:cubicBezTo>
                  <a:cubicBezTo>
                    <a:pt x="115" y="678"/>
                    <a:pt x="117" y="679"/>
                    <a:pt x="118" y="679"/>
                  </a:cubicBezTo>
                  <a:cubicBezTo>
                    <a:pt x="121" y="678"/>
                    <a:pt x="124" y="677"/>
                    <a:pt x="127" y="677"/>
                  </a:cubicBezTo>
                  <a:cubicBezTo>
                    <a:pt x="129" y="676"/>
                    <a:pt x="130" y="676"/>
                    <a:pt x="132" y="675"/>
                  </a:cubicBezTo>
                  <a:cubicBezTo>
                    <a:pt x="135" y="674"/>
                    <a:pt x="138" y="676"/>
                    <a:pt x="138" y="678"/>
                  </a:cubicBezTo>
                  <a:cubicBezTo>
                    <a:pt x="138" y="683"/>
                    <a:pt x="140" y="686"/>
                    <a:pt x="143" y="689"/>
                  </a:cubicBezTo>
                  <a:cubicBezTo>
                    <a:pt x="145" y="690"/>
                    <a:pt x="145" y="692"/>
                    <a:pt x="146" y="693"/>
                  </a:cubicBezTo>
                  <a:cubicBezTo>
                    <a:pt x="147" y="694"/>
                    <a:pt x="149" y="696"/>
                    <a:pt x="150" y="695"/>
                  </a:cubicBezTo>
                  <a:cubicBezTo>
                    <a:pt x="154" y="695"/>
                    <a:pt x="157" y="697"/>
                    <a:pt x="161" y="697"/>
                  </a:cubicBezTo>
                  <a:cubicBezTo>
                    <a:pt x="163" y="697"/>
                    <a:pt x="166" y="696"/>
                    <a:pt x="168" y="694"/>
                  </a:cubicBezTo>
                  <a:cubicBezTo>
                    <a:pt x="171" y="688"/>
                    <a:pt x="171" y="681"/>
                    <a:pt x="175" y="675"/>
                  </a:cubicBezTo>
                  <a:cubicBezTo>
                    <a:pt x="175" y="671"/>
                    <a:pt x="178" y="666"/>
                    <a:pt x="181" y="663"/>
                  </a:cubicBezTo>
                  <a:cubicBezTo>
                    <a:pt x="184" y="660"/>
                    <a:pt x="185" y="657"/>
                    <a:pt x="186" y="653"/>
                  </a:cubicBezTo>
                  <a:cubicBezTo>
                    <a:pt x="186" y="650"/>
                    <a:pt x="187" y="647"/>
                    <a:pt x="188" y="644"/>
                  </a:cubicBezTo>
                  <a:cubicBezTo>
                    <a:pt x="188" y="644"/>
                    <a:pt x="188" y="644"/>
                    <a:pt x="188" y="645"/>
                  </a:cubicBezTo>
                  <a:cubicBezTo>
                    <a:pt x="188" y="644"/>
                    <a:pt x="188" y="644"/>
                    <a:pt x="188" y="644"/>
                  </a:cubicBezTo>
                  <a:cubicBezTo>
                    <a:pt x="187" y="644"/>
                    <a:pt x="186" y="643"/>
                    <a:pt x="186" y="643"/>
                  </a:cubicBezTo>
                  <a:cubicBezTo>
                    <a:pt x="185" y="643"/>
                    <a:pt x="185" y="642"/>
                    <a:pt x="185" y="642"/>
                  </a:cubicBezTo>
                  <a:cubicBezTo>
                    <a:pt x="185" y="641"/>
                    <a:pt x="186" y="641"/>
                    <a:pt x="187" y="642"/>
                  </a:cubicBezTo>
                  <a:cubicBezTo>
                    <a:pt x="187" y="643"/>
                    <a:pt x="187" y="643"/>
                    <a:pt x="188" y="644"/>
                  </a:cubicBezTo>
                  <a:cubicBezTo>
                    <a:pt x="188" y="644"/>
                    <a:pt x="188" y="644"/>
                    <a:pt x="188" y="644"/>
                  </a:cubicBezTo>
                  <a:cubicBezTo>
                    <a:pt x="188" y="644"/>
                    <a:pt x="188" y="644"/>
                    <a:pt x="188" y="644"/>
                  </a:cubicBezTo>
                  <a:cubicBezTo>
                    <a:pt x="191" y="643"/>
                    <a:pt x="194" y="641"/>
                    <a:pt x="195" y="638"/>
                  </a:cubicBezTo>
                  <a:cubicBezTo>
                    <a:pt x="197" y="633"/>
                    <a:pt x="201" y="629"/>
                    <a:pt x="206" y="625"/>
                  </a:cubicBezTo>
                  <a:cubicBezTo>
                    <a:pt x="211" y="621"/>
                    <a:pt x="213" y="615"/>
                    <a:pt x="210" y="609"/>
                  </a:cubicBezTo>
                  <a:cubicBezTo>
                    <a:pt x="209" y="607"/>
                    <a:pt x="210" y="606"/>
                    <a:pt x="212" y="604"/>
                  </a:cubicBezTo>
                  <a:cubicBezTo>
                    <a:pt x="213" y="604"/>
                    <a:pt x="214" y="603"/>
                    <a:pt x="215" y="603"/>
                  </a:cubicBezTo>
                  <a:cubicBezTo>
                    <a:pt x="216" y="602"/>
                    <a:pt x="217" y="600"/>
                    <a:pt x="216" y="599"/>
                  </a:cubicBezTo>
                  <a:cubicBezTo>
                    <a:pt x="216" y="598"/>
                    <a:pt x="215" y="597"/>
                    <a:pt x="215" y="596"/>
                  </a:cubicBezTo>
                  <a:cubicBezTo>
                    <a:pt x="213" y="592"/>
                    <a:pt x="213" y="592"/>
                    <a:pt x="218" y="591"/>
                  </a:cubicBezTo>
                  <a:cubicBezTo>
                    <a:pt x="221" y="591"/>
                    <a:pt x="223" y="590"/>
                    <a:pt x="224" y="588"/>
                  </a:cubicBezTo>
                  <a:cubicBezTo>
                    <a:pt x="226" y="584"/>
                    <a:pt x="228" y="581"/>
                    <a:pt x="233" y="582"/>
                  </a:cubicBezTo>
                  <a:cubicBezTo>
                    <a:pt x="239" y="583"/>
                    <a:pt x="245" y="579"/>
                    <a:pt x="251" y="581"/>
                  </a:cubicBezTo>
                  <a:cubicBezTo>
                    <a:pt x="253" y="581"/>
                    <a:pt x="254" y="580"/>
                    <a:pt x="255" y="579"/>
                  </a:cubicBezTo>
                  <a:cubicBezTo>
                    <a:pt x="256" y="578"/>
                    <a:pt x="258" y="577"/>
                    <a:pt x="259" y="576"/>
                  </a:cubicBezTo>
                  <a:cubicBezTo>
                    <a:pt x="267" y="576"/>
                    <a:pt x="275" y="573"/>
                    <a:pt x="281" y="567"/>
                  </a:cubicBezTo>
                  <a:cubicBezTo>
                    <a:pt x="282" y="567"/>
                    <a:pt x="283" y="567"/>
                    <a:pt x="284" y="567"/>
                  </a:cubicBezTo>
                  <a:cubicBezTo>
                    <a:pt x="289" y="565"/>
                    <a:pt x="294" y="562"/>
                    <a:pt x="296" y="558"/>
                  </a:cubicBezTo>
                  <a:cubicBezTo>
                    <a:pt x="299" y="552"/>
                    <a:pt x="305" y="548"/>
                    <a:pt x="308" y="542"/>
                  </a:cubicBezTo>
                  <a:cubicBezTo>
                    <a:pt x="312" y="536"/>
                    <a:pt x="320" y="534"/>
                    <a:pt x="325" y="529"/>
                  </a:cubicBezTo>
                  <a:cubicBezTo>
                    <a:pt x="328" y="527"/>
                    <a:pt x="332" y="529"/>
                    <a:pt x="336" y="528"/>
                  </a:cubicBezTo>
                  <a:cubicBezTo>
                    <a:pt x="338" y="528"/>
                    <a:pt x="340" y="527"/>
                    <a:pt x="342" y="526"/>
                  </a:cubicBezTo>
                  <a:cubicBezTo>
                    <a:pt x="344" y="526"/>
                    <a:pt x="345" y="525"/>
                    <a:pt x="347" y="525"/>
                  </a:cubicBezTo>
                  <a:cubicBezTo>
                    <a:pt x="350" y="526"/>
                    <a:pt x="353" y="526"/>
                    <a:pt x="356" y="524"/>
                  </a:cubicBezTo>
                  <a:cubicBezTo>
                    <a:pt x="362" y="521"/>
                    <a:pt x="367" y="520"/>
                    <a:pt x="373" y="519"/>
                  </a:cubicBezTo>
                  <a:cubicBezTo>
                    <a:pt x="383" y="517"/>
                    <a:pt x="393" y="514"/>
                    <a:pt x="401" y="508"/>
                  </a:cubicBezTo>
                  <a:cubicBezTo>
                    <a:pt x="411" y="501"/>
                    <a:pt x="422" y="494"/>
                    <a:pt x="432" y="486"/>
                  </a:cubicBezTo>
                  <a:close/>
                  <a:moveTo>
                    <a:pt x="507" y="171"/>
                  </a:moveTo>
                  <a:cubicBezTo>
                    <a:pt x="507" y="170"/>
                    <a:pt x="508" y="170"/>
                    <a:pt x="508" y="170"/>
                  </a:cubicBezTo>
                  <a:cubicBezTo>
                    <a:pt x="509" y="171"/>
                    <a:pt x="509" y="171"/>
                    <a:pt x="510" y="171"/>
                  </a:cubicBezTo>
                  <a:cubicBezTo>
                    <a:pt x="510" y="172"/>
                    <a:pt x="510" y="173"/>
                    <a:pt x="508" y="173"/>
                  </a:cubicBezTo>
                  <a:cubicBezTo>
                    <a:pt x="508" y="173"/>
                    <a:pt x="507" y="172"/>
                    <a:pt x="507" y="172"/>
                  </a:cubicBezTo>
                  <a:cubicBezTo>
                    <a:pt x="507" y="172"/>
                    <a:pt x="507" y="171"/>
                    <a:pt x="507" y="171"/>
                  </a:cubicBezTo>
                  <a:close/>
                  <a:moveTo>
                    <a:pt x="495" y="175"/>
                  </a:moveTo>
                  <a:cubicBezTo>
                    <a:pt x="496" y="174"/>
                    <a:pt x="497" y="174"/>
                    <a:pt x="498" y="174"/>
                  </a:cubicBezTo>
                  <a:cubicBezTo>
                    <a:pt x="498" y="173"/>
                    <a:pt x="499" y="174"/>
                    <a:pt x="499" y="174"/>
                  </a:cubicBezTo>
                  <a:cubicBezTo>
                    <a:pt x="500" y="175"/>
                    <a:pt x="500" y="176"/>
                    <a:pt x="499" y="177"/>
                  </a:cubicBezTo>
                  <a:cubicBezTo>
                    <a:pt x="499" y="178"/>
                    <a:pt x="498" y="178"/>
                    <a:pt x="497" y="179"/>
                  </a:cubicBezTo>
                  <a:cubicBezTo>
                    <a:pt x="495" y="179"/>
                    <a:pt x="494" y="177"/>
                    <a:pt x="495" y="175"/>
                  </a:cubicBezTo>
                  <a:close/>
                  <a:moveTo>
                    <a:pt x="248" y="574"/>
                  </a:moveTo>
                  <a:cubicBezTo>
                    <a:pt x="247" y="574"/>
                    <a:pt x="247" y="574"/>
                    <a:pt x="247" y="574"/>
                  </a:cubicBezTo>
                  <a:cubicBezTo>
                    <a:pt x="247" y="573"/>
                    <a:pt x="248" y="573"/>
                    <a:pt x="248" y="573"/>
                  </a:cubicBezTo>
                  <a:cubicBezTo>
                    <a:pt x="248" y="573"/>
                    <a:pt x="249" y="574"/>
                    <a:pt x="249" y="574"/>
                  </a:cubicBezTo>
                  <a:cubicBezTo>
                    <a:pt x="249" y="574"/>
                    <a:pt x="248" y="574"/>
                    <a:pt x="248" y="574"/>
                  </a:cubicBezTo>
                  <a:close/>
                  <a:moveTo>
                    <a:pt x="333" y="39"/>
                  </a:moveTo>
                  <a:cubicBezTo>
                    <a:pt x="333" y="39"/>
                    <a:pt x="332" y="38"/>
                    <a:pt x="333" y="39"/>
                  </a:cubicBezTo>
                  <a:cubicBezTo>
                    <a:pt x="334" y="39"/>
                    <a:pt x="334" y="40"/>
                    <a:pt x="335" y="40"/>
                  </a:cubicBezTo>
                  <a:cubicBezTo>
                    <a:pt x="334" y="40"/>
                    <a:pt x="334" y="39"/>
                    <a:pt x="333" y="39"/>
                  </a:cubicBezTo>
                  <a:close/>
                  <a:moveTo>
                    <a:pt x="338" y="45"/>
                  </a:moveTo>
                  <a:cubicBezTo>
                    <a:pt x="337" y="45"/>
                    <a:pt x="337" y="44"/>
                    <a:pt x="337" y="43"/>
                  </a:cubicBezTo>
                  <a:cubicBezTo>
                    <a:pt x="337" y="43"/>
                    <a:pt x="337" y="42"/>
                    <a:pt x="337" y="42"/>
                  </a:cubicBezTo>
                  <a:cubicBezTo>
                    <a:pt x="336" y="42"/>
                    <a:pt x="336" y="41"/>
                    <a:pt x="336" y="41"/>
                  </a:cubicBezTo>
                  <a:cubicBezTo>
                    <a:pt x="336" y="41"/>
                    <a:pt x="337" y="42"/>
                    <a:pt x="337" y="42"/>
                  </a:cubicBezTo>
                  <a:cubicBezTo>
                    <a:pt x="337" y="42"/>
                    <a:pt x="337" y="42"/>
                    <a:pt x="337" y="43"/>
                  </a:cubicBezTo>
                  <a:cubicBezTo>
                    <a:pt x="338" y="43"/>
                    <a:pt x="338" y="43"/>
                    <a:pt x="339" y="44"/>
                  </a:cubicBezTo>
                  <a:cubicBezTo>
                    <a:pt x="339" y="44"/>
                    <a:pt x="338" y="45"/>
                    <a:pt x="338" y="45"/>
                  </a:cubicBezTo>
                  <a:close/>
                  <a:moveTo>
                    <a:pt x="381" y="463"/>
                  </a:moveTo>
                  <a:cubicBezTo>
                    <a:pt x="381" y="462"/>
                    <a:pt x="381" y="462"/>
                    <a:pt x="381" y="462"/>
                  </a:cubicBezTo>
                  <a:cubicBezTo>
                    <a:pt x="382" y="462"/>
                    <a:pt x="382" y="462"/>
                    <a:pt x="382" y="462"/>
                  </a:cubicBezTo>
                  <a:lnTo>
                    <a:pt x="381" y="463"/>
                  </a:lnTo>
                  <a:close/>
                  <a:moveTo>
                    <a:pt x="386" y="437"/>
                  </a:moveTo>
                  <a:cubicBezTo>
                    <a:pt x="386" y="436"/>
                    <a:pt x="386" y="436"/>
                    <a:pt x="386" y="436"/>
                  </a:cubicBezTo>
                  <a:cubicBezTo>
                    <a:pt x="387" y="437"/>
                    <a:pt x="387" y="437"/>
                    <a:pt x="387" y="437"/>
                  </a:cubicBezTo>
                  <a:cubicBezTo>
                    <a:pt x="387" y="438"/>
                    <a:pt x="387" y="438"/>
                    <a:pt x="387" y="438"/>
                  </a:cubicBezTo>
                  <a:lnTo>
                    <a:pt x="386" y="437"/>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7"/>
            <p:cNvSpPr>
              <a:spLocks/>
            </p:cNvSpPr>
            <p:nvPr/>
          </p:nvSpPr>
          <p:spPr bwMode="auto">
            <a:xfrm>
              <a:off x="9512704" y="1859721"/>
              <a:ext cx="0" cy="2718"/>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1"/>
                    <a:pt x="0" y="1"/>
                  </a:cubicBezTo>
                  <a:cubicBezTo>
                    <a:pt x="0" y="1"/>
                    <a:pt x="0" y="1"/>
                    <a:pt x="0" y="1"/>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8"/>
            <p:cNvSpPr>
              <a:spLocks/>
            </p:cNvSpPr>
            <p:nvPr/>
          </p:nvSpPr>
          <p:spPr bwMode="auto">
            <a:xfrm>
              <a:off x="9093291" y="1275442"/>
              <a:ext cx="1812" cy="1812"/>
            </a:xfrm>
            <a:custGeom>
              <a:avLst/>
              <a:gdLst>
                <a:gd name="T0" fmla="*/ 0 w 1"/>
                <a:gd name="T1" fmla="*/ 1 h 1"/>
                <a:gd name="T2" fmla="*/ 1 w 1"/>
                <a:gd name="T3" fmla="*/ 0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1"/>
                    <a:pt x="1" y="1"/>
                    <a:pt x="1" y="0"/>
                  </a:cubicBezTo>
                  <a:cubicBezTo>
                    <a:pt x="1" y="0"/>
                    <a:pt x="1" y="0"/>
                    <a:pt x="0" y="0"/>
                  </a:cubicBezTo>
                  <a:cubicBezTo>
                    <a:pt x="0" y="0"/>
                    <a:pt x="0" y="1"/>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19"/>
            <p:cNvSpPr>
              <a:spLocks/>
            </p:cNvSpPr>
            <p:nvPr/>
          </p:nvSpPr>
          <p:spPr bwMode="auto">
            <a:xfrm>
              <a:off x="9129526" y="1174892"/>
              <a:ext cx="0" cy="1812"/>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0"/>
                  </a:cubicBezTo>
                  <a:cubicBezTo>
                    <a:pt x="0" y="1"/>
                    <a:pt x="0" y="1"/>
                    <a:pt x="0" y="1"/>
                  </a:cubicBezTo>
                  <a:cubicBezTo>
                    <a:pt x="0" y="1"/>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20"/>
            <p:cNvSpPr>
              <a:spLocks noEditPoints="1"/>
            </p:cNvSpPr>
            <p:nvPr/>
          </p:nvSpPr>
          <p:spPr bwMode="auto">
            <a:xfrm>
              <a:off x="8900343" y="932122"/>
              <a:ext cx="798967" cy="580655"/>
            </a:xfrm>
            <a:custGeom>
              <a:avLst/>
              <a:gdLst>
                <a:gd name="T0" fmla="*/ 104 w 373"/>
                <a:gd name="T1" fmla="*/ 153 h 271"/>
                <a:gd name="T2" fmla="*/ 110 w 373"/>
                <a:gd name="T3" fmla="*/ 166 h 271"/>
                <a:gd name="T4" fmla="*/ 113 w 373"/>
                <a:gd name="T5" fmla="*/ 170 h 271"/>
                <a:gd name="T6" fmla="*/ 105 w 373"/>
                <a:gd name="T7" fmla="*/ 165 h 271"/>
                <a:gd name="T8" fmla="*/ 85 w 373"/>
                <a:gd name="T9" fmla="*/ 163 h 271"/>
                <a:gd name="T10" fmla="*/ 65 w 373"/>
                <a:gd name="T11" fmla="*/ 191 h 271"/>
                <a:gd name="T12" fmla="*/ 66 w 373"/>
                <a:gd name="T13" fmla="*/ 211 h 271"/>
                <a:gd name="T14" fmla="*/ 45 w 373"/>
                <a:gd name="T15" fmla="*/ 202 h 271"/>
                <a:gd name="T16" fmla="*/ 43 w 373"/>
                <a:gd name="T17" fmla="*/ 220 h 271"/>
                <a:gd name="T18" fmla="*/ 2 w 373"/>
                <a:gd name="T19" fmla="*/ 228 h 271"/>
                <a:gd name="T20" fmla="*/ 50 w 373"/>
                <a:gd name="T21" fmla="*/ 257 h 271"/>
                <a:gd name="T22" fmla="*/ 51 w 373"/>
                <a:gd name="T23" fmla="*/ 255 h 271"/>
                <a:gd name="T24" fmla="*/ 84 w 373"/>
                <a:gd name="T25" fmla="*/ 267 h 271"/>
                <a:gd name="T26" fmla="*/ 122 w 373"/>
                <a:gd name="T27" fmla="*/ 257 h 271"/>
                <a:gd name="T28" fmla="*/ 131 w 373"/>
                <a:gd name="T29" fmla="*/ 231 h 271"/>
                <a:gd name="T30" fmla="*/ 162 w 373"/>
                <a:gd name="T31" fmla="*/ 216 h 271"/>
                <a:gd name="T32" fmla="*/ 161 w 373"/>
                <a:gd name="T33" fmla="*/ 207 h 271"/>
                <a:gd name="T34" fmla="*/ 181 w 373"/>
                <a:gd name="T35" fmla="*/ 197 h 271"/>
                <a:gd name="T36" fmla="*/ 182 w 373"/>
                <a:gd name="T37" fmla="*/ 176 h 271"/>
                <a:gd name="T38" fmla="*/ 194 w 373"/>
                <a:gd name="T39" fmla="*/ 169 h 271"/>
                <a:gd name="T40" fmla="*/ 208 w 373"/>
                <a:gd name="T41" fmla="*/ 163 h 271"/>
                <a:gd name="T42" fmla="*/ 237 w 373"/>
                <a:gd name="T43" fmla="*/ 155 h 271"/>
                <a:gd name="T44" fmla="*/ 320 w 373"/>
                <a:gd name="T45" fmla="*/ 107 h 271"/>
                <a:gd name="T46" fmla="*/ 311 w 373"/>
                <a:gd name="T47" fmla="*/ 98 h 271"/>
                <a:gd name="T48" fmla="*/ 364 w 373"/>
                <a:gd name="T49" fmla="*/ 81 h 271"/>
                <a:gd name="T50" fmla="*/ 365 w 373"/>
                <a:gd name="T51" fmla="*/ 52 h 271"/>
                <a:gd name="T52" fmla="*/ 340 w 373"/>
                <a:gd name="T53" fmla="*/ 38 h 271"/>
                <a:gd name="T54" fmla="*/ 338 w 373"/>
                <a:gd name="T55" fmla="*/ 39 h 271"/>
                <a:gd name="T56" fmla="*/ 342 w 373"/>
                <a:gd name="T57" fmla="*/ 26 h 271"/>
                <a:gd name="T58" fmla="*/ 305 w 373"/>
                <a:gd name="T59" fmla="*/ 10 h 271"/>
                <a:gd name="T60" fmla="*/ 263 w 373"/>
                <a:gd name="T61" fmla="*/ 1 h 271"/>
                <a:gd name="T62" fmla="*/ 254 w 373"/>
                <a:gd name="T63" fmla="*/ 11 h 271"/>
                <a:gd name="T64" fmla="*/ 230 w 373"/>
                <a:gd name="T65" fmla="*/ 7 h 271"/>
                <a:gd name="T66" fmla="*/ 216 w 373"/>
                <a:gd name="T67" fmla="*/ 7 h 271"/>
                <a:gd name="T68" fmla="*/ 198 w 373"/>
                <a:gd name="T69" fmla="*/ 26 h 271"/>
                <a:gd name="T70" fmla="*/ 170 w 373"/>
                <a:gd name="T71" fmla="*/ 20 h 271"/>
                <a:gd name="T72" fmla="*/ 170 w 373"/>
                <a:gd name="T73" fmla="*/ 36 h 271"/>
                <a:gd name="T74" fmla="*/ 153 w 373"/>
                <a:gd name="T75" fmla="*/ 29 h 271"/>
                <a:gd name="T76" fmla="*/ 130 w 373"/>
                <a:gd name="T77" fmla="*/ 26 h 271"/>
                <a:gd name="T78" fmla="*/ 113 w 373"/>
                <a:gd name="T79" fmla="*/ 44 h 271"/>
                <a:gd name="T80" fmla="*/ 114 w 373"/>
                <a:gd name="T81" fmla="*/ 44 h 271"/>
                <a:gd name="T82" fmla="*/ 111 w 373"/>
                <a:gd name="T83" fmla="*/ 58 h 271"/>
                <a:gd name="T84" fmla="*/ 108 w 373"/>
                <a:gd name="T85" fmla="*/ 75 h 271"/>
                <a:gd name="T86" fmla="*/ 124 w 373"/>
                <a:gd name="T87" fmla="*/ 89 h 271"/>
                <a:gd name="T88" fmla="*/ 153 w 373"/>
                <a:gd name="T89" fmla="*/ 98 h 271"/>
                <a:gd name="T90" fmla="*/ 194 w 373"/>
                <a:gd name="T91" fmla="*/ 98 h 271"/>
                <a:gd name="T92" fmla="*/ 198 w 373"/>
                <a:gd name="T93" fmla="*/ 97 h 271"/>
                <a:gd name="T94" fmla="*/ 210 w 373"/>
                <a:gd name="T95" fmla="*/ 107 h 271"/>
                <a:gd name="T96" fmla="*/ 152 w 373"/>
                <a:gd name="T97" fmla="*/ 110 h 271"/>
                <a:gd name="T98" fmla="*/ 126 w 373"/>
                <a:gd name="T99" fmla="*/ 104 h 271"/>
                <a:gd name="T100" fmla="*/ 74 w 373"/>
                <a:gd name="T101" fmla="*/ 217 h 271"/>
                <a:gd name="T102" fmla="*/ 80 w 373"/>
                <a:gd name="T103" fmla="*/ 192 h 271"/>
                <a:gd name="T104" fmla="*/ 98 w 373"/>
                <a:gd name="T105" fmla="*/ 228 h 271"/>
                <a:gd name="T106" fmla="*/ 98 w 373"/>
                <a:gd name="T107" fmla="*/ 228 h 271"/>
                <a:gd name="T108" fmla="*/ 303 w 373"/>
                <a:gd name="T109" fmla="*/ 103 h 271"/>
                <a:gd name="T110" fmla="*/ 127 w 373"/>
                <a:gd name="T111" fmla="*/ 85 h 271"/>
                <a:gd name="T112" fmla="*/ 176 w 373"/>
                <a:gd name="T113" fmla="*/ 16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3" h="271">
                  <a:moveTo>
                    <a:pt x="108" y="119"/>
                  </a:moveTo>
                  <a:cubicBezTo>
                    <a:pt x="106" y="122"/>
                    <a:pt x="106" y="125"/>
                    <a:pt x="107" y="128"/>
                  </a:cubicBezTo>
                  <a:cubicBezTo>
                    <a:pt x="109" y="132"/>
                    <a:pt x="109" y="136"/>
                    <a:pt x="108" y="140"/>
                  </a:cubicBezTo>
                  <a:cubicBezTo>
                    <a:pt x="107" y="143"/>
                    <a:pt x="107" y="147"/>
                    <a:pt x="106" y="150"/>
                  </a:cubicBezTo>
                  <a:cubicBezTo>
                    <a:pt x="105" y="151"/>
                    <a:pt x="104" y="152"/>
                    <a:pt x="104" y="153"/>
                  </a:cubicBezTo>
                  <a:cubicBezTo>
                    <a:pt x="100" y="154"/>
                    <a:pt x="100" y="157"/>
                    <a:pt x="100" y="160"/>
                  </a:cubicBezTo>
                  <a:cubicBezTo>
                    <a:pt x="100" y="160"/>
                    <a:pt x="100" y="160"/>
                    <a:pt x="101" y="160"/>
                  </a:cubicBezTo>
                  <a:cubicBezTo>
                    <a:pt x="102" y="161"/>
                    <a:pt x="103" y="162"/>
                    <a:pt x="104" y="164"/>
                  </a:cubicBezTo>
                  <a:cubicBezTo>
                    <a:pt x="105" y="164"/>
                    <a:pt x="105" y="164"/>
                    <a:pt x="105" y="165"/>
                  </a:cubicBezTo>
                  <a:cubicBezTo>
                    <a:pt x="107" y="165"/>
                    <a:pt x="108" y="166"/>
                    <a:pt x="110" y="166"/>
                  </a:cubicBezTo>
                  <a:cubicBezTo>
                    <a:pt x="110" y="166"/>
                    <a:pt x="111" y="166"/>
                    <a:pt x="111" y="166"/>
                  </a:cubicBezTo>
                  <a:cubicBezTo>
                    <a:pt x="111" y="166"/>
                    <a:pt x="111" y="167"/>
                    <a:pt x="111" y="167"/>
                  </a:cubicBezTo>
                  <a:cubicBezTo>
                    <a:pt x="112" y="167"/>
                    <a:pt x="113" y="167"/>
                    <a:pt x="114" y="168"/>
                  </a:cubicBezTo>
                  <a:cubicBezTo>
                    <a:pt x="114" y="168"/>
                    <a:pt x="114" y="169"/>
                    <a:pt x="114" y="169"/>
                  </a:cubicBezTo>
                  <a:cubicBezTo>
                    <a:pt x="114" y="169"/>
                    <a:pt x="114" y="170"/>
                    <a:pt x="113" y="170"/>
                  </a:cubicBezTo>
                  <a:cubicBezTo>
                    <a:pt x="112" y="171"/>
                    <a:pt x="111" y="170"/>
                    <a:pt x="111" y="169"/>
                  </a:cubicBezTo>
                  <a:cubicBezTo>
                    <a:pt x="111" y="168"/>
                    <a:pt x="111" y="168"/>
                    <a:pt x="111" y="167"/>
                  </a:cubicBezTo>
                  <a:cubicBezTo>
                    <a:pt x="111" y="167"/>
                    <a:pt x="111" y="167"/>
                    <a:pt x="111" y="167"/>
                  </a:cubicBezTo>
                  <a:cubicBezTo>
                    <a:pt x="110" y="167"/>
                    <a:pt x="110" y="166"/>
                    <a:pt x="110" y="166"/>
                  </a:cubicBezTo>
                  <a:cubicBezTo>
                    <a:pt x="108" y="166"/>
                    <a:pt x="107" y="166"/>
                    <a:pt x="105" y="165"/>
                  </a:cubicBezTo>
                  <a:cubicBezTo>
                    <a:pt x="105" y="164"/>
                    <a:pt x="104" y="164"/>
                    <a:pt x="104" y="164"/>
                  </a:cubicBezTo>
                  <a:cubicBezTo>
                    <a:pt x="103" y="163"/>
                    <a:pt x="101" y="162"/>
                    <a:pt x="100" y="160"/>
                  </a:cubicBezTo>
                  <a:cubicBezTo>
                    <a:pt x="100" y="160"/>
                    <a:pt x="100" y="160"/>
                    <a:pt x="100" y="160"/>
                  </a:cubicBezTo>
                  <a:cubicBezTo>
                    <a:pt x="97" y="160"/>
                    <a:pt x="94" y="161"/>
                    <a:pt x="90" y="161"/>
                  </a:cubicBezTo>
                  <a:cubicBezTo>
                    <a:pt x="89" y="162"/>
                    <a:pt x="87" y="162"/>
                    <a:pt x="85" y="163"/>
                  </a:cubicBezTo>
                  <a:cubicBezTo>
                    <a:pt x="81" y="163"/>
                    <a:pt x="78" y="163"/>
                    <a:pt x="74" y="164"/>
                  </a:cubicBezTo>
                  <a:cubicBezTo>
                    <a:pt x="72" y="169"/>
                    <a:pt x="69" y="174"/>
                    <a:pt x="64" y="177"/>
                  </a:cubicBezTo>
                  <a:cubicBezTo>
                    <a:pt x="61" y="179"/>
                    <a:pt x="59" y="182"/>
                    <a:pt x="59" y="186"/>
                  </a:cubicBezTo>
                  <a:cubicBezTo>
                    <a:pt x="58" y="188"/>
                    <a:pt x="60" y="190"/>
                    <a:pt x="62" y="191"/>
                  </a:cubicBezTo>
                  <a:cubicBezTo>
                    <a:pt x="63" y="191"/>
                    <a:pt x="64" y="191"/>
                    <a:pt x="65" y="191"/>
                  </a:cubicBezTo>
                  <a:cubicBezTo>
                    <a:pt x="70" y="192"/>
                    <a:pt x="72" y="193"/>
                    <a:pt x="72" y="198"/>
                  </a:cubicBezTo>
                  <a:cubicBezTo>
                    <a:pt x="72" y="200"/>
                    <a:pt x="72" y="202"/>
                    <a:pt x="72" y="204"/>
                  </a:cubicBezTo>
                  <a:cubicBezTo>
                    <a:pt x="72" y="206"/>
                    <a:pt x="71" y="209"/>
                    <a:pt x="69" y="211"/>
                  </a:cubicBezTo>
                  <a:cubicBezTo>
                    <a:pt x="68" y="211"/>
                    <a:pt x="68" y="211"/>
                    <a:pt x="67" y="211"/>
                  </a:cubicBezTo>
                  <a:cubicBezTo>
                    <a:pt x="67" y="211"/>
                    <a:pt x="66" y="211"/>
                    <a:pt x="66" y="211"/>
                  </a:cubicBezTo>
                  <a:cubicBezTo>
                    <a:pt x="65" y="207"/>
                    <a:pt x="65" y="203"/>
                    <a:pt x="64" y="200"/>
                  </a:cubicBezTo>
                  <a:cubicBezTo>
                    <a:pt x="63" y="198"/>
                    <a:pt x="61" y="197"/>
                    <a:pt x="59" y="196"/>
                  </a:cubicBezTo>
                  <a:cubicBezTo>
                    <a:pt x="56" y="194"/>
                    <a:pt x="52" y="194"/>
                    <a:pt x="48" y="196"/>
                  </a:cubicBezTo>
                  <a:cubicBezTo>
                    <a:pt x="48" y="196"/>
                    <a:pt x="47" y="197"/>
                    <a:pt x="46" y="198"/>
                  </a:cubicBezTo>
                  <a:cubicBezTo>
                    <a:pt x="46" y="199"/>
                    <a:pt x="45" y="201"/>
                    <a:pt x="45" y="202"/>
                  </a:cubicBezTo>
                  <a:cubicBezTo>
                    <a:pt x="45" y="208"/>
                    <a:pt x="46" y="214"/>
                    <a:pt x="47" y="220"/>
                  </a:cubicBezTo>
                  <a:cubicBezTo>
                    <a:pt x="47" y="220"/>
                    <a:pt x="47" y="220"/>
                    <a:pt x="48" y="220"/>
                  </a:cubicBezTo>
                  <a:cubicBezTo>
                    <a:pt x="47" y="220"/>
                    <a:pt x="47" y="220"/>
                    <a:pt x="47" y="220"/>
                  </a:cubicBezTo>
                  <a:cubicBezTo>
                    <a:pt x="47" y="220"/>
                    <a:pt x="47" y="220"/>
                    <a:pt x="47" y="220"/>
                  </a:cubicBezTo>
                  <a:cubicBezTo>
                    <a:pt x="46" y="220"/>
                    <a:pt x="44" y="220"/>
                    <a:pt x="43" y="220"/>
                  </a:cubicBezTo>
                  <a:cubicBezTo>
                    <a:pt x="33" y="218"/>
                    <a:pt x="24" y="221"/>
                    <a:pt x="16" y="226"/>
                  </a:cubicBezTo>
                  <a:cubicBezTo>
                    <a:pt x="16" y="226"/>
                    <a:pt x="15" y="226"/>
                    <a:pt x="15" y="227"/>
                  </a:cubicBezTo>
                  <a:cubicBezTo>
                    <a:pt x="13" y="227"/>
                    <a:pt x="12" y="228"/>
                    <a:pt x="11" y="229"/>
                  </a:cubicBezTo>
                  <a:cubicBezTo>
                    <a:pt x="9" y="231"/>
                    <a:pt x="8" y="229"/>
                    <a:pt x="7" y="228"/>
                  </a:cubicBezTo>
                  <a:cubicBezTo>
                    <a:pt x="5" y="226"/>
                    <a:pt x="2" y="226"/>
                    <a:pt x="2" y="228"/>
                  </a:cubicBezTo>
                  <a:cubicBezTo>
                    <a:pt x="0" y="231"/>
                    <a:pt x="0" y="236"/>
                    <a:pt x="2" y="238"/>
                  </a:cubicBezTo>
                  <a:cubicBezTo>
                    <a:pt x="8" y="242"/>
                    <a:pt x="13" y="246"/>
                    <a:pt x="19" y="248"/>
                  </a:cubicBezTo>
                  <a:cubicBezTo>
                    <a:pt x="26" y="250"/>
                    <a:pt x="32" y="254"/>
                    <a:pt x="38" y="257"/>
                  </a:cubicBezTo>
                  <a:cubicBezTo>
                    <a:pt x="39" y="258"/>
                    <a:pt x="41" y="259"/>
                    <a:pt x="42" y="259"/>
                  </a:cubicBezTo>
                  <a:cubicBezTo>
                    <a:pt x="45" y="260"/>
                    <a:pt x="48" y="260"/>
                    <a:pt x="50" y="257"/>
                  </a:cubicBezTo>
                  <a:cubicBezTo>
                    <a:pt x="50" y="256"/>
                    <a:pt x="51" y="255"/>
                    <a:pt x="51" y="255"/>
                  </a:cubicBezTo>
                  <a:cubicBezTo>
                    <a:pt x="51" y="255"/>
                    <a:pt x="51" y="255"/>
                    <a:pt x="51" y="255"/>
                  </a:cubicBezTo>
                  <a:cubicBezTo>
                    <a:pt x="51" y="254"/>
                    <a:pt x="51" y="254"/>
                    <a:pt x="51" y="254"/>
                  </a:cubicBezTo>
                  <a:cubicBezTo>
                    <a:pt x="51" y="254"/>
                    <a:pt x="51" y="254"/>
                    <a:pt x="51" y="254"/>
                  </a:cubicBezTo>
                  <a:cubicBezTo>
                    <a:pt x="51" y="255"/>
                    <a:pt x="51" y="255"/>
                    <a:pt x="51" y="255"/>
                  </a:cubicBezTo>
                  <a:cubicBezTo>
                    <a:pt x="54" y="254"/>
                    <a:pt x="56" y="253"/>
                    <a:pt x="59" y="255"/>
                  </a:cubicBezTo>
                  <a:cubicBezTo>
                    <a:pt x="64" y="259"/>
                    <a:pt x="70" y="261"/>
                    <a:pt x="77" y="260"/>
                  </a:cubicBezTo>
                  <a:cubicBezTo>
                    <a:pt x="78" y="260"/>
                    <a:pt x="79" y="260"/>
                    <a:pt x="80" y="260"/>
                  </a:cubicBezTo>
                  <a:cubicBezTo>
                    <a:pt x="83" y="261"/>
                    <a:pt x="84" y="262"/>
                    <a:pt x="85" y="266"/>
                  </a:cubicBezTo>
                  <a:cubicBezTo>
                    <a:pt x="85" y="266"/>
                    <a:pt x="84" y="267"/>
                    <a:pt x="84" y="267"/>
                  </a:cubicBezTo>
                  <a:cubicBezTo>
                    <a:pt x="85" y="270"/>
                    <a:pt x="87" y="271"/>
                    <a:pt x="89" y="271"/>
                  </a:cubicBezTo>
                  <a:cubicBezTo>
                    <a:pt x="92" y="270"/>
                    <a:pt x="96" y="269"/>
                    <a:pt x="100" y="268"/>
                  </a:cubicBezTo>
                  <a:cubicBezTo>
                    <a:pt x="102" y="268"/>
                    <a:pt x="105" y="266"/>
                    <a:pt x="107" y="266"/>
                  </a:cubicBezTo>
                  <a:cubicBezTo>
                    <a:pt x="114" y="267"/>
                    <a:pt x="117" y="262"/>
                    <a:pt x="121" y="259"/>
                  </a:cubicBezTo>
                  <a:cubicBezTo>
                    <a:pt x="121" y="258"/>
                    <a:pt x="122" y="258"/>
                    <a:pt x="122" y="257"/>
                  </a:cubicBezTo>
                  <a:cubicBezTo>
                    <a:pt x="124" y="253"/>
                    <a:pt x="123" y="250"/>
                    <a:pt x="118" y="247"/>
                  </a:cubicBezTo>
                  <a:cubicBezTo>
                    <a:pt x="117" y="247"/>
                    <a:pt x="115" y="246"/>
                    <a:pt x="115" y="245"/>
                  </a:cubicBezTo>
                  <a:cubicBezTo>
                    <a:pt x="114" y="242"/>
                    <a:pt x="115" y="241"/>
                    <a:pt x="117" y="239"/>
                  </a:cubicBezTo>
                  <a:cubicBezTo>
                    <a:pt x="118" y="238"/>
                    <a:pt x="119" y="237"/>
                    <a:pt x="121" y="236"/>
                  </a:cubicBezTo>
                  <a:cubicBezTo>
                    <a:pt x="124" y="235"/>
                    <a:pt x="127" y="233"/>
                    <a:pt x="131" y="231"/>
                  </a:cubicBezTo>
                  <a:cubicBezTo>
                    <a:pt x="135" y="229"/>
                    <a:pt x="138" y="226"/>
                    <a:pt x="139" y="222"/>
                  </a:cubicBezTo>
                  <a:cubicBezTo>
                    <a:pt x="140" y="221"/>
                    <a:pt x="140" y="220"/>
                    <a:pt x="140" y="219"/>
                  </a:cubicBezTo>
                  <a:cubicBezTo>
                    <a:pt x="140" y="219"/>
                    <a:pt x="141" y="218"/>
                    <a:pt x="141" y="218"/>
                  </a:cubicBezTo>
                  <a:cubicBezTo>
                    <a:pt x="142" y="216"/>
                    <a:pt x="144" y="214"/>
                    <a:pt x="146" y="215"/>
                  </a:cubicBezTo>
                  <a:cubicBezTo>
                    <a:pt x="152" y="217"/>
                    <a:pt x="157" y="216"/>
                    <a:pt x="162" y="216"/>
                  </a:cubicBezTo>
                  <a:cubicBezTo>
                    <a:pt x="165" y="216"/>
                    <a:pt x="166" y="213"/>
                    <a:pt x="165" y="210"/>
                  </a:cubicBezTo>
                  <a:cubicBezTo>
                    <a:pt x="165" y="209"/>
                    <a:pt x="164" y="208"/>
                    <a:pt x="164" y="208"/>
                  </a:cubicBezTo>
                  <a:cubicBezTo>
                    <a:pt x="164" y="208"/>
                    <a:pt x="164" y="208"/>
                    <a:pt x="164" y="208"/>
                  </a:cubicBezTo>
                  <a:cubicBezTo>
                    <a:pt x="163" y="208"/>
                    <a:pt x="163" y="207"/>
                    <a:pt x="163" y="207"/>
                  </a:cubicBezTo>
                  <a:cubicBezTo>
                    <a:pt x="162" y="207"/>
                    <a:pt x="162" y="207"/>
                    <a:pt x="161" y="207"/>
                  </a:cubicBezTo>
                  <a:cubicBezTo>
                    <a:pt x="162" y="206"/>
                    <a:pt x="162" y="207"/>
                    <a:pt x="163" y="207"/>
                  </a:cubicBezTo>
                  <a:cubicBezTo>
                    <a:pt x="163" y="207"/>
                    <a:pt x="164" y="207"/>
                    <a:pt x="164" y="207"/>
                  </a:cubicBezTo>
                  <a:cubicBezTo>
                    <a:pt x="164" y="207"/>
                    <a:pt x="164" y="208"/>
                    <a:pt x="164" y="208"/>
                  </a:cubicBezTo>
                  <a:cubicBezTo>
                    <a:pt x="169" y="208"/>
                    <a:pt x="173" y="207"/>
                    <a:pt x="176" y="203"/>
                  </a:cubicBezTo>
                  <a:cubicBezTo>
                    <a:pt x="177" y="201"/>
                    <a:pt x="179" y="199"/>
                    <a:pt x="181" y="197"/>
                  </a:cubicBezTo>
                  <a:cubicBezTo>
                    <a:pt x="183" y="195"/>
                    <a:pt x="185" y="193"/>
                    <a:pt x="186" y="191"/>
                  </a:cubicBezTo>
                  <a:cubicBezTo>
                    <a:pt x="188" y="189"/>
                    <a:pt x="188" y="186"/>
                    <a:pt x="186" y="183"/>
                  </a:cubicBezTo>
                  <a:cubicBezTo>
                    <a:pt x="185" y="181"/>
                    <a:pt x="183" y="179"/>
                    <a:pt x="184" y="177"/>
                  </a:cubicBezTo>
                  <a:cubicBezTo>
                    <a:pt x="183" y="176"/>
                    <a:pt x="183" y="176"/>
                    <a:pt x="183" y="176"/>
                  </a:cubicBezTo>
                  <a:cubicBezTo>
                    <a:pt x="183" y="176"/>
                    <a:pt x="183" y="176"/>
                    <a:pt x="182" y="176"/>
                  </a:cubicBezTo>
                  <a:cubicBezTo>
                    <a:pt x="183" y="176"/>
                    <a:pt x="183" y="176"/>
                    <a:pt x="184" y="176"/>
                  </a:cubicBezTo>
                  <a:cubicBezTo>
                    <a:pt x="184" y="176"/>
                    <a:pt x="184" y="176"/>
                    <a:pt x="184" y="177"/>
                  </a:cubicBezTo>
                  <a:cubicBezTo>
                    <a:pt x="186" y="177"/>
                    <a:pt x="188" y="178"/>
                    <a:pt x="191" y="179"/>
                  </a:cubicBezTo>
                  <a:cubicBezTo>
                    <a:pt x="194" y="180"/>
                    <a:pt x="196" y="178"/>
                    <a:pt x="197" y="175"/>
                  </a:cubicBezTo>
                  <a:cubicBezTo>
                    <a:pt x="197" y="173"/>
                    <a:pt x="196" y="170"/>
                    <a:pt x="194" y="169"/>
                  </a:cubicBezTo>
                  <a:cubicBezTo>
                    <a:pt x="192" y="168"/>
                    <a:pt x="190" y="167"/>
                    <a:pt x="188" y="167"/>
                  </a:cubicBezTo>
                  <a:cubicBezTo>
                    <a:pt x="187" y="166"/>
                    <a:pt x="187" y="166"/>
                    <a:pt x="186" y="166"/>
                  </a:cubicBezTo>
                  <a:cubicBezTo>
                    <a:pt x="187" y="165"/>
                    <a:pt x="188" y="164"/>
                    <a:pt x="188" y="164"/>
                  </a:cubicBezTo>
                  <a:cubicBezTo>
                    <a:pt x="190" y="163"/>
                    <a:pt x="192" y="162"/>
                    <a:pt x="193" y="162"/>
                  </a:cubicBezTo>
                  <a:cubicBezTo>
                    <a:pt x="198" y="163"/>
                    <a:pt x="203" y="163"/>
                    <a:pt x="208" y="163"/>
                  </a:cubicBezTo>
                  <a:cubicBezTo>
                    <a:pt x="211" y="163"/>
                    <a:pt x="213" y="161"/>
                    <a:pt x="213" y="158"/>
                  </a:cubicBezTo>
                  <a:cubicBezTo>
                    <a:pt x="214" y="157"/>
                    <a:pt x="214" y="156"/>
                    <a:pt x="214" y="155"/>
                  </a:cubicBezTo>
                  <a:cubicBezTo>
                    <a:pt x="215" y="156"/>
                    <a:pt x="216" y="156"/>
                    <a:pt x="217" y="157"/>
                  </a:cubicBezTo>
                  <a:cubicBezTo>
                    <a:pt x="218" y="157"/>
                    <a:pt x="219" y="158"/>
                    <a:pt x="219" y="159"/>
                  </a:cubicBezTo>
                  <a:cubicBezTo>
                    <a:pt x="227" y="162"/>
                    <a:pt x="231" y="161"/>
                    <a:pt x="237" y="155"/>
                  </a:cubicBezTo>
                  <a:cubicBezTo>
                    <a:pt x="242" y="149"/>
                    <a:pt x="248" y="143"/>
                    <a:pt x="256" y="139"/>
                  </a:cubicBezTo>
                  <a:cubicBezTo>
                    <a:pt x="260" y="137"/>
                    <a:pt x="264" y="136"/>
                    <a:pt x="266" y="132"/>
                  </a:cubicBezTo>
                  <a:cubicBezTo>
                    <a:pt x="268" y="130"/>
                    <a:pt x="271" y="129"/>
                    <a:pt x="273" y="128"/>
                  </a:cubicBezTo>
                  <a:cubicBezTo>
                    <a:pt x="282" y="126"/>
                    <a:pt x="289" y="121"/>
                    <a:pt x="298" y="120"/>
                  </a:cubicBezTo>
                  <a:cubicBezTo>
                    <a:pt x="305" y="115"/>
                    <a:pt x="313" y="111"/>
                    <a:pt x="320" y="107"/>
                  </a:cubicBezTo>
                  <a:cubicBezTo>
                    <a:pt x="321" y="106"/>
                    <a:pt x="322" y="104"/>
                    <a:pt x="322" y="103"/>
                  </a:cubicBezTo>
                  <a:cubicBezTo>
                    <a:pt x="323" y="101"/>
                    <a:pt x="322" y="100"/>
                    <a:pt x="318" y="99"/>
                  </a:cubicBezTo>
                  <a:cubicBezTo>
                    <a:pt x="316" y="99"/>
                    <a:pt x="314" y="98"/>
                    <a:pt x="312" y="97"/>
                  </a:cubicBezTo>
                  <a:cubicBezTo>
                    <a:pt x="312" y="97"/>
                    <a:pt x="312" y="97"/>
                    <a:pt x="312" y="97"/>
                  </a:cubicBezTo>
                  <a:cubicBezTo>
                    <a:pt x="311" y="98"/>
                    <a:pt x="311" y="98"/>
                    <a:pt x="311" y="98"/>
                  </a:cubicBezTo>
                  <a:cubicBezTo>
                    <a:pt x="312" y="97"/>
                    <a:pt x="312" y="97"/>
                    <a:pt x="312" y="97"/>
                  </a:cubicBezTo>
                  <a:cubicBezTo>
                    <a:pt x="312" y="97"/>
                    <a:pt x="312" y="97"/>
                    <a:pt x="312" y="97"/>
                  </a:cubicBezTo>
                  <a:cubicBezTo>
                    <a:pt x="313" y="95"/>
                    <a:pt x="313" y="94"/>
                    <a:pt x="316" y="94"/>
                  </a:cubicBezTo>
                  <a:cubicBezTo>
                    <a:pt x="324" y="93"/>
                    <a:pt x="333" y="92"/>
                    <a:pt x="341" y="92"/>
                  </a:cubicBezTo>
                  <a:cubicBezTo>
                    <a:pt x="348" y="88"/>
                    <a:pt x="356" y="84"/>
                    <a:pt x="364" y="81"/>
                  </a:cubicBezTo>
                  <a:cubicBezTo>
                    <a:pt x="365" y="80"/>
                    <a:pt x="366" y="80"/>
                    <a:pt x="367" y="79"/>
                  </a:cubicBezTo>
                  <a:cubicBezTo>
                    <a:pt x="369" y="77"/>
                    <a:pt x="371" y="75"/>
                    <a:pt x="372" y="73"/>
                  </a:cubicBezTo>
                  <a:cubicBezTo>
                    <a:pt x="373" y="70"/>
                    <a:pt x="373" y="67"/>
                    <a:pt x="373" y="64"/>
                  </a:cubicBezTo>
                  <a:cubicBezTo>
                    <a:pt x="373" y="61"/>
                    <a:pt x="371" y="58"/>
                    <a:pt x="368" y="57"/>
                  </a:cubicBezTo>
                  <a:cubicBezTo>
                    <a:pt x="366" y="56"/>
                    <a:pt x="365" y="55"/>
                    <a:pt x="365" y="52"/>
                  </a:cubicBezTo>
                  <a:cubicBezTo>
                    <a:pt x="365" y="49"/>
                    <a:pt x="365" y="45"/>
                    <a:pt x="365" y="41"/>
                  </a:cubicBezTo>
                  <a:cubicBezTo>
                    <a:pt x="365" y="40"/>
                    <a:pt x="364" y="39"/>
                    <a:pt x="363" y="39"/>
                  </a:cubicBezTo>
                  <a:cubicBezTo>
                    <a:pt x="360" y="38"/>
                    <a:pt x="356" y="36"/>
                    <a:pt x="353" y="36"/>
                  </a:cubicBezTo>
                  <a:cubicBezTo>
                    <a:pt x="349" y="35"/>
                    <a:pt x="346" y="35"/>
                    <a:pt x="343" y="37"/>
                  </a:cubicBezTo>
                  <a:cubicBezTo>
                    <a:pt x="342" y="37"/>
                    <a:pt x="341" y="37"/>
                    <a:pt x="340" y="38"/>
                  </a:cubicBezTo>
                  <a:cubicBezTo>
                    <a:pt x="340" y="38"/>
                    <a:pt x="339" y="38"/>
                    <a:pt x="339" y="38"/>
                  </a:cubicBezTo>
                  <a:cubicBezTo>
                    <a:pt x="339" y="39"/>
                    <a:pt x="339" y="39"/>
                    <a:pt x="338" y="39"/>
                  </a:cubicBezTo>
                  <a:cubicBezTo>
                    <a:pt x="338" y="39"/>
                    <a:pt x="337" y="40"/>
                    <a:pt x="337" y="40"/>
                  </a:cubicBezTo>
                  <a:cubicBezTo>
                    <a:pt x="337" y="40"/>
                    <a:pt x="336" y="40"/>
                    <a:pt x="336" y="40"/>
                  </a:cubicBezTo>
                  <a:cubicBezTo>
                    <a:pt x="336" y="39"/>
                    <a:pt x="337" y="39"/>
                    <a:pt x="338" y="39"/>
                  </a:cubicBezTo>
                  <a:cubicBezTo>
                    <a:pt x="338" y="38"/>
                    <a:pt x="339" y="38"/>
                    <a:pt x="339" y="38"/>
                  </a:cubicBezTo>
                  <a:cubicBezTo>
                    <a:pt x="339" y="38"/>
                    <a:pt x="339" y="38"/>
                    <a:pt x="340" y="38"/>
                  </a:cubicBezTo>
                  <a:cubicBezTo>
                    <a:pt x="341" y="36"/>
                    <a:pt x="343" y="34"/>
                    <a:pt x="345" y="33"/>
                  </a:cubicBezTo>
                  <a:cubicBezTo>
                    <a:pt x="347" y="31"/>
                    <a:pt x="348" y="30"/>
                    <a:pt x="345" y="28"/>
                  </a:cubicBezTo>
                  <a:cubicBezTo>
                    <a:pt x="344" y="27"/>
                    <a:pt x="343" y="27"/>
                    <a:pt x="342" y="26"/>
                  </a:cubicBezTo>
                  <a:cubicBezTo>
                    <a:pt x="341" y="26"/>
                    <a:pt x="341" y="25"/>
                    <a:pt x="341" y="25"/>
                  </a:cubicBezTo>
                  <a:cubicBezTo>
                    <a:pt x="336" y="25"/>
                    <a:pt x="333" y="22"/>
                    <a:pt x="329" y="21"/>
                  </a:cubicBezTo>
                  <a:cubicBezTo>
                    <a:pt x="325" y="21"/>
                    <a:pt x="324" y="19"/>
                    <a:pt x="323" y="16"/>
                  </a:cubicBezTo>
                  <a:cubicBezTo>
                    <a:pt x="322" y="14"/>
                    <a:pt x="320" y="13"/>
                    <a:pt x="318" y="12"/>
                  </a:cubicBezTo>
                  <a:cubicBezTo>
                    <a:pt x="314" y="12"/>
                    <a:pt x="309" y="11"/>
                    <a:pt x="305" y="10"/>
                  </a:cubicBezTo>
                  <a:cubicBezTo>
                    <a:pt x="301" y="8"/>
                    <a:pt x="297" y="9"/>
                    <a:pt x="293" y="11"/>
                  </a:cubicBezTo>
                  <a:cubicBezTo>
                    <a:pt x="290" y="13"/>
                    <a:pt x="288" y="11"/>
                    <a:pt x="288" y="8"/>
                  </a:cubicBezTo>
                  <a:cubicBezTo>
                    <a:pt x="288" y="6"/>
                    <a:pt x="289" y="5"/>
                    <a:pt x="288" y="5"/>
                  </a:cubicBezTo>
                  <a:cubicBezTo>
                    <a:pt x="282" y="3"/>
                    <a:pt x="276" y="2"/>
                    <a:pt x="270" y="1"/>
                  </a:cubicBezTo>
                  <a:cubicBezTo>
                    <a:pt x="268" y="0"/>
                    <a:pt x="266" y="1"/>
                    <a:pt x="263" y="1"/>
                  </a:cubicBezTo>
                  <a:cubicBezTo>
                    <a:pt x="261" y="1"/>
                    <a:pt x="259" y="3"/>
                    <a:pt x="259" y="5"/>
                  </a:cubicBezTo>
                  <a:cubicBezTo>
                    <a:pt x="259" y="9"/>
                    <a:pt x="258" y="12"/>
                    <a:pt x="258" y="16"/>
                  </a:cubicBezTo>
                  <a:cubicBezTo>
                    <a:pt x="258" y="16"/>
                    <a:pt x="257" y="17"/>
                    <a:pt x="257" y="17"/>
                  </a:cubicBezTo>
                  <a:cubicBezTo>
                    <a:pt x="256" y="17"/>
                    <a:pt x="255" y="17"/>
                    <a:pt x="254" y="15"/>
                  </a:cubicBezTo>
                  <a:cubicBezTo>
                    <a:pt x="254" y="14"/>
                    <a:pt x="254" y="12"/>
                    <a:pt x="254" y="11"/>
                  </a:cubicBezTo>
                  <a:cubicBezTo>
                    <a:pt x="254" y="10"/>
                    <a:pt x="254" y="10"/>
                    <a:pt x="254" y="9"/>
                  </a:cubicBezTo>
                  <a:cubicBezTo>
                    <a:pt x="253" y="9"/>
                    <a:pt x="252" y="7"/>
                    <a:pt x="251" y="8"/>
                  </a:cubicBezTo>
                  <a:cubicBezTo>
                    <a:pt x="247" y="8"/>
                    <a:pt x="244" y="5"/>
                    <a:pt x="242" y="2"/>
                  </a:cubicBezTo>
                  <a:cubicBezTo>
                    <a:pt x="240" y="0"/>
                    <a:pt x="237" y="0"/>
                    <a:pt x="234" y="1"/>
                  </a:cubicBezTo>
                  <a:cubicBezTo>
                    <a:pt x="232" y="2"/>
                    <a:pt x="230" y="4"/>
                    <a:pt x="230" y="7"/>
                  </a:cubicBezTo>
                  <a:cubicBezTo>
                    <a:pt x="230" y="9"/>
                    <a:pt x="231" y="11"/>
                    <a:pt x="231" y="13"/>
                  </a:cubicBezTo>
                  <a:cubicBezTo>
                    <a:pt x="231" y="14"/>
                    <a:pt x="230" y="14"/>
                    <a:pt x="230" y="14"/>
                  </a:cubicBezTo>
                  <a:cubicBezTo>
                    <a:pt x="230" y="15"/>
                    <a:pt x="229" y="15"/>
                    <a:pt x="228" y="14"/>
                  </a:cubicBezTo>
                  <a:cubicBezTo>
                    <a:pt x="227" y="12"/>
                    <a:pt x="226" y="9"/>
                    <a:pt x="224" y="6"/>
                  </a:cubicBezTo>
                  <a:cubicBezTo>
                    <a:pt x="222" y="3"/>
                    <a:pt x="218" y="4"/>
                    <a:pt x="216" y="7"/>
                  </a:cubicBezTo>
                  <a:cubicBezTo>
                    <a:pt x="214" y="10"/>
                    <a:pt x="214" y="10"/>
                    <a:pt x="212" y="9"/>
                  </a:cubicBezTo>
                  <a:cubicBezTo>
                    <a:pt x="211" y="9"/>
                    <a:pt x="211" y="9"/>
                    <a:pt x="210" y="9"/>
                  </a:cubicBezTo>
                  <a:cubicBezTo>
                    <a:pt x="207" y="8"/>
                    <a:pt x="204" y="10"/>
                    <a:pt x="205" y="12"/>
                  </a:cubicBezTo>
                  <a:cubicBezTo>
                    <a:pt x="206" y="16"/>
                    <a:pt x="205" y="19"/>
                    <a:pt x="201" y="21"/>
                  </a:cubicBezTo>
                  <a:cubicBezTo>
                    <a:pt x="200" y="22"/>
                    <a:pt x="200" y="25"/>
                    <a:pt x="198" y="26"/>
                  </a:cubicBezTo>
                  <a:cubicBezTo>
                    <a:pt x="197" y="28"/>
                    <a:pt x="192" y="28"/>
                    <a:pt x="191" y="26"/>
                  </a:cubicBezTo>
                  <a:cubicBezTo>
                    <a:pt x="189" y="22"/>
                    <a:pt x="187" y="17"/>
                    <a:pt x="185" y="13"/>
                  </a:cubicBezTo>
                  <a:cubicBezTo>
                    <a:pt x="184" y="12"/>
                    <a:pt x="181" y="12"/>
                    <a:pt x="179" y="11"/>
                  </a:cubicBezTo>
                  <a:cubicBezTo>
                    <a:pt x="177" y="11"/>
                    <a:pt x="175" y="12"/>
                    <a:pt x="175" y="15"/>
                  </a:cubicBezTo>
                  <a:cubicBezTo>
                    <a:pt x="174" y="18"/>
                    <a:pt x="173" y="20"/>
                    <a:pt x="170" y="20"/>
                  </a:cubicBezTo>
                  <a:cubicBezTo>
                    <a:pt x="168" y="20"/>
                    <a:pt x="167" y="20"/>
                    <a:pt x="166" y="21"/>
                  </a:cubicBezTo>
                  <a:cubicBezTo>
                    <a:pt x="166" y="21"/>
                    <a:pt x="165" y="23"/>
                    <a:pt x="165" y="23"/>
                  </a:cubicBezTo>
                  <a:cubicBezTo>
                    <a:pt x="166" y="27"/>
                    <a:pt x="168" y="31"/>
                    <a:pt x="170" y="35"/>
                  </a:cubicBezTo>
                  <a:cubicBezTo>
                    <a:pt x="170" y="35"/>
                    <a:pt x="170" y="35"/>
                    <a:pt x="170" y="35"/>
                  </a:cubicBezTo>
                  <a:cubicBezTo>
                    <a:pt x="170" y="36"/>
                    <a:pt x="170" y="36"/>
                    <a:pt x="170" y="36"/>
                  </a:cubicBezTo>
                  <a:cubicBezTo>
                    <a:pt x="170" y="35"/>
                    <a:pt x="170" y="35"/>
                    <a:pt x="170" y="35"/>
                  </a:cubicBezTo>
                  <a:cubicBezTo>
                    <a:pt x="170" y="35"/>
                    <a:pt x="170" y="35"/>
                    <a:pt x="170" y="35"/>
                  </a:cubicBezTo>
                  <a:cubicBezTo>
                    <a:pt x="167" y="35"/>
                    <a:pt x="165" y="34"/>
                    <a:pt x="163" y="32"/>
                  </a:cubicBezTo>
                  <a:cubicBezTo>
                    <a:pt x="162" y="30"/>
                    <a:pt x="160" y="29"/>
                    <a:pt x="157" y="30"/>
                  </a:cubicBezTo>
                  <a:cubicBezTo>
                    <a:pt x="155" y="30"/>
                    <a:pt x="154" y="30"/>
                    <a:pt x="153" y="29"/>
                  </a:cubicBezTo>
                  <a:cubicBezTo>
                    <a:pt x="152" y="28"/>
                    <a:pt x="151" y="26"/>
                    <a:pt x="150" y="25"/>
                  </a:cubicBezTo>
                  <a:cubicBezTo>
                    <a:pt x="148" y="23"/>
                    <a:pt x="146" y="23"/>
                    <a:pt x="144" y="24"/>
                  </a:cubicBezTo>
                  <a:cubicBezTo>
                    <a:pt x="143" y="26"/>
                    <a:pt x="141" y="27"/>
                    <a:pt x="140" y="29"/>
                  </a:cubicBezTo>
                  <a:cubicBezTo>
                    <a:pt x="139" y="30"/>
                    <a:pt x="138" y="29"/>
                    <a:pt x="137" y="28"/>
                  </a:cubicBezTo>
                  <a:cubicBezTo>
                    <a:pt x="135" y="26"/>
                    <a:pt x="132" y="26"/>
                    <a:pt x="130" y="26"/>
                  </a:cubicBezTo>
                  <a:cubicBezTo>
                    <a:pt x="124" y="28"/>
                    <a:pt x="118" y="29"/>
                    <a:pt x="113" y="32"/>
                  </a:cubicBezTo>
                  <a:cubicBezTo>
                    <a:pt x="111" y="33"/>
                    <a:pt x="110" y="34"/>
                    <a:pt x="109" y="36"/>
                  </a:cubicBezTo>
                  <a:cubicBezTo>
                    <a:pt x="107" y="38"/>
                    <a:pt x="108" y="42"/>
                    <a:pt x="110" y="44"/>
                  </a:cubicBezTo>
                  <a:cubicBezTo>
                    <a:pt x="111" y="44"/>
                    <a:pt x="112" y="44"/>
                    <a:pt x="113" y="44"/>
                  </a:cubicBezTo>
                  <a:cubicBezTo>
                    <a:pt x="113" y="44"/>
                    <a:pt x="113" y="44"/>
                    <a:pt x="113" y="44"/>
                  </a:cubicBezTo>
                  <a:cubicBezTo>
                    <a:pt x="113" y="44"/>
                    <a:pt x="114" y="44"/>
                    <a:pt x="114" y="44"/>
                  </a:cubicBezTo>
                  <a:cubicBezTo>
                    <a:pt x="115" y="43"/>
                    <a:pt x="116" y="42"/>
                    <a:pt x="116" y="41"/>
                  </a:cubicBezTo>
                  <a:cubicBezTo>
                    <a:pt x="117" y="41"/>
                    <a:pt x="117" y="41"/>
                    <a:pt x="118" y="41"/>
                  </a:cubicBezTo>
                  <a:cubicBezTo>
                    <a:pt x="119" y="42"/>
                    <a:pt x="119" y="43"/>
                    <a:pt x="118" y="43"/>
                  </a:cubicBezTo>
                  <a:cubicBezTo>
                    <a:pt x="116" y="44"/>
                    <a:pt x="115" y="44"/>
                    <a:pt x="114" y="44"/>
                  </a:cubicBezTo>
                  <a:cubicBezTo>
                    <a:pt x="114" y="44"/>
                    <a:pt x="114" y="44"/>
                    <a:pt x="114" y="45"/>
                  </a:cubicBezTo>
                  <a:cubicBezTo>
                    <a:pt x="113" y="45"/>
                    <a:pt x="113" y="44"/>
                    <a:pt x="113" y="44"/>
                  </a:cubicBezTo>
                  <a:cubicBezTo>
                    <a:pt x="114" y="46"/>
                    <a:pt x="114" y="48"/>
                    <a:pt x="114" y="50"/>
                  </a:cubicBezTo>
                  <a:cubicBezTo>
                    <a:pt x="116" y="54"/>
                    <a:pt x="116" y="54"/>
                    <a:pt x="115" y="55"/>
                  </a:cubicBezTo>
                  <a:cubicBezTo>
                    <a:pt x="113" y="56"/>
                    <a:pt x="112" y="57"/>
                    <a:pt x="111" y="58"/>
                  </a:cubicBezTo>
                  <a:cubicBezTo>
                    <a:pt x="109" y="61"/>
                    <a:pt x="110" y="65"/>
                    <a:pt x="114" y="67"/>
                  </a:cubicBezTo>
                  <a:cubicBezTo>
                    <a:pt x="115" y="67"/>
                    <a:pt x="115" y="68"/>
                    <a:pt x="116" y="68"/>
                  </a:cubicBezTo>
                  <a:cubicBezTo>
                    <a:pt x="116" y="68"/>
                    <a:pt x="115" y="69"/>
                    <a:pt x="115" y="69"/>
                  </a:cubicBezTo>
                  <a:cubicBezTo>
                    <a:pt x="114" y="69"/>
                    <a:pt x="112" y="69"/>
                    <a:pt x="111" y="69"/>
                  </a:cubicBezTo>
                  <a:cubicBezTo>
                    <a:pt x="108" y="70"/>
                    <a:pt x="107" y="72"/>
                    <a:pt x="108" y="75"/>
                  </a:cubicBezTo>
                  <a:cubicBezTo>
                    <a:pt x="108" y="79"/>
                    <a:pt x="110" y="82"/>
                    <a:pt x="113" y="86"/>
                  </a:cubicBezTo>
                  <a:cubicBezTo>
                    <a:pt x="116" y="88"/>
                    <a:pt x="120" y="89"/>
                    <a:pt x="123" y="89"/>
                  </a:cubicBezTo>
                  <a:cubicBezTo>
                    <a:pt x="123" y="89"/>
                    <a:pt x="123" y="88"/>
                    <a:pt x="123" y="88"/>
                  </a:cubicBezTo>
                  <a:cubicBezTo>
                    <a:pt x="124" y="88"/>
                    <a:pt x="124" y="88"/>
                    <a:pt x="124" y="88"/>
                  </a:cubicBezTo>
                  <a:cubicBezTo>
                    <a:pt x="124" y="88"/>
                    <a:pt x="124" y="88"/>
                    <a:pt x="124" y="89"/>
                  </a:cubicBezTo>
                  <a:cubicBezTo>
                    <a:pt x="124" y="89"/>
                    <a:pt x="123" y="89"/>
                    <a:pt x="123" y="89"/>
                  </a:cubicBezTo>
                  <a:cubicBezTo>
                    <a:pt x="124" y="90"/>
                    <a:pt x="125" y="92"/>
                    <a:pt x="126" y="94"/>
                  </a:cubicBezTo>
                  <a:cubicBezTo>
                    <a:pt x="130" y="98"/>
                    <a:pt x="135" y="100"/>
                    <a:pt x="141" y="101"/>
                  </a:cubicBezTo>
                  <a:cubicBezTo>
                    <a:pt x="146" y="102"/>
                    <a:pt x="149" y="100"/>
                    <a:pt x="153" y="98"/>
                  </a:cubicBezTo>
                  <a:cubicBezTo>
                    <a:pt x="153" y="98"/>
                    <a:pt x="153" y="98"/>
                    <a:pt x="153" y="98"/>
                  </a:cubicBezTo>
                  <a:cubicBezTo>
                    <a:pt x="153" y="97"/>
                    <a:pt x="154" y="97"/>
                    <a:pt x="153" y="98"/>
                  </a:cubicBezTo>
                  <a:cubicBezTo>
                    <a:pt x="153" y="98"/>
                    <a:pt x="153" y="98"/>
                    <a:pt x="153" y="98"/>
                  </a:cubicBezTo>
                  <a:cubicBezTo>
                    <a:pt x="154" y="100"/>
                    <a:pt x="153" y="102"/>
                    <a:pt x="155" y="103"/>
                  </a:cubicBezTo>
                  <a:cubicBezTo>
                    <a:pt x="161" y="107"/>
                    <a:pt x="168" y="109"/>
                    <a:pt x="175" y="107"/>
                  </a:cubicBezTo>
                  <a:cubicBezTo>
                    <a:pt x="182" y="106"/>
                    <a:pt x="190" y="105"/>
                    <a:pt x="194" y="98"/>
                  </a:cubicBezTo>
                  <a:cubicBezTo>
                    <a:pt x="195" y="96"/>
                    <a:pt x="197" y="96"/>
                    <a:pt x="199" y="95"/>
                  </a:cubicBezTo>
                  <a:cubicBezTo>
                    <a:pt x="199" y="95"/>
                    <a:pt x="199" y="95"/>
                    <a:pt x="199" y="95"/>
                  </a:cubicBezTo>
                  <a:cubicBezTo>
                    <a:pt x="200" y="95"/>
                    <a:pt x="200" y="95"/>
                    <a:pt x="200" y="95"/>
                  </a:cubicBezTo>
                  <a:cubicBezTo>
                    <a:pt x="200" y="95"/>
                    <a:pt x="199" y="95"/>
                    <a:pt x="199" y="95"/>
                  </a:cubicBezTo>
                  <a:cubicBezTo>
                    <a:pt x="199" y="96"/>
                    <a:pt x="198" y="97"/>
                    <a:pt x="198" y="97"/>
                  </a:cubicBezTo>
                  <a:cubicBezTo>
                    <a:pt x="198" y="98"/>
                    <a:pt x="198" y="98"/>
                    <a:pt x="197" y="99"/>
                  </a:cubicBezTo>
                  <a:cubicBezTo>
                    <a:pt x="197" y="101"/>
                    <a:pt x="198" y="103"/>
                    <a:pt x="200" y="104"/>
                  </a:cubicBezTo>
                  <a:cubicBezTo>
                    <a:pt x="203" y="105"/>
                    <a:pt x="206" y="104"/>
                    <a:pt x="209" y="107"/>
                  </a:cubicBezTo>
                  <a:cubicBezTo>
                    <a:pt x="209" y="107"/>
                    <a:pt x="209" y="107"/>
                    <a:pt x="210" y="107"/>
                  </a:cubicBezTo>
                  <a:cubicBezTo>
                    <a:pt x="210" y="107"/>
                    <a:pt x="210" y="107"/>
                    <a:pt x="210" y="107"/>
                  </a:cubicBezTo>
                  <a:cubicBezTo>
                    <a:pt x="209" y="107"/>
                    <a:pt x="209" y="107"/>
                    <a:pt x="209" y="107"/>
                  </a:cubicBezTo>
                  <a:cubicBezTo>
                    <a:pt x="209" y="107"/>
                    <a:pt x="209" y="107"/>
                    <a:pt x="209" y="107"/>
                  </a:cubicBezTo>
                  <a:cubicBezTo>
                    <a:pt x="198" y="106"/>
                    <a:pt x="187" y="106"/>
                    <a:pt x="176" y="111"/>
                  </a:cubicBezTo>
                  <a:cubicBezTo>
                    <a:pt x="171" y="113"/>
                    <a:pt x="166" y="113"/>
                    <a:pt x="162" y="112"/>
                  </a:cubicBezTo>
                  <a:cubicBezTo>
                    <a:pt x="158" y="111"/>
                    <a:pt x="155" y="110"/>
                    <a:pt x="152" y="110"/>
                  </a:cubicBezTo>
                  <a:cubicBezTo>
                    <a:pt x="150" y="110"/>
                    <a:pt x="147" y="112"/>
                    <a:pt x="147" y="114"/>
                  </a:cubicBezTo>
                  <a:cubicBezTo>
                    <a:pt x="147" y="118"/>
                    <a:pt x="146" y="122"/>
                    <a:pt x="146" y="126"/>
                  </a:cubicBezTo>
                  <a:cubicBezTo>
                    <a:pt x="146" y="127"/>
                    <a:pt x="145" y="128"/>
                    <a:pt x="145" y="128"/>
                  </a:cubicBezTo>
                  <a:cubicBezTo>
                    <a:pt x="144" y="127"/>
                    <a:pt x="144" y="127"/>
                    <a:pt x="144" y="126"/>
                  </a:cubicBezTo>
                  <a:cubicBezTo>
                    <a:pt x="142" y="116"/>
                    <a:pt x="136" y="108"/>
                    <a:pt x="126" y="104"/>
                  </a:cubicBezTo>
                  <a:cubicBezTo>
                    <a:pt x="125" y="103"/>
                    <a:pt x="125" y="103"/>
                    <a:pt x="125" y="103"/>
                  </a:cubicBezTo>
                  <a:cubicBezTo>
                    <a:pt x="122" y="102"/>
                    <a:pt x="119" y="102"/>
                    <a:pt x="117" y="104"/>
                  </a:cubicBezTo>
                  <a:cubicBezTo>
                    <a:pt x="114" y="107"/>
                    <a:pt x="110" y="110"/>
                    <a:pt x="107" y="113"/>
                  </a:cubicBezTo>
                  <a:cubicBezTo>
                    <a:pt x="108" y="115"/>
                    <a:pt x="109" y="117"/>
                    <a:pt x="108" y="119"/>
                  </a:cubicBezTo>
                  <a:close/>
                  <a:moveTo>
                    <a:pt x="74" y="217"/>
                  </a:moveTo>
                  <a:cubicBezTo>
                    <a:pt x="73" y="217"/>
                    <a:pt x="73" y="217"/>
                    <a:pt x="73" y="216"/>
                  </a:cubicBezTo>
                  <a:cubicBezTo>
                    <a:pt x="73" y="217"/>
                    <a:pt x="74" y="217"/>
                    <a:pt x="74" y="217"/>
                  </a:cubicBezTo>
                  <a:cubicBezTo>
                    <a:pt x="74" y="217"/>
                    <a:pt x="74" y="217"/>
                    <a:pt x="74" y="217"/>
                  </a:cubicBezTo>
                  <a:close/>
                  <a:moveTo>
                    <a:pt x="81" y="192"/>
                  </a:moveTo>
                  <a:cubicBezTo>
                    <a:pt x="80" y="192"/>
                    <a:pt x="80" y="192"/>
                    <a:pt x="80" y="192"/>
                  </a:cubicBezTo>
                  <a:cubicBezTo>
                    <a:pt x="81" y="192"/>
                    <a:pt x="81" y="192"/>
                    <a:pt x="81" y="192"/>
                  </a:cubicBezTo>
                  <a:cubicBezTo>
                    <a:pt x="81" y="191"/>
                    <a:pt x="81" y="191"/>
                    <a:pt x="81" y="191"/>
                  </a:cubicBezTo>
                  <a:lnTo>
                    <a:pt x="81" y="192"/>
                  </a:lnTo>
                  <a:close/>
                  <a:moveTo>
                    <a:pt x="98" y="228"/>
                  </a:moveTo>
                  <a:cubicBezTo>
                    <a:pt x="98" y="228"/>
                    <a:pt x="98" y="228"/>
                    <a:pt x="98" y="228"/>
                  </a:cubicBezTo>
                  <a:cubicBezTo>
                    <a:pt x="98" y="229"/>
                    <a:pt x="98" y="229"/>
                    <a:pt x="98" y="230"/>
                  </a:cubicBezTo>
                  <a:cubicBezTo>
                    <a:pt x="97" y="230"/>
                    <a:pt x="97" y="230"/>
                    <a:pt x="96" y="230"/>
                  </a:cubicBezTo>
                  <a:cubicBezTo>
                    <a:pt x="96" y="231"/>
                    <a:pt x="96" y="231"/>
                    <a:pt x="95" y="231"/>
                  </a:cubicBezTo>
                  <a:cubicBezTo>
                    <a:pt x="96" y="230"/>
                    <a:pt x="97" y="230"/>
                    <a:pt x="97" y="229"/>
                  </a:cubicBezTo>
                  <a:cubicBezTo>
                    <a:pt x="98" y="229"/>
                    <a:pt x="98" y="229"/>
                    <a:pt x="98" y="228"/>
                  </a:cubicBezTo>
                  <a:cubicBezTo>
                    <a:pt x="98" y="228"/>
                    <a:pt x="98" y="227"/>
                    <a:pt x="99" y="227"/>
                  </a:cubicBezTo>
                  <a:cubicBezTo>
                    <a:pt x="99" y="227"/>
                    <a:pt x="99" y="228"/>
                    <a:pt x="98" y="228"/>
                  </a:cubicBezTo>
                  <a:close/>
                  <a:moveTo>
                    <a:pt x="302" y="102"/>
                  </a:moveTo>
                  <a:cubicBezTo>
                    <a:pt x="302" y="102"/>
                    <a:pt x="303" y="102"/>
                    <a:pt x="303" y="102"/>
                  </a:cubicBezTo>
                  <a:cubicBezTo>
                    <a:pt x="303" y="103"/>
                    <a:pt x="303" y="103"/>
                    <a:pt x="303" y="103"/>
                  </a:cubicBezTo>
                  <a:cubicBezTo>
                    <a:pt x="302" y="103"/>
                    <a:pt x="302" y="103"/>
                    <a:pt x="302" y="103"/>
                  </a:cubicBezTo>
                  <a:cubicBezTo>
                    <a:pt x="302" y="102"/>
                    <a:pt x="302" y="102"/>
                    <a:pt x="302" y="102"/>
                  </a:cubicBezTo>
                  <a:close/>
                  <a:moveTo>
                    <a:pt x="127" y="85"/>
                  </a:moveTo>
                  <a:cubicBezTo>
                    <a:pt x="127" y="85"/>
                    <a:pt x="127" y="86"/>
                    <a:pt x="126" y="86"/>
                  </a:cubicBezTo>
                  <a:cubicBezTo>
                    <a:pt x="126" y="86"/>
                    <a:pt x="127" y="85"/>
                    <a:pt x="127" y="85"/>
                  </a:cubicBezTo>
                  <a:cubicBezTo>
                    <a:pt x="128" y="85"/>
                    <a:pt x="128" y="85"/>
                    <a:pt x="128" y="85"/>
                  </a:cubicBezTo>
                  <a:lnTo>
                    <a:pt x="127" y="85"/>
                  </a:lnTo>
                  <a:close/>
                  <a:moveTo>
                    <a:pt x="177" y="162"/>
                  </a:moveTo>
                  <a:cubicBezTo>
                    <a:pt x="177" y="162"/>
                    <a:pt x="177" y="162"/>
                    <a:pt x="177" y="162"/>
                  </a:cubicBezTo>
                  <a:cubicBezTo>
                    <a:pt x="176" y="162"/>
                    <a:pt x="176" y="162"/>
                    <a:pt x="176" y="162"/>
                  </a:cubicBezTo>
                  <a:lnTo>
                    <a:pt x="177" y="162"/>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21"/>
            <p:cNvSpPr>
              <a:spLocks noEditPoints="1"/>
            </p:cNvSpPr>
            <p:nvPr/>
          </p:nvSpPr>
          <p:spPr bwMode="auto">
            <a:xfrm>
              <a:off x="8718266" y="1635068"/>
              <a:ext cx="567067" cy="743710"/>
            </a:xfrm>
            <a:custGeom>
              <a:avLst/>
              <a:gdLst>
                <a:gd name="T0" fmla="*/ 77 w 265"/>
                <a:gd name="T1" fmla="*/ 134 h 347"/>
                <a:gd name="T2" fmla="*/ 89 w 265"/>
                <a:gd name="T3" fmla="*/ 134 h 347"/>
                <a:gd name="T4" fmla="*/ 82 w 265"/>
                <a:gd name="T5" fmla="*/ 130 h 347"/>
                <a:gd name="T6" fmla="*/ 90 w 265"/>
                <a:gd name="T7" fmla="*/ 133 h 347"/>
                <a:gd name="T8" fmla="*/ 107 w 265"/>
                <a:gd name="T9" fmla="*/ 127 h 347"/>
                <a:gd name="T10" fmla="*/ 106 w 265"/>
                <a:gd name="T11" fmla="*/ 115 h 347"/>
                <a:gd name="T12" fmla="*/ 106 w 265"/>
                <a:gd name="T13" fmla="*/ 115 h 347"/>
                <a:gd name="T14" fmla="*/ 116 w 265"/>
                <a:gd name="T15" fmla="*/ 126 h 347"/>
                <a:gd name="T16" fmla="*/ 118 w 265"/>
                <a:gd name="T17" fmla="*/ 144 h 347"/>
                <a:gd name="T18" fmla="*/ 118 w 265"/>
                <a:gd name="T19" fmla="*/ 167 h 347"/>
                <a:gd name="T20" fmla="*/ 133 w 265"/>
                <a:gd name="T21" fmla="*/ 173 h 347"/>
                <a:gd name="T22" fmla="*/ 134 w 265"/>
                <a:gd name="T23" fmla="*/ 180 h 347"/>
                <a:gd name="T24" fmla="*/ 148 w 265"/>
                <a:gd name="T25" fmla="*/ 212 h 347"/>
                <a:gd name="T26" fmla="*/ 118 w 265"/>
                <a:gd name="T27" fmla="*/ 251 h 347"/>
                <a:gd name="T28" fmla="*/ 76 w 265"/>
                <a:gd name="T29" fmla="*/ 252 h 347"/>
                <a:gd name="T30" fmla="*/ 61 w 265"/>
                <a:gd name="T31" fmla="*/ 275 h 347"/>
                <a:gd name="T32" fmla="*/ 107 w 265"/>
                <a:gd name="T33" fmla="*/ 280 h 347"/>
                <a:gd name="T34" fmla="*/ 124 w 265"/>
                <a:gd name="T35" fmla="*/ 312 h 347"/>
                <a:gd name="T36" fmla="*/ 136 w 265"/>
                <a:gd name="T37" fmla="*/ 322 h 347"/>
                <a:gd name="T38" fmla="*/ 178 w 265"/>
                <a:gd name="T39" fmla="*/ 346 h 347"/>
                <a:gd name="T40" fmla="*/ 163 w 265"/>
                <a:gd name="T41" fmla="*/ 307 h 347"/>
                <a:gd name="T42" fmla="*/ 162 w 265"/>
                <a:gd name="T43" fmla="*/ 305 h 347"/>
                <a:gd name="T44" fmla="*/ 176 w 265"/>
                <a:gd name="T45" fmla="*/ 315 h 347"/>
                <a:gd name="T46" fmla="*/ 200 w 265"/>
                <a:gd name="T47" fmla="*/ 338 h 347"/>
                <a:gd name="T48" fmla="*/ 210 w 265"/>
                <a:gd name="T49" fmla="*/ 310 h 347"/>
                <a:gd name="T50" fmla="*/ 193 w 265"/>
                <a:gd name="T51" fmla="*/ 274 h 347"/>
                <a:gd name="T52" fmla="*/ 186 w 265"/>
                <a:gd name="T53" fmla="*/ 253 h 347"/>
                <a:gd name="T54" fmla="*/ 189 w 265"/>
                <a:gd name="T55" fmla="*/ 254 h 347"/>
                <a:gd name="T56" fmla="*/ 208 w 265"/>
                <a:gd name="T57" fmla="*/ 253 h 347"/>
                <a:gd name="T58" fmla="*/ 228 w 265"/>
                <a:gd name="T59" fmla="*/ 281 h 347"/>
                <a:gd name="T60" fmla="*/ 242 w 265"/>
                <a:gd name="T61" fmla="*/ 265 h 347"/>
                <a:gd name="T62" fmla="*/ 257 w 265"/>
                <a:gd name="T63" fmla="*/ 234 h 347"/>
                <a:gd name="T64" fmla="*/ 251 w 265"/>
                <a:gd name="T65" fmla="*/ 231 h 347"/>
                <a:gd name="T66" fmla="*/ 251 w 265"/>
                <a:gd name="T67" fmla="*/ 228 h 347"/>
                <a:gd name="T68" fmla="*/ 240 w 265"/>
                <a:gd name="T69" fmla="*/ 220 h 347"/>
                <a:gd name="T70" fmla="*/ 219 w 265"/>
                <a:gd name="T71" fmla="*/ 198 h 347"/>
                <a:gd name="T72" fmla="*/ 216 w 265"/>
                <a:gd name="T73" fmla="*/ 172 h 347"/>
                <a:gd name="T74" fmla="*/ 227 w 265"/>
                <a:gd name="T75" fmla="*/ 166 h 347"/>
                <a:gd name="T76" fmla="*/ 209 w 265"/>
                <a:gd name="T77" fmla="*/ 123 h 347"/>
                <a:gd name="T78" fmla="*/ 198 w 265"/>
                <a:gd name="T79" fmla="*/ 115 h 347"/>
                <a:gd name="T80" fmla="*/ 194 w 265"/>
                <a:gd name="T81" fmla="*/ 98 h 347"/>
                <a:gd name="T82" fmla="*/ 170 w 265"/>
                <a:gd name="T83" fmla="*/ 92 h 347"/>
                <a:gd name="T84" fmla="*/ 170 w 265"/>
                <a:gd name="T85" fmla="*/ 79 h 347"/>
                <a:gd name="T86" fmla="*/ 152 w 265"/>
                <a:gd name="T87" fmla="*/ 55 h 347"/>
                <a:gd name="T88" fmla="*/ 126 w 265"/>
                <a:gd name="T89" fmla="*/ 60 h 347"/>
                <a:gd name="T90" fmla="*/ 116 w 265"/>
                <a:gd name="T91" fmla="*/ 61 h 347"/>
                <a:gd name="T92" fmla="*/ 126 w 265"/>
                <a:gd name="T93" fmla="*/ 27 h 347"/>
                <a:gd name="T94" fmla="*/ 91 w 265"/>
                <a:gd name="T95" fmla="*/ 21 h 347"/>
                <a:gd name="T96" fmla="*/ 65 w 265"/>
                <a:gd name="T97" fmla="*/ 54 h 347"/>
                <a:gd name="T98" fmla="*/ 58 w 265"/>
                <a:gd name="T99" fmla="*/ 77 h 347"/>
                <a:gd name="T100" fmla="*/ 50 w 265"/>
                <a:gd name="T101" fmla="*/ 58 h 347"/>
                <a:gd name="T102" fmla="*/ 64 w 265"/>
                <a:gd name="T103" fmla="*/ 30 h 347"/>
                <a:gd name="T104" fmla="*/ 84 w 265"/>
                <a:gd name="T105" fmla="*/ 5 h 347"/>
                <a:gd name="T106" fmla="*/ 20 w 265"/>
                <a:gd name="T107" fmla="*/ 37 h 347"/>
                <a:gd name="T108" fmla="*/ 6 w 265"/>
                <a:gd name="T109" fmla="*/ 77 h 347"/>
                <a:gd name="T110" fmla="*/ 18 w 265"/>
                <a:gd name="T111" fmla="*/ 88 h 347"/>
                <a:gd name="T112" fmla="*/ 6 w 265"/>
                <a:gd name="T113" fmla="*/ 106 h 347"/>
                <a:gd name="T114" fmla="*/ 34 w 265"/>
                <a:gd name="T115" fmla="*/ 120 h 347"/>
                <a:gd name="T116" fmla="*/ 216 w 265"/>
                <a:gd name="T117" fmla="*/ 141 h 347"/>
                <a:gd name="T118" fmla="*/ 215 w 265"/>
                <a:gd name="T119" fmla="*/ 147 h 347"/>
                <a:gd name="T120" fmla="*/ 216 w 265"/>
                <a:gd name="T121" fmla="*/ 141 h 347"/>
                <a:gd name="T122" fmla="*/ 113 w 265"/>
                <a:gd name="T123" fmla="*/ 64 h 347"/>
                <a:gd name="T124" fmla="*/ 53 w 265"/>
                <a:gd name="T125" fmla="*/ 8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347">
                  <a:moveTo>
                    <a:pt x="55" y="127"/>
                  </a:moveTo>
                  <a:cubicBezTo>
                    <a:pt x="61" y="127"/>
                    <a:pt x="66" y="133"/>
                    <a:pt x="73" y="131"/>
                  </a:cubicBezTo>
                  <a:cubicBezTo>
                    <a:pt x="74" y="131"/>
                    <a:pt x="74" y="132"/>
                    <a:pt x="75" y="132"/>
                  </a:cubicBezTo>
                  <a:cubicBezTo>
                    <a:pt x="75" y="133"/>
                    <a:pt x="76" y="133"/>
                    <a:pt x="77" y="134"/>
                  </a:cubicBezTo>
                  <a:cubicBezTo>
                    <a:pt x="80" y="136"/>
                    <a:pt x="82" y="138"/>
                    <a:pt x="85" y="139"/>
                  </a:cubicBezTo>
                  <a:cubicBezTo>
                    <a:pt x="86" y="140"/>
                    <a:pt x="88" y="140"/>
                    <a:pt x="90" y="140"/>
                  </a:cubicBezTo>
                  <a:cubicBezTo>
                    <a:pt x="91" y="140"/>
                    <a:pt x="92" y="138"/>
                    <a:pt x="93" y="138"/>
                  </a:cubicBezTo>
                  <a:cubicBezTo>
                    <a:pt x="91" y="136"/>
                    <a:pt x="90" y="135"/>
                    <a:pt x="89" y="134"/>
                  </a:cubicBezTo>
                  <a:cubicBezTo>
                    <a:pt x="89" y="134"/>
                    <a:pt x="89" y="133"/>
                    <a:pt x="89" y="133"/>
                  </a:cubicBezTo>
                  <a:cubicBezTo>
                    <a:pt x="87" y="134"/>
                    <a:pt x="84" y="133"/>
                    <a:pt x="84" y="131"/>
                  </a:cubicBezTo>
                  <a:cubicBezTo>
                    <a:pt x="83" y="131"/>
                    <a:pt x="83" y="131"/>
                    <a:pt x="83" y="131"/>
                  </a:cubicBezTo>
                  <a:cubicBezTo>
                    <a:pt x="82" y="130"/>
                    <a:pt x="82" y="130"/>
                    <a:pt x="82" y="130"/>
                  </a:cubicBezTo>
                  <a:cubicBezTo>
                    <a:pt x="83" y="130"/>
                    <a:pt x="83" y="130"/>
                    <a:pt x="83" y="130"/>
                  </a:cubicBezTo>
                  <a:cubicBezTo>
                    <a:pt x="83" y="131"/>
                    <a:pt x="83" y="131"/>
                    <a:pt x="84" y="131"/>
                  </a:cubicBezTo>
                  <a:cubicBezTo>
                    <a:pt x="86" y="131"/>
                    <a:pt x="88" y="131"/>
                    <a:pt x="89" y="133"/>
                  </a:cubicBezTo>
                  <a:cubicBezTo>
                    <a:pt x="89" y="133"/>
                    <a:pt x="89" y="133"/>
                    <a:pt x="90" y="133"/>
                  </a:cubicBezTo>
                  <a:cubicBezTo>
                    <a:pt x="91" y="135"/>
                    <a:pt x="92" y="136"/>
                    <a:pt x="93" y="137"/>
                  </a:cubicBezTo>
                  <a:cubicBezTo>
                    <a:pt x="93" y="137"/>
                    <a:pt x="93" y="137"/>
                    <a:pt x="93" y="138"/>
                  </a:cubicBezTo>
                  <a:cubicBezTo>
                    <a:pt x="95" y="137"/>
                    <a:pt x="98" y="137"/>
                    <a:pt x="100" y="136"/>
                  </a:cubicBezTo>
                  <a:cubicBezTo>
                    <a:pt x="105" y="135"/>
                    <a:pt x="107" y="132"/>
                    <a:pt x="107" y="127"/>
                  </a:cubicBezTo>
                  <a:cubicBezTo>
                    <a:pt x="107" y="125"/>
                    <a:pt x="106" y="124"/>
                    <a:pt x="106" y="122"/>
                  </a:cubicBezTo>
                  <a:cubicBezTo>
                    <a:pt x="106" y="122"/>
                    <a:pt x="106" y="122"/>
                    <a:pt x="106" y="122"/>
                  </a:cubicBezTo>
                  <a:cubicBezTo>
                    <a:pt x="106" y="121"/>
                    <a:pt x="106" y="121"/>
                    <a:pt x="106" y="121"/>
                  </a:cubicBezTo>
                  <a:cubicBezTo>
                    <a:pt x="103" y="118"/>
                    <a:pt x="103" y="118"/>
                    <a:pt x="106" y="115"/>
                  </a:cubicBezTo>
                  <a:cubicBezTo>
                    <a:pt x="106" y="115"/>
                    <a:pt x="106" y="115"/>
                    <a:pt x="106" y="115"/>
                  </a:cubicBezTo>
                  <a:cubicBezTo>
                    <a:pt x="106" y="114"/>
                    <a:pt x="106" y="114"/>
                    <a:pt x="107" y="115"/>
                  </a:cubicBezTo>
                  <a:cubicBezTo>
                    <a:pt x="107" y="115"/>
                    <a:pt x="106" y="115"/>
                    <a:pt x="106" y="115"/>
                  </a:cubicBezTo>
                  <a:cubicBezTo>
                    <a:pt x="106" y="115"/>
                    <a:pt x="106" y="115"/>
                    <a:pt x="106" y="115"/>
                  </a:cubicBezTo>
                  <a:cubicBezTo>
                    <a:pt x="106" y="117"/>
                    <a:pt x="106" y="119"/>
                    <a:pt x="106" y="121"/>
                  </a:cubicBezTo>
                  <a:cubicBezTo>
                    <a:pt x="106" y="121"/>
                    <a:pt x="106" y="121"/>
                    <a:pt x="106" y="121"/>
                  </a:cubicBezTo>
                  <a:cubicBezTo>
                    <a:pt x="106" y="122"/>
                    <a:pt x="106" y="122"/>
                    <a:pt x="106" y="122"/>
                  </a:cubicBezTo>
                  <a:cubicBezTo>
                    <a:pt x="109" y="123"/>
                    <a:pt x="113" y="125"/>
                    <a:pt x="116" y="126"/>
                  </a:cubicBezTo>
                  <a:cubicBezTo>
                    <a:pt x="117" y="126"/>
                    <a:pt x="117" y="128"/>
                    <a:pt x="117" y="129"/>
                  </a:cubicBezTo>
                  <a:cubicBezTo>
                    <a:pt x="118" y="129"/>
                    <a:pt x="117" y="130"/>
                    <a:pt x="117" y="130"/>
                  </a:cubicBezTo>
                  <a:cubicBezTo>
                    <a:pt x="116" y="133"/>
                    <a:pt x="114" y="135"/>
                    <a:pt x="115" y="137"/>
                  </a:cubicBezTo>
                  <a:cubicBezTo>
                    <a:pt x="115" y="140"/>
                    <a:pt x="118" y="142"/>
                    <a:pt x="118" y="144"/>
                  </a:cubicBezTo>
                  <a:cubicBezTo>
                    <a:pt x="120" y="149"/>
                    <a:pt x="122" y="154"/>
                    <a:pt x="126" y="158"/>
                  </a:cubicBezTo>
                  <a:cubicBezTo>
                    <a:pt x="127" y="159"/>
                    <a:pt x="126" y="161"/>
                    <a:pt x="125" y="161"/>
                  </a:cubicBezTo>
                  <a:cubicBezTo>
                    <a:pt x="123" y="162"/>
                    <a:pt x="121" y="162"/>
                    <a:pt x="120" y="163"/>
                  </a:cubicBezTo>
                  <a:cubicBezTo>
                    <a:pt x="119" y="164"/>
                    <a:pt x="118" y="166"/>
                    <a:pt x="118" y="167"/>
                  </a:cubicBezTo>
                  <a:cubicBezTo>
                    <a:pt x="118" y="168"/>
                    <a:pt x="119" y="169"/>
                    <a:pt x="119" y="169"/>
                  </a:cubicBezTo>
                  <a:cubicBezTo>
                    <a:pt x="124" y="170"/>
                    <a:pt x="128" y="167"/>
                    <a:pt x="132" y="169"/>
                  </a:cubicBezTo>
                  <a:cubicBezTo>
                    <a:pt x="133" y="170"/>
                    <a:pt x="133" y="170"/>
                    <a:pt x="133" y="170"/>
                  </a:cubicBezTo>
                  <a:cubicBezTo>
                    <a:pt x="134" y="171"/>
                    <a:pt x="134" y="172"/>
                    <a:pt x="133" y="173"/>
                  </a:cubicBezTo>
                  <a:cubicBezTo>
                    <a:pt x="131" y="173"/>
                    <a:pt x="130" y="174"/>
                    <a:pt x="129" y="175"/>
                  </a:cubicBezTo>
                  <a:cubicBezTo>
                    <a:pt x="127" y="176"/>
                    <a:pt x="127" y="178"/>
                    <a:pt x="128" y="179"/>
                  </a:cubicBezTo>
                  <a:cubicBezTo>
                    <a:pt x="129" y="180"/>
                    <a:pt x="130" y="180"/>
                    <a:pt x="131" y="180"/>
                  </a:cubicBezTo>
                  <a:cubicBezTo>
                    <a:pt x="132" y="180"/>
                    <a:pt x="133" y="180"/>
                    <a:pt x="134" y="180"/>
                  </a:cubicBezTo>
                  <a:cubicBezTo>
                    <a:pt x="138" y="179"/>
                    <a:pt x="142" y="179"/>
                    <a:pt x="143" y="184"/>
                  </a:cubicBezTo>
                  <a:cubicBezTo>
                    <a:pt x="143" y="185"/>
                    <a:pt x="144" y="186"/>
                    <a:pt x="145" y="186"/>
                  </a:cubicBezTo>
                  <a:cubicBezTo>
                    <a:pt x="150" y="188"/>
                    <a:pt x="150" y="192"/>
                    <a:pt x="149" y="197"/>
                  </a:cubicBezTo>
                  <a:cubicBezTo>
                    <a:pt x="149" y="202"/>
                    <a:pt x="149" y="207"/>
                    <a:pt x="148" y="212"/>
                  </a:cubicBezTo>
                  <a:cubicBezTo>
                    <a:pt x="148" y="214"/>
                    <a:pt x="147" y="216"/>
                    <a:pt x="144" y="217"/>
                  </a:cubicBezTo>
                  <a:cubicBezTo>
                    <a:pt x="141" y="218"/>
                    <a:pt x="138" y="219"/>
                    <a:pt x="136" y="222"/>
                  </a:cubicBezTo>
                  <a:cubicBezTo>
                    <a:pt x="133" y="227"/>
                    <a:pt x="128" y="229"/>
                    <a:pt x="124" y="232"/>
                  </a:cubicBezTo>
                  <a:cubicBezTo>
                    <a:pt x="115" y="238"/>
                    <a:pt x="112" y="239"/>
                    <a:pt x="118" y="251"/>
                  </a:cubicBezTo>
                  <a:cubicBezTo>
                    <a:pt x="118" y="252"/>
                    <a:pt x="117" y="254"/>
                    <a:pt x="117" y="254"/>
                  </a:cubicBezTo>
                  <a:cubicBezTo>
                    <a:pt x="111" y="254"/>
                    <a:pt x="106" y="255"/>
                    <a:pt x="101" y="257"/>
                  </a:cubicBezTo>
                  <a:cubicBezTo>
                    <a:pt x="95" y="259"/>
                    <a:pt x="90" y="258"/>
                    <a:pt x="85" y="256"/>
                  </a:cubicBezTo>
                  <a:cubicBezTo>
                    <a:pt x="82" y="254"/>
                    <a:pt x="79" y="253"/>
                    <a:pt x="76" y="252"/>
                  </a:cubicBezTo>
                  <a:cubicBezTo>
                    <a:pt x="75" y="251"/>
                    <a:pt x="74" y="252"/>
                    <a:pt x="73" y="252"/>
                  </a:cubicBezTo>
                  <a:cubicBezTo>
                    <a:pt x="71" y="256"/>
                    <a:pt x="67" y="258"/>
                    <a:pt x="64" y="261"/>
                  </a:cubicBezTo>
                  <a:cubicBezTo>
                    <a:pt x="62" y="262"/>
                    <a:pt x="61" y="264"/>
                    <a:pt x="60" y="266"/>
                  </a:cubicBezTo>
                  <a:cubicBezTo>
                    <a:pt x="59" y="268"/>
                    <a:pt x="59" y="273"/>
                    <a:pt x="61" y="275"/>
                  </a:cubicBezTo>
                  <a:cubicBezTo>
                    <a:pt x="67" y="280"/>
                    <a:pt x="73" y="283"/>
                    <a:pt x="80" y="279"/>
                  </a:cubicBezTo>
                  <a:cubicBezTo>
                    <a:pt x="82" y="279"/>
                    <a:pt x="85" y="278"/>
                    <a:pt x="87" y="278"/>
                  </a:cubicBezTo>
                  <a:cubicBezTo>
                    <a:pt x="88" y="277"/>
                    <a:pt x="89" y="277"/>
                    <a:pt x="90" y="278"/>
                  </a:cubicBezTo>
                  <a:cubicBezTo>
                    <a:pt x="95" y="281"/>
                    <a:pt x="101" y="279"/>
                    <a:pt x="107" y="280"/>
                  </a:cubicBezTo>
                  <a:cubicBezTo>
                    <a:pt x="110" y="280"/>
                    <a:pt x="112" y="282"/>
                    <a:pt x="114" y="284"/>
                  </a:cubicBezTo>
                  <a:cubicBezTo>
                    <a:pt x="116" y="289"/>
                    <a:pt x="118" y="294"/>
                    <a:pt x="121" y="298"/>
                  </a:cubicBezTo>
                  <a:cubicBezTo>
                    <a:pt x="124" y="301"/>
                    <a:pt x="125" y="303"/>
                    <a:pt x="123" y="306"/>
                  </a:cubicBezTo>
                  <a:cubicBezTo>
                    <a:pt x="122" y="308"/>
                    <a:pt x="123" y="310"/>
                    <a:pt x="124" y="312"/>
                  </a:cubicBezTo>
                  <a:cubicBezTo>
                    <a:pt x="127" y="316"/>
                    <a:pt x="131" y="320"/>
                    <a:pt x="136" y="322"/>
                  </a:cubicBezTo>
                  <a:cubicBezTo>
                    <a:pt x="136" y="322"/>
                    <a:pt x="136" y="322"/>
                    <a:pt x="136" y="322"/>
                  </a:cubicBezTo>
                  <a:cubicBezTo>
                    <a:pt x="136" y="322"/>
                    <a:pt x="136" y="322"/>
                    <a:pt x="136" y="322"/>
                  </a:cubicBezTo>
                  <a:cubicBezTo>
                    <a:pt x="136" y="322"/>
                    <a:pt x="136" y="322"/>
                    <a:pt x="136" y="322"/>
                  </a:cubicBezTo>
                  <a:cubicBezTo>
                    <a:pt x="139" y="323"/>
                    <a:pt x="142" y="326"/>
                    <a:pt x="145" y="328"/>
                  </a:cubicBezTo>
                  <a:cubicBezTo>
                    <a:pt x="149" y="333"/>
                    <a:pt x="154" y="337"/>
                    <a:pt x="161" y="339"/>
                  </a:cubicBezTo>
                  <a:cubicBezTo>
                    <a:pt x="164" y="339"/>
                    <a:pt x="166" y="342"/>
                    <a:pt x="169" y="343"/>
                  </a:cubicBezTo>
                  <a:cubicBezTo>
                    <a:pt x="172" y="345"/>
                    <a:pt x="175" y="346"/>
                    <a:pt x="178" y="346"/>
                  </a:cubicBezTo>
                  <a:cubicBezTo>
                    <a:pt x="179" y="347"/>
                    <a:pt x="180" y="346"/>
                    <a:pt x="181" y="345"/>
                  </a:cubicBezTo>
                  <a:cubicBezTo>
                    <a:pt x="182" y="342"/>
                    <a:pt x="183" y="339"/>
                    <a:pt x="181" y="336"/>
                  </a:cubicBezTo>
                  <a:cubicBezTo>
                    <a:pt x="177" y="328"/>
                    <a:pt x="173" y="320"/>
                    <a:pt x="166" y="315"/>
                  </a:cubicBezTo>
                  <a:cubicBezTo>
                    <a:pt x="163" y="313"/>
                    <a:pt x="163" y="310"/>
                    <a:pt x="163" y="307"/>
                  </a:cubicBezTo>
                  <a:cubicBezTo>
                    <a:pt x="163" y="307"/>
                    <a:pt x="162" y="306"/>
                    <a:pt x="162" y="306"/>
                  </a:cubicBezTo>
                  <a:cubicBezTo>
                    <a:pt x="162" y="306"/>
                    <a:pt x="162" y="306"/>
                    <a:pt x="162" y="306"/>
                  </a:cubicBezTo>
                  <a:cubicBezTo>
                    <a:pt x="162" y="305"/>
                    <a:pt x="161" y="305"/>
                    <a:pt x="161" y="305"/>
                  </a:cubicBezTo>
                  <a:cubicBezTo>
                    <a:pt x="161" y="305"/>
                    <a:pt x="162" y="305"/>
                    <a:pt x="162" y="305"/>
                  </a:cubicBezTo>
                  <a:cubicBezTo>
                    <a:pt x="162" y="305"/>
                    <a:pt x="162" y="306"/>
                    <a:pt x="162" y="306"/>
                  </a:cubicBezTo>
                  <a:cubicBezTo>
                    <a:pt x="162" y="306"/>
                    <a:pt x="162" y="306"/>
                    <a:pt x="163" y="306"/>
                  </a:cubicBezTo>
                  <a:cubicBezTo>
                    <a:pt x="163" y="306"/>
                    <a:pt x="163" y="306"/>
                    <a:pt x="163" y="307"/>
                  </a:cubicBezTo>
                  <a:cubicBezTo>
                    <a:pt x="168" y="308"/>
                    <a:pt x="172" y="311"/>
                    <a:pt x="176" y="315"/>
                  </a:cubicBezTo>
                  <a:cubicBezTo>
                    <a:pt x="178" y="318"/>
                    <a:pt x="182" y="321"/>
                    <a:pt x="186" y="322"/>
                  </a:cubicBezTo>
                  <a:cubicBezTo>
                    <a:pt x="189" y="324"/>
                    <a:pt x="191" y="326"/>
                    <a:pt x="193" y="329"/>
                  </a:cubicBezTo>
                  <a:cubicBezTo>
                    <a:pt x="194" y="332"/>
                    <a:pt x="196" y="334"/>
                    <a:pt x="198" y="337"/>
                  </a:cubicBezTo>
                  <a:cubicBezTo>
                    <a:pt x="198" y="338"/>
                    <a:pt x="199" y="338"/>
                    <a:pt x="200" y="338"/>
                  </a:cubicBezTo>
                  <a:cubicBezTo>
                    <a:pt x="201" y="338"/>
                    <a:pt x="202" y="337"/>
                    <a:pt x="201" y="336"/>
                  </a:cubicBezTo>
                  <a:cubicBezTo>
                    <a:pt x="199" y="332"/>
                    <a:pt x="199" y="328"/>
                    <a:pt x="202" y="324"/>
                  </a:cubicBezTo>
                  <a:cubicBezTo>
                    <a:pt x="204" y="321"/>
                    <a:pt x="205" y="319"/>
                    <a:pt x="208" y="317"/>
                  </a:cubicBezTo>
                  <a:cubicBezTo>
                    <a:pt x="211" y="315"/>
                    <a:pt x="211" y="313"/>
                    <a:pt x="210" y="310"/>
                  </a:cubicBezTo>
                  <a:cubicBezTo>
                    <a:pt x="210" y="309"/>
                    <a:pt x="210" y="307"/>
                    <a:pt x="209" y="306"/>
                  </a:cubicBezTo>
                  <a:cubicBezTo>
                    <a:pt x="207" y="300"/>
                    <a:pt x="206" y="295"/>
                    <a:pt x="206" y="289"/>
                  </a:cubicBezTo>
                  <a:cubicBezTo>
                    <a:pt x="207" y="285"/>
                    <a:pt x="205" y="283"/>
                    <a:pt x="202" y="281"/>
                  </a:cubicBezTo>
                  <a:cubicBezTo>
                    <a:pt x="199" y="279"/>
                    <a:pt x="196" y="277"/>
                    <a:pt x="193" y="274"/>
                  </a:cubicBezTo>
                  <a:cubicBezTo>
                    <a:pt x="191" y="273"/>
                    <a:pt x="191" y="271"/>
                    <a:pt x="191" y="269"/>
                  </a:cubicBezTo>
                  <a:cubicBezTo>
                    <a:pt x="191" y="264"/>
                    <a:pt x="190" y="260"/>
                    <a:pt x="187" y="256"/>
                  </a:cubicBezTo>
                  <a:cubicBezTo>
                    <a:pt x="186" y="255"/>
                    <a:pt x="186" y="254"/>
                    <a:pt x="186" y="253"/>
                  </a:cubicBezTo>
                  <a:cubicBezTo>
                    <a:pt x="186" y="253"/>
                    <a:pt x="186" y="253"/>
                    <a:pt x="186" y="253"/>
                  </a:cubicBezTo>
                  <a:cubicBezTo>
                    <a:pt x="185" y="252"/>
                    <a:pt x="185" y="252"/>
                    <a:pt x="185" y="252"/>
                  </a:cubicBezTo>
                  <a:cubicBezTo>
                    <a:pt x="186" y="253"/>
                    <a:pt x="186" y="253"/>
                    <a:pt x="186" y="253"/>
                  </a:cubicBezTo>
                  <a:cubicBezTo>
                    <a:pt x="186" y="253"/>
                    <a:pt x="186" y="253"/>
                    <a:pt x="186" y="253"/>
                  </a:cubicBezTo>
                  <a:cubicBezTo>
                    <a:pt x="187" y="253"/>
                    <a:pt x="188" y="254"/>
                    <a:pt x="189" y="254"/>
                  </a:cubicBezTo>
                  <a:cubicBezTo>
                    <a:pt x="194" y="253"/>
                    <a:pt x="194" y="253"/>
                    <a:pt x="196" y="249"/>
                  </a:cubicBezTo>
                  <a:cubicBezTo>
                    <a:pt x="196" y="247"/>
                    <a:pt x="197" y="246"/>
                    <a:pt x="197" y="244"/>
                  </a:cubicBezTo>
                  <a:cubicBezTo>
                    <a:pt x="198" y="243"/>
                    <a:pt x="200" y="243"/>
                    <a:pt x="201" y="244"/>
                  </a:cubicBezTo>
                  <a:cubicBezTo>
                    <a:pt x="204" y="247"/>
                    <a:pt x="206" y="250"/>
                    <a:pt x="208" y="253"/>
                  </a:cubicBezTo>
                  <a:cubicBezTo>
                    <a:pt x="211" y="257"/>
                    <a:pt x="213" y="261"/>
                    <a:pt x="214" y="266"/>
                  </a:cubicBezTo>
                  <a:cubicBezTo>
                    <a:pt x="214" y="268"/>
                    <a:pt x="215" y="270"/>
                    <a:pt x="215" y="272"/>
                  </a:cubicBezTo>
                  <a:cubicBezTo>
                    <a:pt x="216" y="273"/>
                    <a:pt x="216" y="274"/>
                    <a:pt x="217" y="274"/>
                  </a:cubicBezTo>
                  <a:cubicBezTo>
                    <a:pt x="220" y="277"/>
                    <a:pt x="223" y="280"/>
                    <a:pt x="228" y="281"/>
                  </a:cubicBezTo>
                  <a:cubicBezTo>
                    <a:pt x="228" y="281"/>
                    <a:pt x="230" y="280"/>
                    <a:pt x="230" y="280"/>
                  </a:cubicBezTo>
                  <a:cubicBezTo>
                    <a:pt x="231" y="277"/>
                    <a:pt x="232" y="274"/>
                    <a:pt x="233" y="271"/>
                  </a:cubicBezTo>
                  <a:cubicBezTo>
                    <a:pt x="234" y="268"/>
                    <a:pt x="235" y="267"/>
                    <a:pt x="237" y="266"/>
                  </a:cubicBezTo>
                  <a:cubicBezTo>
                    <a:pt x="239" y="266"/>
                    <a:pt x="240" y="266"/>
                    <a:pt x="242" y="265"/>
                  </a:cubicBezTo>
                  <a:cubicBezTo>
                    <a:pt x="249" y="263"/>
                    <a:pt x="252" y="255"/>
                    <a:pt x="259" y="251"/>
                  </a:cubicBezTo>
                  <a:cubicBezTo>
                    <a:pt x="261" y="250"/>
                    <a:pt x="263" y="248"/>
                    <a:pt x="264" y="245"/>
                  </a:cubicBezTo>
                  <a:cubicBezTo>
                    <a:pt x="265" y="244"/>
                    <a:pt x="265" y="242"/>
                    <a:pt x="265" y="241"/>
                  </a:cubicBezTo>
                  <a:cubicBezTo>
                    <a:pt x="263" y="237"/>
                    <a:pt x="261" y="234"/>
                    <a:pt x="257" y="234"/>
                  </a:cubicBezTo>
                  <a:cubicBezTo>
                    <a:pt x="255" y="233"/>
                    <a:pt x="253" y="233"/>
                    <a:pt x="251" y="231"/>
                  </a:cubicBezTo>
                  <a:cubicBezTo>
                    <a:pt x="252" y="231"/>
                    <a:pt x="252" y="231"/>
                    <a:pt x="252" y="231"/>
                  </a:cubicBezTo>
                  <a:cubicBezTo>
                    <a:pt x="252" y="231"/>
                    <a:pt x="252" y="231"/>
                    <a:pt x="252" y="231"/>
                  </a:cubicBezTo>
                  <a:cubicBezTo>
                    <a:pt x="252" y="231"/>
                    <a:pt x="252" y="231"/>
                    <a:pt x="251" y="231"/>
                  </a:cubicBezTo>
                  <a:cubicBezTo>
                    <a:pt x="250" y="230"/>
                    <a:pt x="250" y="229"/>
                    <a:pt x="251" y="228"/>
                  </a:cubicBezTo>
                  <a:cubicBezTo>
                    <a:pt x="252" y="228"/>
                    <a:pt x="252" y="228"/>
                    <a:pt x="252" y="228"/>
                  </a:cubicBezTo>
                  <a:cubicBezTo>
                    <a:pt x="252" y="228"/>
                    <a:pt x="252" y="228"/>
                    <a:pt x="252" y="228"/>
                  </a:cubicBezTo>
                  <a:cubicBezTo>
                    <a:pt x="251" y="228"/>
                    <a:pt x="251" y="228"/>
                    <a:pt x="251" y="228"/>
                  </a:cubicBezTo>
                  <a:cubicBezTo>
                    <a:pt x="251" y="227"/>
                    <a:pt x="250" y="226"/>
                    <a:pt x="249" y="226"/>
                  </a:cubicBezTo>
                  <a:cubicBezTo>
                    <a:pt x="248" y="225"/>
                    <a:pt x="247" y="225"/>
                    <a:pt x="246" y="225"/>
                  </a:cubicBezTo>
                  <a:cubicBezTo>
                    <a:pt x="245" y="225"/>
                    <a:pt x="244" y="225"/>
                    <a:pt x="243" y="225"/>
                  </a:cubicBezTo>
                  <a:cubicBezTo>
                    <a:pt x="241" y="225"/>
                    <a:pt x="239" y="222"/>
                    <a:pt x="240" y="220"/>
                  </a:cubicBezTo>
                  <a:cubicBezTo>
                    <a:pt x="242" y="216"/>
                    <a:pt x="242" y="215"/>
                    <a:pt x="239" y="214"/>
                  </a:cubicBezTo>
                  <a:cubicBezTo>
                    <a:pt x="236" y="212"/>
                    <a:pt x="233" y="210"/>
                    <a:pt x="234" y="207"/>
                  </a:cubicBezTo>
                  <a:cubicBezTo>
                    <a:pt x="231" y="206"/>
                    <a:pt x="228" y="205"/>
                    <a:pt x="225" y="204"/>
                  </a:cubicBezTo>
                  <a:cubicBezTo>
                    <a:pt x="222" y="203"/>
                    <a:pt x="220" y="200"/>
                    <a:pt x="219" y="198"/>
                  </a:cubicBezTo>
                  <a:cubicBezTo>
                    <a:pt x="218" y="193"/>
                    <a:pt x="215" y="190"/>
                    <a:pt x="209" y="189"/>
                  </a:cubicBezTo>
                  <a:cubicBezTo>
                    <a:pt x="208" y="188"/>
                    <a:pt x="207" y="187"/>
                    <a:pt x="208" y="185"/>
                  </a:cubicBezTo>
                  <a:cubicBezTo>
                    <a:pt x="212" y="182"/>
                    <a:pt x="215" y="178"/>
                    <a:pt x="214" y="173"/>
                  </a:cubicBezTo>
                  <a:cubicBezTo>
                    <a:pt x="214" y="172"/>
                    <a:pt x="215" y="171"/>
                    <a:pt x="216" y="172"/>
                  </a:cubicBezTo>
                  <a:cubicBezTo>
                    <a:pt x="219" y="173"/>
                    <a:pt x="221" y="174"/>
                    <a:pt x="224" y="174"/>
                  </a:cubicBezTo>
                  <a:cubicBezTo>
                    <a:pt x="225" y="174"/>
                    <a:pt x="227" y="173"/>
                    <a:pt x="228" y="172"/>
                  </a:cubicBezTo>
                  <a:cubicBezTo>
                    <a:pt x="229" y="171"/>
                    <a:pt x="228" y="169"/>
                    <a:pt x="228" y="168"/>
                  </a:cubicBezTo>
                  <a:cubicBezTo>
                    <a:pt x="228" y="167"/>
                    <a:pt x="227" y="167"/>
                    <a:pt x="227" y="166"/>
                  </a:cubicBezTo>
                  <a:cubicBezTo>
                    <a:pt x="224" y="164"/>
                    <a:pt x="223" y="162"/>
                    <a:pt x="226" y="159"/>
                  </a:cubicBezTo>
                  <a:cubicBezTo>
                    <a:pt x="229" y="156"/>
                    <a:pt x="229" y="153"/>
                    <a:pt x="228" y="150"/>
                  </a:cubicBezTo>
                  <a:cubicBezTo>
                    <a:pt x="226" y="146"/>
                    <a:pt x="224" y="141"/>
                    <a:pt x="223" y="137"/>
                  </a:cubicBezTo>
                  <a:cubicBezTo>
                    <a:pt x="221" y="130"/>
                    <a:pt x="217" y="125"/>
                    <a:pt x="209" y="123"/>
                  </a:cubicBezTo>
                  <a:cubicBezTo>
                    <a:pt x="206" y="123"/>
                    <a:pt x="203" y="121"/>
                    <a:pt x="202" y="117"/>
                  </a:cubicBezTo>
                  <a:cubicBezTo>
                    <a:pt x="202" y="116"/>
                    <a:pt x="200" y="116"/>
                    <a:pt x="199" y="115"/>
                  </a:cubicBezTo>
                  <a:cubicBezTo>
                    <a:pt x="199" y="115"/>
                    <a:pt x="199" y="115"/>
                    <a:pt x="199" y="115"/>
                  </a:cubicBezTo>
                  <a:cubicBezTo>
                    <a:pt x="198" y="115"/>
                    <a:pt x="198" y="115"/>
                    <a:pt x="198" y="115"/>
                  </a:cubicBezTo>
                  <a:cubicBezTo>
                    <a:pt x="199" y="115"/>
                    <a:pt x="199" y="115"/>
                    <a:pt x="199" y="115"/>
                  </a:cubicBezTo>
                  <a:cubicBezTo>
                    <a:pt x="199" y="115"/>
                    <a:pt x="199" y="115"/>
                    <a:pt x="199" y="115"/>
                  </a:cubicBezTo>
                  <a:cubicBezTo>
                    <a:pt x="200" y="111"/>
                    <a:pt x="201" y="108"/>
                    <a:pt x="199" y="104"/>
                  </a:cubicBezTo>
                  <a:cubicBezTo>
                    <a:pt x="197" y="102"/>
                    <a:pt x="196" y="100"/>
                    <a:pt x="194" y="98"/>
                  </a:cubicBezTo>
                  <a:cubicBezTo>
                    <a:pt x="191" y="95"/>
                    <a:pt x="189" y="94"/>
                    <a:pt x="185" y="96"/>
                  </a:cubicBezTo>
                  <a:cubicBezTo>
                    <a:pt x="182" y="98"/>
                    <a:pt x="181" y="98"/>
                    <a:pt x="180" y="95"/>
                  </a:cubicBezTo>
                  <a:cubicBezTo>
                    <a:pt x="178" y="91"/>
                    <a:pt x="175" y="92"/>
                    <a:pt x="172" y="92"/>
                  </a:cubicBezTo>
                  <a:cubicBezTo>
                    <a:pt x="171" y="93"/>
                    <a:pt x="171" y="92"/>
                    <a:pt x="170" y="92"/>
                  </a:cubicBezTo>
                  <a:cubicBezTo>
                    <a:pt x="169" y="91"/>
                    <a:pt x="169" y="91"/>
                    <a:pt x="170" y="90"/>
                  </a:cubicBezTo>
                  <a:cubicBezTo>
                    <a:pt x="172" y="88"/>
                    <a:pt x="173" y="87"/>
                    <a:pt x="174" y="85"/>
                  </a:cubicBezTo>
                  <a:cubicBezTo>
                    <a:pt x="175" y="84"/>
                    <a:pt x="175" y="83"/>
                    <a:pt x="174" y="82"/>
                  </a:cubicBezTo>
                  <a:cubicBezTo>
                    <a:pt x="173" y="81"/>
                    <a:pt x="171" y="80"/>
                    <a:pt x="170" y="79"/>
                  </a:cubicBezTo>
                  <a:cubicBezTo>
                    <a:pt x="169" y="77"/>
                    <a:pt x="171" y="75"/>
                    <a:pt x="171" y="73"/>
                  </a:cubicBezTo>
                  <a:cubicBezTo>
                    <a:pt x="171" y="70"/>
                    <a:pt x="170" y="68"/>
                    <a:pt x="168" y="66"/>
                  </a:cubicBezTo>
                  <a:cubicBezTo>
                    <a:pt x="163" y="62"/>
                    <a:pt x="158" y="59"/>
                    <a:pt x="153" y="55"/>
                  </a:cubicBezTo>
                  <a:cubicBezTo>
                    <a:pt x="152" y="55"/>
                    <a:pt x="152" y="55"/>
                    <a:pt x="152" y="55"/>
                  </a:cubicBezTo>
                  <a:cubicBezTo>
                    <a:pt x="152" y="55"/>
                    <a:pt x="152" y="55"/>
                    <a:pt x="152" y="55"/>
                  </a:cubicBezTo>
                  <a:cubicBezTo>
                    <a:pt x="153" y="55"/>
                    <a:pt x="153" y="55"/>
                    <a:pt x="153" y="55"/>
                  </a:cubicBezTo>
                  <a:cubicBezTo>
                    <a:pt x="147" y="55"/>
                    <a:pt x="143" y="57"/>
                    <a:pt x="139" y="59"/>
                  </a:cubicBezTo>
                  <a:cubicBezTo>
                    <a:pt x="135" y="62"/>
                    <a:pt x="130" y="62"/>
                    <a:pt x="126" y="60"/>
                  </a:cubicBezTo>
                  <a:cubicBezTo>
                    <a:pt x="122" y="58"/>
                    <a:pt x="119" y="59"/>
                    <a:pt x="117" y="61"/>
                  </a:cubicBezTo>
                  <a:cubicBezTo>
                    <a:pt x="116" y="61"/>
                    <a:pt x="116" y="61"/>
                    <a:pt x="116" y="62"/>
                  </a:cubicBezTo>
                  <a:cubicBezTo>
                    <a:pt x="116" y="62"/>
                    <a:pt x="115" y="62"/>
                    <a:pt x="114" y="63"/>
                  </a:cubicBezTo>
                  <a:cubicBezTo>
                    <a:pt x="115" y="62"/>
                    <a:pt x="115" y="62"/>
                    <a:pt x="116" y="61"/>
                  </a:cubicBezTo>
                  <a:cubicBezTo>
                    <a:pt x="116" y="61"/>
                    <a:pt x="116" y="61"/>
                    <a:pt x="117" y="61"/>
                  </a:cubicBezTo>
                  <a:cubicBezTo>
                    <a:pt x="117" y="58"/>
                    <a:pt x="118" y="55"/>
                    <a:pt x="119" y="53"/>
                  </a:cubicBezTo>
                  <a:cubicBezTo>
                    <a:pt x="120" y="46"/>
                    <a:pt x="123" y="39"/>
                    <a:pt x="124" y="32"/>
                  </a:cubicBezTo>
                  <a:cubicBezTo>
                    <a:pt x="124" y="30"/>
                    <a:pt x="124" y="29"/>
                    <a:pt x="126" y="27"/>
                  </a:cubicBezTo>
                  <a:cubicBezTo>
                    <a:pt x="126" y="26"/>
                    <a:pt x="126" y="25"/>
                    <a:pt x="126" y="24"/>
                  </a:cubicBezTo>
                  <a:cubicBezTo>
                    <a:pt x="126" y="18"/>
                    <a:pt x="123" y="17"/>
                    <a:pt x="118" y="16"/>
                  </a:cubicBezTo>
                  <a:cubicBezTo>
                    <a:pt x="115" y="15"/>
                    <a:pt x="113" y="15"/>
                    <a:pt x="110" y="16"/>
                  </a:cubicBezTo>
                  <a:cubicBezTo>
                    <a:pt x="103" y="17"/>
                    <a:pt x="98" y="21"/>
                    <a:pt x="91" y="21"/>
                  </a:cubicBezTo>
                  <a:cubicBezTo>
                    <a:pt x="85" y="21"/>
                    <a:pt x="80" y="23"/>
                    <a:pt x="77" y="27"/>
                  </a:cubicBezTo>
                  <a:cubicBezTo>
                    <a:pt x="75" y="29"/>
                    <a:pt x="72" y="30"/>
                    <a:pt x="70" y="32"/>
                  </a:cubicBezTo>
                  <a:cubicBezTo>
                    <a:pt x="65" y="38"/>
                    <a:pt x="64" y="44"/>
                    <a:pt x="66" y="51"/>
                  </a:cubicBezTo>
                  <a:cubicBezTo>
                    <a:pt x="66" y="52"/>
                    <a:pt x="67" y="54"/>
                    <a:pt x="65" y="54"/>
                  </a:cubicBezTo>
                  <a:cubicBezTo>
                    <a:pt x="62" y="55"/>
                    <a:pt x="60" y="57"/>
                    <a:pt x="58" y="58"/>
                  </a:cubicBezTo>
                  <a:cubicBezTo>
                    <a:pt x="55" y="60"/>
                    <a:pt x="54" y="62"/>
                    <a:pt x="55" y="65"/>
                  </a:cubicBezTo>
                  <a:cubicBezTo>
                    <a:pt x="56" y="68"/>
                    <a:pt x="57" y="71"/>
                    <a:pt x="58" y="74"/>
                  </a:cubicBezTo>
                  <a:cubicBezTo>
                    <a:pt x="58" y="75"/>
                    <a:pt x="58" y="76"/>
                    <a:pt x="58" y="77"/>
                  </a:cubicBezTo>
                  <a:cubicBezTo>
                    <a:pt x="58" y="77"/>
                    <a:pt x="58" y="78"/>
                    <a:pt x="57" y="78"/>
                  </a:cubicBezTo>
                  <a:cubicBezTo>
                    <a:pt x="57" y="78"/>
                    <a:pt x="55" y="79"/>
                    <a:pt x="55" y="78"/>
                  </a:cubicBezTo>
                  <a:cubicBezTo>
                    <a:pt x="50" y="74"/>
                    <a:pt x="47" y="65"/>
                    <a:pt x="49" y="60"/>
                  </a:cubicBezTo>
                  <a:cubicBezTo>
                    <a:pt x="50" y="59"/>
                    <a:pt x="50" y="59"/>
                    <a:pt x="50" y="58"/>
                  </a:cubicBezTo>
                  <a:cubicBezTo>
                    <a:pt x="51" y="57"/>
                    <a:pt x="52" y="55"/>
                    <a:pt x="53" y="53"/>
                  </a:cubicBezTo>
                  <a:cubicBezTo>
                    <a:pt x="56" y="49"/>
                    <a:pt x="57" y="46"/>
                    <a:pt x="56" y="41"/>
                  </a:cubicBezTo>
                  <a:cubicBezTo>
                    <a:pt x="56" y="39"/>
                    <a:pt x="57" y="36"/>
                    <a:pt x="59" y="34"/>
                  </a:cubicBezTo>
                  <a:cubicBezTo>
                    <a:pt x="61" y="33"/>
                    <a:pt x="63" y="32"/>
                    <a:pt x="64" y="30"/>
                  </a:cubicBezTo>
                  <a:cubicBezTo>
                    <a:pt x="70" y="23"/>
                    <a:pt x="77" y="17"/>
                    <a:pt x="86" y="14"/>
                  </a:cubicBezTo>
                  <a:cubicBezTo>
                    <a:pt x="87" y="14"/>
                    <a:pt x="88" y="13"/>
                    <a:pt x="88" y="12"/>
                  </a:cubicBezTo>
                  <a:cubicBezTo>
                    <a:pt x="89" y="11"/>
                    <a:pt x="89" y="9"/>
                    <a:pt x="88" y="9"/>
                  </a:cubicBezTo>
                  <a:cubicBezTo>
                    <a:pt x="87" y="7"/>
                    <a:pt x="86" y="6"/>
                    <a:pt x="84" y="5"/>
                  </a:cubicBezTo>
                  <a:cubicBezTo>
                    <a:pt x="73" y="0"/>
                    <a:pt x="62" y="3"/>
                    <a:pt x="52" y="8"/>
                  </a:cubicBezTo>
                  <a:cubicBezTo>
                    <a:pt x="48" y="11"/>
                    <a:pt x="43" y="14"/>
                    <a:pt x="39" y="18"/>
                  </a:cubicBezTo>
                  <a:cubicBezTo>
                    <a:pt x="33" y="23"/>
                    <a:pt x="29" y="30"/>
                    <a:pt x="22" y="35"/>
                  </a:cubicBezTo>
                  <a:cubicBezTo>
                    <a:pt x="21" y="35"/>
                    <a:pt x="21" y="36"/>
                    <a:pt x="20" y="37"/>
                  </a:cubicBezTo>
                  <a:cubicBezTo>
                    <a:pt x="19" y="39"/>
                    <a:pt x="18" y="40"/>
                    <a:pt x="17" y="42"/>
                  </a:cubicBezTo>
                  <a:cubicBezTo>
                    <a:pt x="16" y="44"/>
                    <a:pt x="15" y="47"/>
                    <a:pt x="14" y="48"/>
                  </a:cubicBezTo>
                  <a:cubicBezTo>
                    <a:pt x="7" y="53"/>
                    <a:pt x="5" y="61"/>
                    <a:pt x="2" y="68"/>
                  </a:cubicBezTo>
                  <a:cubicBezTo>
                    <a:pt x="0" y="71"/>
                    <a:pt x="2" y="75"/>
                    <a:pt x="6" y="77"/>
                  </a:cubicBezTo>
                  <a:cubicBezTo>
                    <a:pt x="10" y="79"/>
                    <a:pt x="14" y="80"/>
                    <a:pt x="18" y="82"/>
                  </a:cubicBezTo>
                  <a:cubicBezTo>
                    <a:pt x="19" y="82"/>
                    <a:pt x="20" y="84"/>
                    <a:pt x="21" y="85"/>
                  </a:cubicBezTo>
                  <a:cubicBezTo>
                    <a:pt x="22" y="85"/>
                    <a:pt x="22" y="87"/>
                    <a:pt x="21" y="88"/>
                  </a:cubicBezTo>
                  <a:cubicBezTo>
                    <a:pt x="21" y="88"/>
                    <a:pt x="19" y="89"/>
                    <a:pt x="18" y="88"/>
                  </a:cubicBezTo>
                  <a:cubicBezTo>
                    <a:pt x="15" y="87"/>
                    <a:pt x="13" y="85"/>
                    <a:pt x="10" y="84"/>
                  </a:cubicBezTo>
                  <a:cubicBezTo>
                    <a:pt x="6" y="82"/>
                    <a:pt x="1" y="85"/>
                    <a:pt x="0" y="89"/>
                  </a:cubicBezTo>
                  <a:cubicBezTo>
                    <a:pt x="0" y="92"/>
                    <a:pt x="0" y="94"/>
                    <a:pt x="0" y="97"/>
                  </a:cubicBezTo>
                  <a:cubicBezTo>
                    <a:pt x="1" y="101"/>
                    <a:pt x="4" y="103"/>
                    <a:pt x="6" y="106"/>
                  </a:cubicBezTo>
                  <a:cubicBezTo>
                    <a:pt x="8" y="109"/>
                    <a:pt x="11" y="109"/>
                    <a:pt x="14" y="109"/>
                  </a:cubicBezTo>
                  <a:cubicBezTo>
                    <a:pt x="15" y="109"/>
                    <a:pt x="17" y="109"/>
                    <a:pt x="18" y="110"/>
                  </a:cubicBezTo>
                  <a:cubicBezTo>
                    <a:pt x="21" y="110"/>
                    <a:pt x="23" y="113"/>
                    <a:pt x="24" y="115"/>
                  </a:cubicBezTo>
                  <a:cubicBezTo>
                    <a:pt x="26" y="118"/>
                    <a:pt x="29" y="120"/>
                    <a:pt x="34" y="120"/>
                  </a:cubicBezTo>
                  <a:cubicBezTo>
                    <a:pt x="38" y="119"/>
                    <a:pt x="39" y="121"/>
                    <a:pt x="40" y="124"/>
                  </a:cubicBezTo>
                  <a:cubicBezTo>
                    <a:pt x="43" y="125"/>
                    <a:pt x="47" y="125"/>
                    <a:pt x="50" y="127"/>
                  </a:cubicBezTo>
                  <a:cubicBezTo>
                    <a:pt x="51" y="127"/>
                    <a:pt x="53" y="126"/>
                    <a:pt x="55" y="127"/>
                  </a:cubicBezTo>
                  <a:close/>
                  <a:moveTo>
                    <a:pt x="216" y="141"/>
                  </a:moveTo>
                  <a:cubicBezTo>
                    <a:pt x="217" y="141"/>
                    <a:pt x="218" y="141"/>
                    <a:pt x="218" y="143"/>
                  </a:cubicBezTo>
                  <a:cubicBezTo>
                    <a:pt x="218" y="144"/>
                    <a:pt x="217" y="145"/>
                    <a:pt x="215" y="146"/>
                  </a:cubicBezTo>
                  <a:cubicBezTo>
                    <a:pt x="215" y="146"/>
                    <a:pt x="215" y="146"/>
                    <a:pt x="215" y="146"/>
                  </a:cubicBezTo>
                  <a:cubicBezTo>
                    <a:pt x="215" y="147"/>
                    <a:pt x="215" y="147"/>
                    <a:pt x="215" y="147"/>
                  </a:cubicBezTo>
                  <a:cubicBezTo>
                    <a:pt x="215" y="146"/>
                    <a:pt x="215" y="146"/>
                    <a:pt x="215" y="146"/>
                  </a:cubicBezTo>
                  <a:cubicBezTo>
                    <a:pt x="215" y="146"/>
                    <a:pt x="215" y="146"/>
                    <a:pt x="215" y="146"/>
                  </a:cubicBezTo>
                  <a:cubicBezTo>
                    <a:pt x="215" y="144"/>
                    <a:pt x="215" y="143"/>
                    <a:pt x="214" y="142"/>
                  </a:cubicBezTo>
                  <a:cubicBezTo>
                    <a:pt x="214" y="142"/>
                    <a:pt x="215" y="141"/>
                    <a:pt x="216" y="141"/>
                  </a:cubicBezTo>
                  <a:close/>
                  <a:moveTo>
                    <a:pt x="113" y="64"/>
                  </a:moveTo>
                  <a:cubicBezTo>
                    <a:pt x="113" y="64"/>
                    <a:pt x="114" y="64"/>
                    <a:pt x="114" y="63"/>
                  </a:cubicBezTo>
                  <a:cubicBezTo>
                    <a:pt x="114" y="64"/>
                    <a:pt x="113" y="64"/>
                    <a:pt x="113" y="65"/>
                  </a:cubicBezTo>
                  <a:cubicBezTo>
                    <a:pt x="113" y="65"/>
                    <a:pt x="112" y="66"/>
                    <a:pt x="113" y="64"/>
                  </a:cubicBezTo>
                  <a:close/>
                  <a:moveTo>
                    <a:pt x="53" y="85"/>
                  </a:moveTo>
                  <a:cubicBezTo>
                    <a:pt x="54" y="85"/>
                    <a:pt x="54" y="85"/>
                    <a:pt x="54" y="85"/>
                  </a:cubicBezTo>
                  <a:cubicBezTo>
                    <a:pt x="52" y="86"/>
                    <a:pt x="52" y="86"/>
                    <a:pt x="52" y="86"/>
                  </a:cubicBezTo>
                  <a:lnTo>
                    <a:pt x="53" y="85"/>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2"/>
            <p:cNvSpPr>
              <a:spLocks/>
            </p:cNvSpPr>
            <p:nvPr/>
          </p:nvSpPr>
          <p:spPr bwMode="auto">
            <a:xfrm>
              <a:off x="8221856" y="1531800"/>
              <a:ext cx="1812"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1" y="0"/>
                  </a:cubicBezTo>
                  <a:cubicBezTo>
                    <a:pt x="1" y="0"/>
                    <a:pt x="1" y="0"/>
                    <a:pt x="0" y="0"/>
                  </a:cubicBezTo>
                  <a:cubicBezTo>
                    <a:pt x="0"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3"/>
            <p:cNvSpPr>
              <a:spLocks/>
            </p:cNvSpPr>
            <p:nvPr/>
          </p:nvSpPr>
          <p:spPr bwMode="auto">
            <a:xfrm>
              <a:off x="8049743" y="1523647"/>
              <a:ext cx="437530" cy="362343"/>
            </a:xfrm>
            <a:custGeom>
              <a:avLst/>
              <a:gdLst>
                <a:gd name="T0" fmla="*/ 74 w 204"/>
                <a:gd name="T1" fmla="*/ 6 h 169"/>
                <a:gd name="T2" fmla="*/ 62 w 204"/>
                <a:gd name="T3" fmla="*/ 9 h 169"/>
                <a:gd name="T4" fmla="*/ 32 w 204"/>
                <a:gd name="T5" fmla="*/ 26 h 169"/>
                <a:gd name="T6" fmla="*/ 22 w 204"/>
                <a:gd name="T7" fmla="*/ 33 h 169"/>
                <a:gd name="T8" fmla="*/ 18 w 204"/>
                <a:gd name="T9" fmla="*/ 49 h 169"/>
                <a:gd name="T10" fmla="*/ 23 w 204"/>
                <a:gd name="T11" fmla="*/ 54 h 169"/>
                <a:gd name="T12" fmla="*/ 39 w 204"/>
                <a:gd name="T13" fmla="*/ 57 h 169"/>
                <a:gd name="T14" fmla="*/ 21 w 204"/>
                <a:gd name="T15" fmla="*/ 60 h 169"/>
                <a:gd name="T16" fmla="*/ 9 w 204"/>
                <a:gd name="T17" fmla="*/ 67 h 169"/>
                <a:gd name="T18" fmla="*/ 18 w 204"/>
                <a:gd name="T19" fmla="*/ 82 h 169"/>
                <a:gd name="T20" fmla="*/ 51 w 204"/>
                <a:gd name="T21" fmla="*/ 87 h 169"/>
                <a:gd name="T22" fmla="*/ 67 w 204"/>
                <a:gd name="T23" fmla="*/ 105 h 169"/>
                <a:gd name="T24" fmla="*/ 42 w 204"/>
                <a:gd name="T25" fmla="*/ 98 h 169"/>
                <a:gd name="T26" fmla="*/ 10 w 204"/>
                <a:gd name="T27" fmla="*/ 95 h 169"/>
                <a:gd name="T28" fmla="*/ 1 w 204"/>
                <a:gd name="T29" fmla="*/ 113 h 169"/>
                <a:gd name="T30" fmla="*/ 24 w 204"/>
                <a:gd name="T31" fmla="*/ 131 h 169"/>
                <a:gd name="T32" fmla="*/ 22 w 204"/>
                <a:gd name="T33" fmla="*/ 142 h 169"/>
                <a:gd name="T34" fmla="*/ 23 w 204"/>
                <a:gd name="T35" fmla="*/ 155 h 169"/>
                <a:gd name="T36" fmla="*/ 31 w 204"/>
                <a:gd name="T37" fmla="*/ 158 h 169"/>
                <a:gd name="T38" fmla="*/ 66 w 204"/>
                <a:gd name="T39" fmla="*/ 158 h 169"/>
                <a:gd name="T40" fmla="*/ 85 w 204"/>
                <a:gd name="T41" fmla="*/ 153 h 169"/>
                <a:gd name="T42" fmla="*/ 103 w 204"/>
                <a:gd name="T43" fmla="*/ 146 h 169"/>
                <a:gd name="T44" fmla="*/ 106 w 204"/>
                <a:gd name="T45" fmla="*/ 149 h 169"/>
                <a:gd name="T46" fmla="*/ 117 w 204"/>
                <a:gd name="T47" fmla="*/ 162 h 169"/>
                <a:gd name="T48" fmla="*/ 134 w 204"/>
                <a:gd name="T49" fmla="*/ 167 h 169"/>
                <a:gd name="T50" fmla="*/ 156 w 204"/>
                <a:gd name="T51" fmla="*/ 162 h 169"/>
                <a:gd name="T52" fmla="*/ 153 w 204"/>
                <a:gd name="T53" fmla="*/ 148 h 169"/>
                <a:gd name="T54" fmla="*/ 148 w 204"/>
                <a:gd name="T55" fmla="*/ 150 h 169"/>
                <a:gd name="T56" fmla="*/ 153 w 204"/>
                <a:gd name="T57" fmla="*/ 148 h 169"/>
                <a:gd name="T58" fmla="*/ 154 w 204"/>
                <a:gd name="T59" fmla="*/ 148 h 169"/>
                <a:gd name="T60" fmla="*/ 157 w 204"/>
                <a:gd name="T61" fmla="*/ 145 h 169"/>
                <a:gd name="T62" fmla="*/ 170 w 204"/>
                <a:gd name="T63" fmla="*/ 151 h 169"/>
                <a:gd name="T64" fmla="*/ 178 w 204"/>
                <a:gd name="T65" fmla="*/ 134 h 169"/>
                <a:gd name="T66" fmla="*/ 170 w 204"/>
                <a:gd name="T67" fmla="*/ 121 h 169"/>
                <a:gd name="T68" fmla="*/ 159 w 204"/>
                <a:gd name="T69" fmla="*/ 101 h 169"/>
                <a:gd name="T70" fmla="*/ 167 w 204"/>
                <a:gd name="T71" fmla="*/ 77 h 169"/>
                <a:gd name="T72" fmla="*/ 177 w 204"/>
                <a:gd name="T73" fmla="*/ 47 h 169"/>
                <a:gd name="T74" fmla="*/ 201 w 204"/>
                <a:gd name="T75" fmla="*/ 28 h 169"/>
                <a:gd name="T76" fmla="*/ 196 w 204"/>
                <a:gd name="T77" fmla="*/ 12 h 169"/>
                <a:gd name="T78" fmla="*/ 176 w 204"/>
                <a:gd name="T79" fmla="*/ 14 h 169"/>
                <a:gd name="T80" fmla="*/ 176 w 204"/>
                <a:gd name="T81" fmla="*/ 31 h 169"/>
                <a:gd name="T82" fmla="*/ 177 w 204"/>
                <a:gd name="T83" fmla="*/ 32 h 169"/>
                <a:gd name="T84" fmla="*/ 176 w 204"/>
                <a:gd name="T85" fmla="*/ 31 h 169"/>
                <a:gd name="T86" fmla="*/ 169 w 204"/>
                <a:gd name="T87" fmla="*/ 24 h 169"/>
                <a:gd name="T88" fmla="*/ 155 w 204"/>
                <a:gd name="T89" fmla="*/ 25 h 169"/>
                <a:gd name="T90" fmla="*/ 144 w 204"/>
                <a:gd name="T91" fmla="*/ 51 h 169"/>
                <a:gd name="T92" fmla="*/ 137 w 204"/>
                <a:gd name="T93" fmla="*/ 71 h 169"/>
                <a:gd name="T94" fmla="*/ 132 w 204"/>
                <a:gd name="T95" fmla="*/ 74 h 169"/>
                <a:gd name="T96" fmla="*/ 135 w 204"/>
                <a:gd name="T97" fmla="*/ 54 h 169"/>
                <a:gd name="T98" fmla="*/ 133 w 204"/>
                <a:gd name="T99" fmla="*/ 28 h 169"/>
                <a:gd name="T100" fmla="*/ 125 w 204"/>
                <a:gd name="T101" fmla="*/ 40 h 169"/>
                <a:gd name="T102" fmla="*/ 107 w 204"/>
                <a:gd name="T103" fmla="*/ 41 h 169"/>
                <a:gd name="T104" fmla="*/ 107 w 204"/>
                <a:gd name="T105" fmla="*/ 39 h 169"/>
                <a:gd name="T106" fmla="*/ 116 w 204"/>
                <a:gd name="T107" fmla="*/ 30 h 169"/>
                <a:gd name="T108" fmla="*/ 97 w 204"/>
                <a:gd name="T109" fmla="*/ 19 h 169"/>
                <a:gd name="T110" fmla="*/ 88 w 204"/>
                <a:gd name="T111" fmla="*/ 25 h 169"/>
                <a:gd name="T112" fmla="*/ 96 w 204"/>
                <a:gd name="T113" fmla="*/ 11 h 169"/>
                <a:gd name="T114" fmla="*/ 91 w 204"/>
                <a:gd name="T115" fmla="*/ 1 h 169"/>
                <a:gd name="T116" fmla="*/ 91 w 204"/>
                <a:gd name="T117" fmla="*/ 0 h 169"/>
                <a:gd name="T118" fmla="*/ 81 w 204"/>
                <a:gd name="T119" fmla="*/ 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4" h="169">
                  <a:moveTo>
                    <a:pt x="81" y="4"/>
                  </a:moveTo>
                  <a:cubicBezTo>
                    <a:pt x="79" y="5"/>
                    <a:pt x="76" y="6"/>
                    <a:pt x="74" y="6"/>
                  </a:cubicBezTo>
                  <a:cubicBezTo>
                    <a:pt x="70" y="7"/>
                    <a:pt x="67" y="7"/>
                    <a:pt x="64" y="7"/>
                  </a:cubicBezTo>
                  <a:cubicBezTo>
                    <a:pt x="63" y="8"/>
                    <a:pt x="63" y="9"/>
                    <a:pt x="62" y="9"/>
                  </a:cubicBezTo>
                  <a:cubicBezTo>
                    <a:pt x="55" y="13"/>
                    <a:pt x="47" y="16"/>
                    <a:pt x="40" y="19"/>
                  </a:cubicBezTo>
                  <a:cubicBezTo>
                    <a:pt x="36" y="20"/>
                    <a:pt x="33" y="22"/>
                    <a:pt x="32" y="26"/>
                  </a:cubicBezTo>
                  <a:cubicBezTo>
                    <a:pt x="32" y="28"/>
                    <a:pt x="30" y="29"/>
                    <a:pt x="29" y="29"/>
                  </a:cubicBezTo>
                  <a:cubicBezTo>
                    <a:pt x="27" y="31"/>
                    <a:pt x="24" y="32"/>
                    <a:pt x="22" y="33"/>
                  </a:cubicBezTo>
                  <a:cubicBezTo>
                    <a:pt x="19" y="36"/>
                    <a:pt x="16" y="38"/>
                    <a:pt x="15" y="42"/>
                  </a:cubicBezTo>
                  <a:cubicBezTo>
                    <a:pt x="15" y="44"/>
                    <a:pt x="17" y="47"/>
                    <a:pt x="18" y="49"/>
                  </a:cubicBezTo>
                  <a:cubicBezTo>
                    <a:pt x="18" y="49"/>
                    <a:pt x="18" y="50"/>
                    <a:pt x="18" y="50"/>
                  </a:cubicBezTo>
                  <a:cubicBezTo>
                    <a:pt x="19" y="53"/>
                    <a:pt x="21" y="54"/>
                    <a:pt x="23" y="54"/>
                  </a:cubicBezTo>
                  <a:cubicBezTo>
                    <a:pt x="28" y="55"/>
                    <a:pt x="33" y="55"/>
                    <a:pt x="38" y="56"/>
                  </a:cubicBezTo>
                  <a:cubicBezTo>
                    <a:pt x="38" y="56"/>
                    <a:pt x="39" y="56"/>
                    <a:pt x="39" y="57"/>
                  </a:cubicBezTo>
                  <a:cubicBezTo>
                    <a:pt x="39" y="58"/>
                    <a:pt x="38" y="59"/>
                    <a:pt x="37" y="59"/>
                  </a:cubicBezTo>
                  <a:cubicBezTo>
                    <a:pt x="32" y="59"/>
                    <a:pt x="26" y="60"/>
                    <a:pt x="21" y="60"/>
                  </a:cubicBezTo>
                  <a:cubicBezTo>
                    <a:pt x="17" y="60"/>
                    <a:pt x="14" y="61"/>
                    <a:pt x="11" y="63"/>
                  </a:cubicBezTo>
                  <a:cubicBezTo>
                    <a:pt x="10" y="64"/>
                    <a:pt x="9" y="66"/>
                    <a:pt x="9" y="67"/>
                  </a:cubicBezTo>
                  <a:cubicBezTo>
                    <a:pt x="9" y="69"/>
                    <a:pt x="9" y="71"/>
                    <a:pt x="9" y="73"/>
                  </a:cubicBezTo>
                  <a:cubicBezTo>
                    <a:pt x="10" y="79"/>
                    <a:pt x="11" y="81"/>
                    <a:pt x="18" y="82"/>
                  </a:cubicBezTo>
                  <a:cubicBezTo>
                    <a:pt x="27" y="84"/>
                    <a:pt x="36" y="87"/>
                    <a:pt x="46" y="86"/>
                  </a:cubicBezTo>
                  <a:cubicBezTo>
                    <a:pt x="47" y="86"/>
                    <a:pt x="49" y="87"/>
                    <a:pt x="51" y="87"/>
                  </a:cubicBezTo>
                  <a:cubicBezTo>
                    <a:pt x="57" y="91"/>
                    <a:pt x="63" y="96"/>
                    <a:pt x="67" y="103"/>
                  </a:cubicBezTo>
                  <a:cubicBezTo>
                    <a:pt x="67" y="104"/>
                    <a:pt x="68" y="105"/>
                    <a:pt x="67" y="105"/>
                  </a:cubicBezTo>
                  <a:cubicBezTo>
                    <a:pt x="66" y="105"/>
                    <a:pt x="66" y="105"/>
                    <a:pt x="65" y="105"/>
                  </a:cubicBezTo>
                  <a:cubicBezTo>
                    <a:pt x="57" y="105"/>
                    <a:pt x="49" y="102"/>
                    <a:pt x="42" y="98"/>
                  </a:cubicBezTo>
                  <a:cubicBezTo>
                    <a:pt x="39" y="97"/>
                    <a:pt x="36" y="95"/>
                    <a:pt x="33" y="95"/>
                  </a:cubicBezTo>
                  <a:cubicBezTo>
                    <a:pt x="25" y="95"/>
                    <a:pt x="17" y="95"/>
                    <a:pt x="10" y="95"/>
                  </a:cubicBezTo>
                  <a:cubicBezTo>
                    <a:pt x="6" y="95"/>
                    <a:pt x="4" y="97"/>
                    <a:pt x="2" y="100"/>
                  </a:cubicBezTo>
                  <a:cubicBezTo>
                    <a:pt x="0" y="104"/>
                    <a:pt x="0" y="108"/>
                    <a:pt x="1" y="113"/>
                  </a:cubicBezTo>
                  <a:cubicBezTo>
                    <a:pt x="1" y="120"/>
                    <a:pt x="5" y="125"/>
                    <a:pt x="13" y="128"/>
                  </a:cubicBezTo>
                  <a:cubicBezTo>
                    <a:pt x="16" y="129"/>
                    <a:pt x="20" y="129"/>
                    <a:pt x="24" y="131"/>
                  </a:cubicBezTo>
                  <a:cubicBezTo>
                    <a:pt x="25" y="131"/>
                    <a:pt x="26" y="134"/>
                    <a:pt x="26" y="135"/>
                  </a:cubicBezTo>
                  <a:cubicBezTo>
                    <a:pt x="25" y="137"/>
                    <a:pt x="23" y="139"/>
                    <a:pt x="22" y="142"/>
                  </a:cubicBezTo>
                  <a:cubicBezTo>
                    <a:pt x="22" y="143"/>
                    <a:pt x="21" y="145"/>
                    <a:pt x="21" y="146"/>
                  </a:cubicBezTo>
                  <a:cubicBezTo>
                    <a:pt x="22" y="149"/>
                    <a:pt x="22" y="152"/>
                    <a:pt x="23" y="155"/>
                  </a:cubicBezTo>
                  <a:cubicBezTo>
                    <a:pt x="24" y="156"/>
                    <a:pt x="25" y="157"/>
                    <a:pt x="26" y="157"/>
                  </a:cubicBezTo>
                  <a:cubicBezTo>
                    <a:pt x="27" y="157"/>
                    <a:pt x="29" y="157"/>
                    <a:pt x="31" y="158"/>
                  </a:cubicBezTo>
                  <a:cubicBezTo>
                    <a:pt x="38" y="158"/>
                    <a:pt x="46" y="157"/>
                    <a:pt x="54" y="159"/>
                  </a:cubicBezTo>
                  <a:cubicBezTo>
                    <a:pt x="58" y="161"/>
                    <a:pt x="62" y="160"/>
                    <a:pt x="66" y="158"/>
                  </a:cubicBezTo>
                  <a:cubicBezTo>
                    <a:pt x="69" y="157"/>
                    <a:pt x="71" y="156"/>
                    <a:pt x="74" y="155"/>
                  </a:cubicBezTo>
                  <a:cubicBezTo>
                    <a:pt x="77" y="153"/>
                    <a:pt x="81" y="152"/>
                    <a:pt x="85" y="153"/>
                  </a:cubicBezTo>
                  <a:cubicBezTo>
                    <a:pt x="89" y="153"/>
                    <a:pt x="93" y="152"/>
                    <a:pt x="97" y="149"/>
                  </a:cubicBezTo>
                  <a:cubicBezTo>
                    <a:pt x="99" y="148"/>
                    <a:pt x="101" y="147"/>
                    <a:pt x="103" y="146"/>
                  </a:cubicBezTo>
                  <a:cubicBezTo>
                    <a:pt x="104" y="146"/>
                    <a:pt x="105" y="146"/>
                    <a:pt x="106" y="147"/>
                  </a:cubicBezTo>
                  <a:cubicBezTo>
                    <a:pt x="106" y="148"/>
                    <a:pt x="106" y="148"/>
                    <a:pt x="106" y="149"/>
                  </a:cubicBezTo>
                  <a:cubicBezTo>
                    <a:pt x="107" y="152"/>
                    <a:pt x="110" y="153"/>
                    <a:pt x="112" y="154"/>
                  </a:cubicBezTo>
                  <a:cubicBezTo>
                    <a:pt x="116" y="156"/>
                    <a:pt x="114" y="160"/>
                    <a:pt x="117" y="162"/>
                  </a:cubicBezTo>
                  <a:cubicBezTo>
                    <a:pt x="117" y="162"/>
                    <a:pt x="117" y="163"/>
                    <a:pt x="118" y="163"/>
                  </a:cubicBezTo>
                  <a:cubicBezTo>
                    <a:pt x="123" y="164"/>
                    <a:pt x="128" y="166"/>
                    <a:pt x="134" y="167"/>
                  </a:cubicBezTo>
                  <a:cubicBezTo>
                    <a:pt x="139" y="168"/>
                    <a:pt x="144" y="169"/>
                    <a:pt x="150" y="167"/>
                  </a:cubicBezTo>
                  <a:cubicBezTo>
                    <a:pt x="153" y="166"/>
                    <a:pt x="155" y="165"/>
                    <a:pt x="156" y="162"/>
                  </a:cubicBezTo>
                  <a:cubicBezTo>
                    <a:pt x="157" y="157"/>
                    <a:pt x="158" y="152"/>
                    <a:pt x="154" y="148"/>
                  </a:cubicBezTo>
                  <a:cubicBezTo>
                    <a:pt x="154" y="148"/>
                    <a:pt x="153" y="148"/>
                    <a:pt x="153" y="148"/>
                  </a:cubicBezTo>
                  <a:cubicBezTo>
                    <a:pt x="152" y="149"/>
                    <a:pt x="151" y="150"/>
                    <a:pt x="150" y="150"/>
                  </a:cubicBezTo>
                  <a:cubicBezTo>
                    <a:pt x="149" y="150"/>
                    <a:pt x="149" y="151"/>
                    <a:pt x="148" y="150"/>
                  </a:cubicBezTo>
                  <a:cubicBezTo>
                    <a:pt x="147" y="149"/>
                    <a:pt x="147" y="149"/>
                    <a:pt x="149" y="148"/>
                  </a:cubicBezTo>
                  <a:cubicBezTo>
                    <a:pt x="150" y="148"/>
                    <a:pt x="152" y="148"/>
                    <a:pt x="153" y="148"/>
                  </a:cubicBezTo>
                  <a:cubicBezTo>
                    <a:pt x="153" y="148"/>
                    <a:pt x="153" y="148"/>
                    <a:pt x="153" y="148"/>
                  </a:cubicBezTo>
                  <a:cubicBezTo>
                    <a:pt x="154" y="148"/>
                    <a:pt x="154" y="148"/>
                    <a:pt x="154" y="148"/>
                  </a:cubicBezTo>
                  <a:cubicBezTo>
                    <a:pt x="154" y="148"/>
                    <a:pt x="154" y="148"/>
                    <a:pt x="154" y="148"/>
                  </a:cubicBezTo>
                  <a:cubicBezTo>
                    <a:pt x="155" y="147"/>
                    <a:pt x="156" y="146"/>
                    <a:pt x="157" y="145"/>
                  </a:cubicBezTo>
                  <a:cubicBezTo>
                    <a:pt x="158" y="143"/>
                    <a:pt x="160" y="143"/>
                    <a:pt x="161" y="144"/>
                  </a:cubicBezTo>
                  <a:cubicBezTo>
                    <a:pt x="164" y="147"/>
                    <a:pt x="168" y="147"/>
                    <a:pt x="170" y="151"/>
                  </a:cubicBezTo>
                  <a:cubicBezTo>
                    <a:pt x="174" y="150"/>
                    <a:pt x="177" y="147"/>
                    <a:pt x="179" y="143"/>
                  </a:cubicBezTo>
                  <a:cubicBezTo>
                    <a:pt x="180" y="140"/>
                    <a:pt x="180" y="137"/>
                    <a:pt x="178" y="134"/>
                  </a:cubicBezTo>
                  <a:cubicBezTo>
                    <a:pt x="177" y="132"/>
                    <a:pt x="176" y="131"/>
                    <a:pt x="174" y="129"/>
                  </a:cubicBezTo>
                  <a:cubicBezTo>
                    <a:pt x="172" y="127"/>
                    <a:pt x="170" y="124"/>
                    <a:pt x="170" y="121"/>
                  </a:cubicBezTo>
                  <a:cubicBezTo>
                    <a:pt x="169" y="117"/>
                    <a:pt x="168" y="114"/>
                    <a:pt x="164" y="112"/>
                  </a:cubicBezTo>
                  <a:cubicBezTo>
                    <a:pt x="161" y="109"/>
                    <a:pt x="160" y="105"/>
                    <a:pt x="159" y="101"/>
                  </a:cubicBezTo>
                  <a:cubicBezTo>
                    <a:pt x="157" y="98"/>
                    <a:pt x="158" y="96"/>
                    <a:pt x="160" y="94"/>
                  </a:cubicBezTo>
                  <a:cubicBezTo>
                    <a:pt x="165" y="89"/>
                    <a:pt x="167" y="83"/>
                    <a:pt x="167" y="77"/>
                  </a:cubicBezTo>
                  <a:cubicBezTo>
                    <a:pt x="167" y="74"/>
                    <a:pt x="167" y="72"/>
                    <a:pt x="168" y="69"/>
                  </a:cubicBezTo>
                  <a:cubicBezTo>
                    <a:pt x="171" y="62"/>
                    <a:pt x="174" y="55"/>
                    <a:pt x="177" y="47"/>
                  </a:cubicBezTo>
                  <a:cubicBezTo>
                    <a:pt x="178" y="45"/>
                    <a:pt x="180" y="43"/>
                    <a:pt x="182" y="42"/>
                  </a:cubicBezTo>
                  <a:cubicBezTo>
                    <a:pt x="189" y="38"/>
                    <a:pt x="195" y="33"/>
                    <a:pt x="201" y="28"/>
                  </a:cubicBezTo>
                  <a:cubicBezTo>
                    <a:pt x="202" y="27"/>
                    <a:pt x="203" y="25"/>
                    <a:pt x="203" y="23"/>
                  </a:cubicBezTo>
                  <a:cubicBezTo>
                    <a:pt x="204" y="17"/>
                    <a:pt x="202" y="14"/>
                    <a:pt x="196" y="12"/>
                  </a:cubicBezTo>
                  <a:cubicBezTo>
                    <a:pt x="193" y="12"/>
                    <a:pt x="190" y="11"/>
                    <a:pt x="186" y="10"/>
                  </a:cubicBezTo>
                  <a:cubicBezTo>
                    <a:pt x="182" y="9"/>
                    <a:pt x="179" y="12"/>
                    <a:pt x="176" y="14"/>
                  </a:cubicBezTo>
                  <a:cubicBezTo>
                    <a:pt x="174" y="16"/>
                    <a:pt x="174" y="18"/>
                    <a:pt x="175" y="21"/>
                  </a:cubicBezTo>
                  <a:cubicBezTo>
                    <a:pt x="176" y="24"/>
                    <a:pt x="176" y="28"/>
                    <a:pt x="176" y="31"/>
                  </a:cubicBezTo>
                  <a:cubicBezTo>
                    <a:pt x="176" y="31"/>
                    <a:pt x="176" y="32"/>
                    <a:pt x="176" y="32"/>
                  </a:cubicBezTo>
                  <a:cubicBezTo>
                    <a:pt x="177" y="32"/>
                    <a:pt x="177" y="32"/>
                    <a:pt x="177" y="32"/>
                  </a:cubicBezTo>
                  <a:cubicBezTo>
                    <a:pt x="176" y="32"/>
                    <a:pt x="176" y="32"/>
                    <a:pt x="176" y="32"/>
                  </a:cubicBezTo>
                  <a:cubicBezTo>
                    <a:pt x="176" y="32"/>
                    <a:pt x="176" y="31"/>
                    <a:pt x="176" y="31"/>
                  </a:cubicBezTo>
                  <a:cubicBezTo>
                    <a:pt x="176" y="30"/>
                    <a:pt x="175" y="30"/>
                    <a:pt x="175" y="29"/>
                  </a:cubicBezTo>
                  <a:cubicBezTo>
                    <a:pt x="174" y="26"/>
                    <a:pt x="172" y="24"/>
                    <a:pt x="169" y="24"/>
                  </a:cubicBezTo>
                  <a:cubicBezTo>
                    <a:pt x="168" y="23"/>
                    <a:pt x="166" y="23"/>
                    <a:pt x="165" y="22"/>
                  </a:cubicBezTo>
                  <a:cubicBezTo>
                    <a:pt x="160" y="19"/>
                    <a:pt x="157" y="22"/>
                    <a:pt x="155" y="25"/>
                  </a:cubicBezTo>
                  <a:cubicBezTo>
                    <a:pt x="154" y="27"/>
                    <a:pt x="152" y="29"/>
                    <a:pt x="151" y="32"/>
                  </a:cubicBezTo>
                  <a:cubicBezTo>
                    <a:pt x="149" y="38"/>
                    <a:pt x="147" y="45"/>
                    <a:pt x="144" y="51"/>
                  </a:cubicBezTo>
                  <a:cubicBezTo>
                    <a:pt x="140" y="57"/>
                    <a:pt x="140" y="64"/>
                    <a:pt x="137" y="70"/>
                  </a:cubicBezTo>
                  <a:cubicBezTo>
                    <a:pt x="137" y="70"/>
                    <a:pt x="137" y="71"/>
                    <a:pt x="137" y="71"/>
                  </a:cubicBezTo>
                  <a:cubicBezTo>
                    <a:pt x="137" y="72"/>
                    <a:pt x="136" y="72"/>
                    <a:pt x="136" y="73"/>
                  </a:cubicBezTo>
                  <a:cubicBezTo>
                    <a:pt x="135" y="74"/>
                    <a:pt x="133" y="75"/>
                    <a:pt x="132" y="74"/>
                  </a:cubicBezTo>
                  <a:cubicBezTo>
                    <a:pt x="131" y="74"/>
                    <a:pt x="129" y="72"/>
                    <a:pt x="129" y="71"/>
                  </a:cubicBezTo>
                  <a:cubicBezTo>
                    <a:pt x="131" y="65"/>
                    <a:pt x="132" y="60"/>
                    <a:pt x="135" y="54"/>
                  </a:cubicBezTo>
                  <a:cubicBezTo>
                    <a:pt x="138" y="47"/>
                    <a:pt x="138" y="39"/>
                    <a:pt x="136" y="32"/>
                  </a:cubicBezTo>
                  <a:cubicBezTo>
                    <a:pt x="135" y="30"/>
                    <a:pt x="134" y="29"/>
                    <a:pt x="133" y="28"/>
                  </a:cubicBezTo>
                  <a:cubicBezTo>
                    <a:pt x="132" y="26"/>
                    <a:pt x="128" y="27"/>
                    <a:pt x="128" y="29"/>
                  </a:cubicBezTo>
                  <a:cubicBezTo>
                    <a:pt x="127" y="32"/>
                    <a:pt x="126" y="36"/>
                    <a:pt x="125" y="40"/>
                  </a:cubicBezTo>
                  <a:cubicBezTo>
                    <a:pt x="125" y="41"/>
                    <a:pt x="124" y="43"/>
                    <a:pt x="122" y="42"/>
                  </a:cubicBezTo>
                  <a:cubicBezTo>
                    <a:pt x="117" y="41"/>
                    <a:pt x="112" y="41"/>
                    <a:pt x="107" y="41"/>
                  </a:cubicBezTo>
                  <a:cubicBezTo>
                    <a:pt x="106" y="41"/>
                    <a:pt x="105" y="40"/>
                    <a:pt x="106" y="40"/>
                  </a:cubicBezTo>
                  <a:cubicBezTo>
                    <a:pt x="106" y="39"/>
                    <a:pt x="107" y="39"/>
                    <a:pt x="107" y="39"/>
                  </a:cubicBezTo>
                  <a:cubicBezTo>
                    <a:pt x="110" y="38"/>
                    <a:pt x="112" y="37"/>
                    <a:pt x="114" y="35"/>
                  </a:cubicBezTo>
                  <a:cubicBezTo>
                    <a:pt x="116" y="34"/>
                    <a:pt x="116" y="31"/>
                    <a:pt x="116" y="30"/>
                  </a:cubicBezTo>
                  <a:cubicBezTo>
                    <a:pt x="114" y="26"/>
                    <a:pt x="110" y="23"/>
                    <a:pt x="107" y="20"/>
                  </a:cubicBezTo>
                  <a:cubicBezTo>
                    <a:pt x="104" y="17"/>
                    <a:pt x="101" y="17"/>
                    <a:pt x="97" y="19"/>
                  </a:cubicBezTo>
                  <a:cubicBezTo>
                    <a:pt x="95" y="20"/>
                    <a:pt x="94" y="22"/>
                    <a:pt x="92" y="23"/>
                  </a:cubicBezTo>
                  <a:cubicBezTo>
                    <a:pt x="91" y="25"/>
                    <a:pt x="90" y="25"/>
                    <a:pt x="88" y="25"/>
                  </a:cubicBezTo>
                  <a:cubicBezTo>
                    <a:pt x="86" y="24"/>
                    <a:pt x="86" y="24"/>
                    <a:pt x="88" y="21"/>
                  </a:cubicBezTo>
                  <a:cubicBezTo>
                    <a:pt x="91" y="18"/>
                    <a:pt x="94" y="14"/>
                    <a:pt x="96" y="11"/>
                  </a:cubicBezTo>
                  <a:cubicBezTo>
                    <a:pt x="97" y="8"/>
                    <a:pt x="96" y="5"/>
                    <a:pt x="93" y="2"/>
                  </a:cubicBezTo>
                  <a:cubicBezTo>
                    <a:pt x="93" y="2"/>
                    <a:pt x="91" y="1"/>
                    <a:pt x="91" y="1"/>
                  </a:cubicBezTo>
                  <a:cubicBezTo>
                    <a:pt x="91" y="0"/>
                    <a:pt x="91" y="0"/>
                    <a:pt x="91" y="0"/>
                  </a:cubicBezTo>
                  <a:cubicBezTo>
                    <a:pt x="91" y="0"/>
                    <a:pt x="91" y="0"/>
                    <a:pt x="91" y="0"/>
                  </a:cubicBezTo>
                  <a:cubicBezTo>
                    <a:pt x="91" y="1"/>
                    <a:pt x="91" y="1"/>
                    <a:pt x="91" y="1"/>
                  </a:cubicBezTo>
                  <a:cubicBezTo>
                    <a:pt x="88" y="3"/>
                    <a:pt x="84" y="3"/>
                    <a:pt x="81" y="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4"/>
            <p:cNvSpPr>
              <a:spLocks/>
            </p:cNvSpPr>
            <p:nvPr/>
          </p:nvSpPr>
          <p:spPr bwMode="auto">
            <a:xfrm>
              <a:off x="8936578" y="1019990"/>
              <a:ext cx="197477" cy="302557"/>
            </a:xfrm>
            <a:custGeom>
              <a:avLst/>
              <a:gdLst>
                <a:gd name="T0" fmla="*/ 15 w 92"/>
                <a:gd name="T1" fmla="*/ 138 h 141"/>
                <a:gd name="T2" fmla="*/ 32 w 92"/>
                <a:gd name="T3" fmla="*/ 139 h 141"/>
                <a:gd name="T4" fmla="*/ 37 w 92"/>
                <a:gd name="T5" fmla="*/ 135 h 141"/>
                <a:gd name="T6" fmla="*/ 37 w 92"/>
                <a:gd name="T7" fmla="*/ 135 h 141"/>
                <a:gd name="T8" fmla="*/ 57 w 92"/>
                <a:gd name="T9" fmla="*/ 122 h 141"/>
                <a:gd name="T10" fmla="*/ 67 w 92"/>
                <a:gd name="T11" fmla="*/ 114 h 141"/>
                <a:gd name="T12" fmla="*/ 67 w 92"/>
                <a:gd name="T13" fmla="*/ 114 h 141"/>
                <a:gd name="T14" fmla="*/ 67 w 92"/>
                <a:gd name="T15" fmla="*/ 114 h 141"/>
                <a:gd name="T16" fmla="*/ 73 w 92"/>
                <a:gd name="T17" fmla="*/ 119 h 141"/>
                <a:gd name="T18" fmla="*/ 87 w 92"/>
                <a:gd name="T19" fmla="*/ 102 h 141"/>
                <a:gd name="T20" fmla="*/ 82 w 92"/>
                <a:gd name="T21" fmla="*/ 84 h 141"/>
                <a:gd name="T22" fmla="*/ 90 w 92"/>
                <a:gd name="T23" fmla="*/ 72 h 141"/>
                <a:gd name="T24" fmla="*/ 92 w 92"/>
                <a:gd name="T25" fmla="*/ 55 h 141"/>
                <a:gd name="T26" fmla="*/ 77 w 92"/>
                <a:gd name="T27" fmla="*/ 43 h 141"/>
                <a:gd name="T28" fmla="*/ 75 w 92"/>
                <a:gd name="T29" fmla="*/ 27 h 141"/>
                <a:gd name="T30" fmla="*/ 70 w 92"/>
                <a:gd name="T31" fmla="*/ 2 h 141"/>
                <a:gd name="T32" fmla="*/ 55 w 92"/>
                <a:gd name="T33" fmla="*/ 4 h 141"/>
                <a:gd name="T34" fmla="*/ 64 w 92"/>
                <a:gd name="T35" fmla="*/ 10 h 141"/>
                <a:gd name="T36" fmla="*/ 63 w 92"/>
                <a:gd name="T37" fmla="*/ 14 h 141"/>
                <a:gd name="T38" fmla="*/ 47 w 92"/>
                <a:gd name="T39" fmla="*/ 16 h 141"/>
                <a:gd name="T40" fmla="*/ 45 w 92"/>
                <a:gd name="T41" fmla="*/ 30 h 141"/>
                <a:gd name="T42" fmla="*/ 42 w 92"/>
                <a:gd name="T43" fmla="*/ 32 h 141"/>
                <a:gd name="T44" fmla="*/ 26 w 92"/>
                <a:gd name="T45" fmla="*/ 34 h 141"/>
                <a:gd name="T46" fmla="*/ 26 w 92"/>
                <a:gd name="T47" fmla="*/ 46 h 141"/>
                <a:gd name="T48" fmla="*/ 30 w 92"/>
                <a:gd name="T49" fmla="*/ 54 h 141"/>
                <a:gd name="T50" fmla="*/ 34 w 92"/>
                <a:gd name="T51" fmla="*/ 55 h 141"/>
                <a:gd name="T52" fmla="*/ 30 w 92"/>
                <a:gd name="T53" fmla="*/ 54 h 141"/>
                <a:gd name="T54" fmla="*/ 21 w 92"/>
                <a:gd name="T55" fmla="*/ 50 h 141"/>
                <a:gd name="T56" fmla="*/ 6 w 92"/>
                <a:gd name="T57" fmla="*/ 77 h 141"/>
                <a:gd name="T58" fmla="*/ 17 w 92"/>
                <a:gd name="T59" fmla="*/ 89 h 141"/>
                <a:gd name="T60" fmla="*/ 23 w 92"/>
                <a:gd name="T61" fmla="*/ 94 h 141"/>
                <a:gd name="T62" fmla="*/ 18 w 92"/>
                <a:gd name="T63" fmla="*/ 96 h 141"/>
                <a:gd name="T64" fmla="*/ 0 w 92"/>
                <a:gd name="T65" fmla="*/ 11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141">
                  <a:moveTo>
                    <a:pt x="9" y="136"/>
                  </a:moveTo>
                  <a:cubicBezTo>
                    <a:pt x="11" y="137"/>
                    <a:pt x="14" y="138"/>
                    <a:pt x="15" y="138"/>
                  </a:cubicBezTo>
                  <a:cubicBezTo>
                    <a:pt x="19" y="137"/>
                    <a:pt x="23" y="138"/>
                    <a:pt x="26" y="140"/>
                  </a:cubicBezTo>
                  <a:cubicBezTo>
                    <a:pt x="29" y="141"/>
                    <a:pt x="30" y="140"/>
                    <a:pt x="32" y="139"/>
                  </a:cubicBezTo>
                  <a:cubicBezTo>
                    <a:pt x="34" y="138"/>
                    <a:pt x="36" y="136"/>
                    <a:pt x="37" y="135"/>
                  </a:cubicBezTo>
                  <a:cubicBezTo>
                    <a:pt x="37" y="135"/>
                    <a:pt x="37" y="135"/>
                    <a:pt x="37" y="135"/>
                  </a:cubicBezTo>
                  <a:cubicBezTo>
                    <a:pt x="37" y="135"/>
                    <a:pt x="37" y="136"/>
                    <a:pt x="37" y="136"/>
                  </a:cubicBezTo>
                  <a:cubicBezTo>
                    <a:pt x="37" y="135"/>
                    <a:pt x="37" y="135"/>
                    <a:pt x="37" y="135"/>
                  </a:cubicBezTo>
                  <a:cubicBezTo>
                    <a:pt x="41" y="133"/>
                    <a:pt x="45" y="132"/>
                    <a:pt x="48" y="128"/>
                  </a:cubicBezTo>
                  <a:cubicBezTo>
                    <a:pt x="50" y="126"/>
                    <a:pt x="54" y="124"/>
                    <a:pt x="57" y="122"/>
                  </a:cubicBezTo>
                  <a:cubicBezTo>
                    <a:pt x="58" y="121"/>
                    <a:pt x="59" y="119"/>
                    <a:pt x="59" y="118"/>
                  </a:cubicBezTo>
                  <a:cubicBezTo>
                    <a:pt x="61" y="115"/>
                    <a:pt x="64" y="114"/>
                    <a:pt x="67" y="114"/>
                  </a:cubicBezTo>
                  <a:cubicBezTo>
                    <a:pt x="67" y="114"/>
                    <a:pt x="67" y="114"/>
                    <a:pt x="67" y="114"/>
                  </a:cubicBezTo>
                  <a:cubicBezTo>
                    <a:pt x="67" y="114"/>
                    <a:pt x="67" y="114"/>
                    <a:pt x="67" y="114"/>
                  </a:cubicBezTo>
                  <a:cubicBezTo>
                    <a:pt x="67" y="112"/>
                    <a:pt x="67" y="112"/>
                    <a:pt x="68" y="113"/>
                  </a:cubicBezTo>
                  <a:cubicBezTo>
                    <a:pt x="68" y="113"/>
                    <a:pt x="67" y="114"/>
                    <a:pt x="67" y="114"/>
                  </a:cubicBezTo>
                  <a:cubicBezTo>
                    <a:pt x="67" y="118"/>
                    <a:pt x="67" y="118"/>
                    <a:pt x="71" y="119"/>
                  </a:cubicBezTo>
                  <a:cubicBezTo>
                    <a:pt x="72" y="119"/>
                    <a:pt x="73" y="119"/>
                    <a:pt x="73" y="119"/>
                  </a:cubicBezTo>
                  <a:cubicBezTo>
                    <a:pt x="76" y="116"/>
                    <a:pt x="77" y="112"/>
                    <a:pt x="80" y="110"/>
                  </a:cubicBezTo>
                  <a:cubicBezTo>
                    <a:pt x="83" y="107"/>
                    <a:pt x="87" y="106"/>
                    <a:pt x="87" y="102"/>
                  </a:cubicBezTo>
                  <a:cubicBezTo>
                    <a:pt x="88" y="96"/>
                    <a:pt x="87" y="91"/>
                    <a:pt x="84" y="87"/>
                  </a:cubicBezTo>
                  <a:cubicBezTo>
                    <a:pt x="83" y="86"/>
                    <a:pt x="82" y="85"/>
                    <a:pt x="82" y="84"/>
                  </a:cubicBezTo>
                  <a:cubicBezTo>
                    <a:pt x="81" y="83"/>
                    <a:pt x="81" y="81"/>
                    <a:pt x="82" y="80"/>
                  </a:cubicBezTo>
                  <a:cubicBezTo>
                    <a:pt x="85" y="77"/>
                    <a:pt x="86" y="74"/>
                    <a:pt x="90" y="72"/>
                  </a:cubicBezTo>
                  <a:cubicBezTo>
                    <a:pt x="90" y="69"/>
                    <a:pt x="88" y="66"/>
                    <a:pt x="90" y="62"/>
                  </a:cubicBezTo>
                  <a:cubicBezTo>
                    <a:pt x="91" y="60"/>
                    <a:pt x="92" y="57"/>
                    <a:pt x="92" y="55"/>
                  </a:cubicBezTo>
                  <a:cubicBezTo>
                    <a:pt x="91" y="51"/>
                    <a:pt x="87" y="51"/>
                    <a:pt x="85" y="48"/>
                  </a:cubicBezTo>
                  <a:cubicBezTo>
                    <a:pt x="83" y="46"/>
                    <a:pt x="79" y="45"/>
                    <a:pt x="77" y="43"/>
                  </a:cubicBezTo>
                  <a:cubicBezTo>
                    <a:pt x="76" y="42"/>
                    <a:pt x="75" y="41"/>
                    <a:pt x="75" y="39"/>
                  </a:cubicBezTo>
                  <a:cubicBezTo>
                    <a:pt x="74" y="35"/>
                    <a:pt x="75" y="31"/>
                    <a:pt x="75" y="27"/>
                  </a:cubicBezTo>
                  <a:cubicBezTo>
                    <a:pt x="75" y="23"/>
                    <a:pt x="76" y="20"/>
                    <a:pt x="77" y="16"/>
                  </a:cubicBezTo>
                  <a:cubicBezTo>
                    <a:pt x="78" y="10"/>
                    <a:pt x="74" y="6"/>
                    <a:pt x="70" y="2"/>
                  </a:cubicBezTo>
                  <a:cubicBezTo>
                    <a:pt x="67" y="0"/>
                    <a:pt x="63" y="0"/>
                    <a:pt x="59" y="0"/>
                  </a:cubicBezTo>
                  <a:cubicBezTo>
                    <a:pt x="57" y="0"/>
                    <a:pt x="56" y="2"/>
                    <a:pt x="55" y="4"/>
                  </a:cubicBezTo>
                  <a:cubicBezTo>
                    <a:pt x="55" y="6"/>
                    <a:pt x="56" y="7"/>
                    <a:pt x="58" y="8"/>
                  </a:cubicBezTo>
                  <a:cubicBezTo>
                    <a:pt x="60" y="9"/>
                    <a:pt x="62" y="9"/>
                    <a:pt x="64" y="10"/>
                  </a:cubicBezTo>
                  <a:cubicBezTo>
                    <a:pt x="65" y="11"/>
                    <a:pt x="65" y="12"/>
                    <a:pt x="64" y="13"/>
                  </a:cubicBezTo>
                  <a:cubicBezTo>
                    <a:pt x="64" y="13"/>
                    <a:pt x="64" y="14"/>
                    <a:pt x="63" y="14"/>
                  </a:cubicBezTo>
                  <a:cubicBezTo>
                    <a:pt x="61" y="14"/>
                    <a:pt x="58" y="14"/>
                    <a:pt x="55" y="14"/>
                  </a:cubicBezTo>
                  <a:cubicBezTo>
                    <a:pt x="53" y="15"/>
                    <a:pt x="50" y="16"/>
                    <a:pt x="47" y="16"/>
                  </a:cubicBezTo>
                  <a:cubicBezTo>
                    <a:pt x="45" y="17"/>
                    <a:pt x="42" y="21"/>
                    <a:pt x="43" y="24"/>
                  </a:cubicBezTo>
                  <a:cubicBezTo>
                    <a:pt x="43" y="26"/>
                    <a:pt x="44" y="28"/>
                    <a:pt x="45" y="30"/>
                  </a:cubicBezTo>
                  <a:cubicBezTo>
                    <a:pt x="45" y="30"/>
                    <a:pt x="44" y="31"/>
                    <a:pt x="44" y="32"/>
                  </a:cubicBezTo>
                  <a:cubicBezTo>
                    <a:pt x="44" y="32"/>
                    <a:pt x="43" y="32"/>
                    <a:pt x="42" y="32"/>
                  </a:cubicBezTo>
                  <a:cubicBezTo>
                    <a:pt x="40" y="31"/>
                    <a:pt x="37" y="29"/>
                    <a:pt x="35" y="31"/>
                  </a:cubicBezTo>
                  <a:cubicBezTo>
                    <a:pt x="32" y="34"/>
                    <a:pt x="29" y="34"/>
                    <a:pt x="26" y="34"/>
                  </a:cubicBezTo>
                  <a:cubicBezTo>
                    <a:pt x="22" y="33"/>
                    <a:pt x="21" y="37"/>
                    <a:pt x="22" y="39"/>
                  </a:cubicBezTo>
                  <a:cubicBezTo>
                    <a:pt x="23" y="42"/>
                    <a:pt x="24" y="44"/>
                    <a:pt x="26" y="46"/>
                  </a:cubicBezTo>
                  <a:cubicBezTo>
                    <a:pt x="28" y="48"/>
                    <a:pt x="30" y="51"/>
                    <a:pt x="30" y="54"/>
                  </a:cubicBezTo>
                  <a:cubicBezTo>
                    <a:pt x="30" y="54"/>
                    <a:pt x="30" y="54"/>
                    <a:pt x="30" y="54"/>
                  </a:cubicBezTo>
                  <a:cubicBezTo>
                    <a:pt x="31" y="54"/>
                    <a:pt x="31" y="54"/>
                    <a:pt x="31" y="54"/>
                  </a:cubicBezTo>
                  <a:cubicBezTo>
                    <a:pt x="32" y="55"/>
                    <a:pt x="33" y="55"/>
                    <a:pt x="34" y="55"/>
                  </a:cubicBezTo>
                  <a:cubicBezTo>
                    <a:pt x="33" y="55"/>
                    <a:pt x="32" y="55"/>
                    <a:pt x="31" y="54"/>
                  </a:cubicBezTo>
                  <a:cubicBezTo>
                    <a:pt x="31" y="54"/>
                    <a:pt x="30" y="54"/>
                    <a:pt x="30" y="54"/>
                  </a:cubicBezTo>
                  <a:cubicBezTo>
                    <a:pt x="30" y="54"/>
                    <a:pt x="30" y="54"/>
                    <a:pt x="30" y="54"/>
                  </a:cubicBezTo>
                  <a:cubicBezTo>
                    <a:pt x="26" y="54"/>
                    <a:pt x="24" y="52"/>
                    <a:pt x="21" y="50"/>
                  </a:cubicBezTo>
                  <a:cubicBezTo>
                    <a:pt x="20" y="49"/>
                    <a:pt x="18" y="50"/>
                    <a:pt x="17" y="51"/>
                  </a:cubicBezTo>
                  <a:cubicBezTo>
                    <a:pt x="12" y="59"/>
                    <a:pt x="10" y="69"/>
                    <a:pt x="6" y="77"/>
                  </a:cubicBezTo>
                  <a:cubicBezTo>
                    <a:pt x="4" y="80"/>
                    <a:pt x="6" y="83"/>
                    <a:pt x="8" y="85"/>
                  </a:cubicBezTo>
                  <a:cubicBezTo>
                    <a:pt x="11" y="87"/>
                    <a:pt x="14" y="88"/>
                    <a:pt x="17" y="89"/>
                  </a:cubicBezTo>
                  <a:cubicBezTo>
                    <a:pt x="19" y="89"/>
                    <a:pt x="21" y="90"/>
                    <a:pt x="22" y="91"/>
                  </a:cubicBezTo>
                  <a:cubicBezTo>
                    <a:pt x="22" y="91"/>
                    <a:pt x="23" y="93"/>
                    <a:pt x="23" y="94"/>
                  </a:cubicBezTo>
                  <a:cubicBezTo>
                    <a:pt x="22" y="94"/>
                    <a:pt x="22" y="96"/>
                    <a:pt x="21" y="96"/>
                  </a:cubicBezTo>
                  <a:cubicBezTo>
                    <a:pt x="20" y="96"/>
                    <a:pt x="19" y="96"/>
                    <a:pt x="18" y="96"/>
                  </a:cubicBezTo>
                  <a:cubicBezTo>
                    <a:pt x="10" y="95"/>
                    <a:pt x="6" y="97"/>
                    <a:pt x="4" y="103"/>
                  </a:cubicBezTo>
                  <a:cubicBezTo>
                    <a:pt x="2" y="108"/>
                    <a:pt x="1" y="113"/>
                    <a:pt x="0" y="118"/>
                  </a:cubicBezTo>
                  <a:cubicBezTo>
                    <a:pt x="0" y="126"/>
                    <a:pt x="3" y="131"/>
                    <a:pt x="9" y="13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5"/>
            <p:cNvSpPr>
              <a:spLocks/>
            </p:cNvSpPr>
            <p:nvPr/>
          </p:nvSpPr>
          <p:spPr bwMode="auto">
            <a:xfrm>
              <a:off x="9058869" y="1281783"/>
              <a:ext cx="0" cy="1812"/>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1"/>
                    <a:pt x="0" y="1"/>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6"/>
            <p:cNvSpPr>
              <a:spLocks/>
            </p:cNvSpPr>
            <p:nvPr/>
          </p:nvSpPr>
          <p:spPr bwMode="auto">
            <a:xfrm>
              <a:off x="7958251" y="1407698"/>
              <a:ext cx="288969" cy="216500"/>
            </a:xfrm>
            <a:custGeom>
              <a:avLst/>
              <a:gdLst>
                <a:gd name="T0" fmla="*/ 8 w 135"/>
                <a:gd name="T1" fmla="*/ 85 h 101"/>
                <a:gd name="T2" fmla="*/ 7 w 135"/>
                <a:gd name="T3" fmla="*/ 98 h 101"/>
                <a:gd name="T4" fmla="*/ 11 w 135"/>
                <a:gd name="T5" fmla="*/ 101 h 101"/>
                <a:gd name="T6" fmla="*/ 28 w 135"/>
                <a:gd name="T7" fmla="*/ 96 h 101"/>
                <a:gd name="T8" fmla="*/ 27 w 135"/>
                <a:gd name="T9" fmla="*/ 95 h 101"/>
                <a:gd name="T10" fmla="*/ 28 w 135"/>
                <a:gd name="T11" fmla="*/ 95 h 101"/>
                <a:gd name="T12" fmla="*/ 28 w 135"/>
                <a:gd name="T13" fmla="*/ 96 h 101"/>
                <a:gd name="T14" fmla="*/ 28 w 135"/>
                <a:gd name="T15" fmla="*/ 96 h 101"/>
                <a:gd name="T16" fmla="*/ 34 w 135"/>
                <a:gd name="T17" fmla="*/ 99 h 101"/>
                <a:gd name="T18" fmla="*/ 42 w 135"/>
                <a:gd name="T19" fmla="*/ 97 h 101"/>
                <a:gd name="T20" fmla="*/ 46 w 135"/>
                <a:gd name="T21" fmla="*/ 93 h 101"/>
                <a:gd name="T22" fmla="*/ 52 w 135"/>
                <a:gd name="T23" fmla="*/ 85 h 101"/>
                <a:gd name="T24" fmla="*/ 64 w 135"/>
                <a:gd name="T25" fmla="*/ 78 h 101"/>
                <a:gd name="T26" fmla="*/ 71 w 135"/>
                <a:gd name="T27" fmla="*/ 75 h 101"/>
                <a:gd name="T28" fmla="*/ 78 w 135"/>
                <a:gd name="T29" fmla="*/ 68 h 101"/>
                <a:gd name="T30" fmla="*/ 83 w 135"/>
                <a:gd name="T31" fmla="*/ 65 h 101"/>
                <a:gd name="T32" fmla="*/ 101 w 135"/>
                <a:gd name="T33" fmla="*/ 61 h 101"/>
                <a:gd name="T34" fmla="*/ 107 w 135"/>
                <a:gd name="T35" fmla="*/ 61 h 101"/>
                <a:gd name="T36" fmla="*/ 107 w 135"/>
                <a:gd name="T37" fmla="*/ 61 h 101"/>
                <a:gd name="T38" fmla="*/ 107 w 135"/>
                <a:gd name="T39" fmla="*/ 61 h 101"/>
                <a:gd name="T40" fmla="*/ 107 w 135"/>
                <a:gd name="T41" fmla="*/ 61 h 101"/>
                <a:gd name="T42" fmla="*/ 116 w 135"/>
                <a:gd name="T43" fmla="*/ 58 h 101"/>
                <a:gd name="T44" fmla="*/ 124 w 135"/>
                <a:gd name="T45" fmla="*/ 58 h 101"/>
                <a:gd name="T46" fmla="*/ 134 w 135"/>
                <a:gd name="T47" fmla="*/ 54 h 101"/>
                <a:gd name="T48" fmla="*/ 133 w 135"/>
                <a:gd name="T49" fmla="*/ 30 h 101"/>
                <a:gd name="T50" fmla="*/ 127 w 135"/>
                <a:gd name="T51" fmla="*/ 19 h 101"/>
                <a:gd name="T52" fmla="*/ 120 w 135"/>
                <a:gd name="T53" fmla="*/ 17 h 101"/>
                <a:gd name="T54" fmla="*/ 108 w 135"/>
                <a:gd name="T55" fmla="*/ 13 h 101"/>
                <a:gd name="T56" fmla="*/ 101 w 135"/>
                <a:gd name="T57" fmla="*/ 7 h 101"/>
                <a:gd name="T58" fmla="*/ 86 w 135"/>
                <a:gd name="T59" fmla="*/ 1 h 101"/>
                <a:gd name="T60" fmla="*/ 71 w 135"/>
                <a:gd name="T61" fmla="*/ 2 h 101"/>
                <a:gd name="T62" fmla="*/ 63 w 135"/>
                <a:gd name="T63" fmla="*/ 3 h 101"/>
                <a:gd name="T64" fmla="*/ 58 w 135"/>
                <a:gd name="T65" fmla="*/ 7 h 101"/>
                <a:gd name="T66" fmla="*/ 57 w 135"/>
                <a:gd name="T67" fmla="*/ 16 h 101"/>
                <a:gd name="T68" fmla="*/ 52 w 135"/>
                <a:gd name="T69" fmla="*/ 24 h 101"/>
                <a:gd name="T70" fmla="*/ 37 w 135"/>
                <a:gd name="T71" fmla="*/ 36 h 101"/>
                <a:gd name="T72" fmla="*/ 32 w 135"/>
                <a:gd name="T73" fmla="*/ 43 h 101"/>
                <a:gd name="T74" fmla="*/ 31 w 135"/>
                <a:gd name="T75" fmla="*/ 46 h 101"/>
                <a:gd name="T76" fmla="*/ 6 w 135"/>
                <a:gd name="T77" fmla="*/ 64 h 101"/>
                <a:gd name="T78" fmla="*/ 1 w 135"/>
                <a:gd name="T79" fmla="*/ 68 h 101"/>
                <a:gd name="T80" fmla="*/ 5 w 135"/>
                <a:gd name="T81" fmla="*/ 75 h 101"/>
                <a:gd name="T82" fmla="*/ 8 w 135"/>
                <a:gd name="T83" fmla="*/ 8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5" h="101">
                  <a:moveTo>
                    <a:pt x="8" y="85"/>
                  </a:moveTo>
                  <a:cubicBezTo>
                    <a:pt x="8" y="89"/>
                    <a:pt x="7" y="94"/>
                    <a:pt x="7" y="98"/>
                  </a:cubicBezTo>
                  <a:cubicBezTo>
                    <a:pt x="7" y="99"/>
                    <a:pt x="9" y="101"/>
                    <a:pt x="11" y="101"/>
                  </a:cubicBezTo>
                  <a:cubicBezTo>
                    <a:pt x="17" y="101"/>
                    <a:pt x="22" y="99"/>
                    <a:pt x="28" y="96"/>
                  </a:cubicBezTo>
                  <a:cubicBezTo>
                    <a:pt x="28" y="96"/>
                    <a:pt x="28" y="96"/>
                    <a:pt x="27" y="95"/>
                  </a:cubicBezTo>
                  <a:cubicBezTo>
                    <a:pt x="28" y="95"/>
                    <a:pt x="28" y="95"/>
                    <a:pt x="28" y="95"/>
                  </a:cubicBezTo>
                  <a:cubicBezTo>
                    <a:pt x="28" y="96"/>
                    <a:pt x="28" y="96"/>
                    <a:pt x="28" y="96"/>
                  </a:cubicBezTo>
                  <a:cubicBezTo>
                    <a:pt x="28" y="96"/>
                    <a:pt x="28" y="96"/>
                    <a:pt x="28" y="96"/>
                  </a:cubicBezTo>
                  <a:cubicBezTo>
                    <a:pt x="29" y="98"/>
                    <a:pt x="31" y="99"/>
                    <a:pt x="34" y="99"/>
                  </a:cubicBezTo>
                  <a:cubicBezTo>
                    <a:pt x="37" y="99"/>
                    <a:pt x="40" y="99"/>
                    <a:pt x="42" y="97"/>
                  </a:cubicBezTo>
                  <a:cubicBezTo>
                    <a:pt x="43" y="96"/>
                    <a:pt x="45" y="94"/>
                    <a:pt x="46" y="93"/>
                  </a:cubicBezTo>
                  <a:cubicBezTo>
                    <a:pt x="48" y="90"/>
                    <a:pt x="50" y="87"/>
                    <a:pt x="52" y="85"/>
                  </a:cubicBezTo>
                  <a:cubicBezTo>
                    <a:pt x="55" y="82"/>
                    <a:pt x="58" y="78"/>
                    <a:pt x="64" y="78"/>
                  </a:cubicBezTo>
                  <a:cubicBezTo>
                    <a:pt x="66" y="78"/>
                    <a:pt x="69" y="76"/>
                    <a:pt x="71" y="75"/>
                  </a:cubicBezTo>
                  <a:cubicBezTo>
                    <a:pt x="73" y="73"/>
                    <a:pt x="75" y="70"/>
                    <a:pt x="78" y="68"/>
                  </a:cubicBezTo>
                  <a:cubicBezTo>
                    <a:pt x="79" y="67"/>
                    <a:pt x="81" y="66"/>
                    <a:pt x="83" y="65"/>
                  </a:cubicBezTo>
                  <a:cubicBezTo>
                    <a:pt x="89" y="65"/>
                    <a:pt x="95" y="63"/>
                    <a:pt x="101" y="61"/>
                  </a:cubicBezTo>
                  <a:cubicBezTo>
                    <a:pt x="103" y="61"/>
                    <a:pt x="105" y="61"/>
                    <a:pt x="107" y="61"/>
                  </a:cubicBezTo>
                  <a:cubicBezTo>
                    <a:pt x="107" y="61"/>
                    <a:pt x="107" y="61"/>
                    <a:pt x="107" y="61"/>
                  </a:cubicBezTo>
                  <a:cubicBezTo>
                    <a:pt x="107" y="61"/>
                    <a:pt x="107" y="61"/>
                    <a:pt x="107" y="61"/>
                  </a:cubicBezTo>
                  <a:cubicBezTo>
                    <a:pt x="107" y="61"/>
                    <a:pt x="107" y="61"/>
                    <a:pt x="107" y="61"/>
                  </a:cubicBezTo>
                  <a:cubicBezTo>
                    <a:pt x="110" y="59"/>
                    <a:pt x="113" y="58"/>
                    <a:pt x="116" y="58"/>
                  </a:cubicBezTo>
                  <a:cubicBezTo>
                    <a:pt x="119" y="57"/>
                    <a:pt x="121" y="58"/>
                    <a:pt x="124" y="58"/>
                  </a:cubicBezTo>
                  <a:cubicBezTo>
                    <a:pt x="126" y="55"/>
                    <a:pt x="130" y="55"/>
                    <a:pt x="134" y="54"/>
                  </a:cubicBezTo>
                  <a:cubicBezTo>
                    <a:pt x="135" y="46"/>
                    <a:pt x="134" y="38"/>
                    <a:pt x="133" y="30"/>
                  </a:cubicBezTo>
                  <a:cubicBezTo>
                    <a:pt x="133" y="25"/>
                    <a:pt x="130" y="22"/>
                    <a:pt x="127" y="19"/>
                  </a:cubicBezTo>
                  <a:cubicBezTo>
                    <a:pt x="125" y="17"/>
                    <a:pt x="122" y="17"/>
                    <a:pt x="120" y="17"/>
                  </a:cubicBezTo>
                  <a:cubicBezTo>
                    <a:pt x="115" y="17"/>
                    <a:pt x="111" y="16"/>
                    <a:pt x="108" y="13"/>
                  </a:cubicBezTo>
                  <a:cubicBezTo>
                    <a:pt x="105" y="11"/>
                    <a:pt x="103" y="10"/>
                    <a:pt x="101" y="7"/>
                  </a:cubicBezTo>
                  <a:cubicBezTo>
                    <a:pt x="98" y="2"/>
                    <a:pt x="93" y="0"/>
                    <a:pt x="86" y="1"/>
                  </a:cubicBezTo>
                  <a:cubicBezTo>
                    <a:pt x="81" y="2"/>
                    <a:pt x="76" y="1"/>
                    <a:pt x="71" y="2"/>
                  </a:cubicBezTo>
                  <a:cubicBezTo>
                    <a:pt x="68" y="2"/>
                    <a:pt x="66" y="2"/>
                    <a:pt x="63" y="3"/>
                  </a:cubicBezTo>
                  <a:cubicBezTo>
                    <a:pt x="61" y="3"/>
                    <a:pt x="59" y="5"/>
                    <a:pt x="58" y="7"/>
                  </a:cubicBezTo>
                  <a:cubicBezTo>
                    <a:pt x="58" y="10"/>
                    <a:pt x="57" y="13"/>
                    <a:pt x="57" y="16"/>
                  </a:cubicBezTo>
                  <a:cubicBezTo>
                    <a:pt x="57" y="19"/>
                    <a:pt x="55" y="22"/>
                    <a:pt x="52" y="24"/>
                  </a:cubicBezTo>
                  <a:cubicBezTo>
                    <a:pt x="47" y="28"/>
                    <a:pt x="42" y="32"/>
                    <a:pt x="37" y="36"/>
                  </a:cubicBezTo>
                  <a:cubicBezTo>
                    <a:pt x="34" y="38"/>
                    <a:pt x="32" y="40"/>
                    <a:pt x="32" y="43"/>
                  </a:cubicBezTo>
                  <a:cubicBezTo>
                    <a:pt x="32" y="44"/>
                    <a:pt x="31" y="46"/>
                    <a:pt x="31" y="46"/>
                  </a:cubicBezTo>
                  <a:cubicBezTo>
                    <a:pt x="22" y="51"/>
                    <a:pt x="14" y="58"/>
                    <a:pt x="6" y="64"/>
                  </a:cubicBezTo>
                  <a:cubicBezTo>
                    <a:pt x="4" y="66"/>
                    <a:pt x="2" y="67"/>
                    <a:pt x="1" y="68"/>
                  </a:cubicBezTo>
                  <a:cubicBezTo>
                    <a:pt x="0" y="71"/>
                    <a:pt x="3" y="73"/>
                    <a:pt x="5" y="75"/>
                  </a:cubicBezTo>
                  <a:cubicBezTo>
                    <a:pt x="7" y="78"/>
                    <a:pt x="8" y="82"/>
                    <a:pt x="8" y="8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7"/>
            <p:cNvSpPr>
              <a:spLocks/>
            </p:cNvSpPr>
            <p:nvPr/>
          </p:nvSpPr>
          <p:spPr bwMode="auto">
            <a:xfrm>
              <a:off x="8782582" y="1363311"/>
              <a:ext cx="295310" cy="259075"/>
            </a:xfrm>
            <a:custGeom>
              <a:avLst/>
              <a:gdLst>
                <a:gd name="T0" fmla="*/ 131 w 138"/>
                <a:gd name="T1" fmla="*/ 85 h 121"/>
                <a:gd name="T2" fmla="*/ 127 w 138"/>
                <a:gd name="T3" fmla="*/ 80 h 121"/>
                <a:gd name="T4" fmla="*/ 119 w 138"/>
                <a:gd name="T5" fmla="*/ 75 h 121"/>
                <a:gd name="T6" fmla="*/ 105 w 138"/>
                <a:gd name="T7" fmla="*/ 73 h 121"/>
                <a:gd name="T8" fmla="*/ 100 w 138"/>
                <a:gd name="T9" fmla="*/ 73 h 121"/>
                <a:gd name="T10" fmla="*/ 78 w 138"/>
                <a:gd name="T11" fmla="*/ 75 h 121"/>
                <a:gd name="T12" fmla="*/ 67 w 138"/>
                <a:gd name="T13" fmla="*/ 72 h 121"/>
                <a:gd name="T14" fmla="*/ 61 w 138"/>
                <a:gd name="T15" fmla="*/ 70 h 121"/>
                <a:gd name="T16" fmla="*/ 48 w 138"/>
                <a:gd name="T17" fmla="*/ 57 h 121"/>
                <a:gd name="T18" fmla="*/ 42 w 138"/>
                <a:gd name="T19" fmla="*/ 53 h 121"/>
                <a:gd name="T20" fmla="*/ 42 w 138"/>
                <a:gd name="T21" fmla="*/ 51 h 121"/>
                <a:gd name="T22" fmla="*/ 47 w 138"/>
                <a:gd name="T23" fmla="*/ 47 h 121"/>
                <a:gd name="T24" fmla="*/ 47 w 138"/>
                <a:gd name="T25" fmla="*/ 47 h 121"/>
                <a:gd name="T26" fmla="*/ 46 w 138"/>
                <a:gd name="T27" fmla="*/ 47 h 121"/>
                <a:gd name="T28" fmla="*/ 47 w 138"/>
                <a:gd name="T29" fmla="*/ 47 h 121"/>
                <a:gd name="T30" fmla="*/ 47 w 138"/>
                <a:gd name="T31" fmla="*/ 47 h 121"/>
                <a:gd name="T32" fmla="*/ 56 w 138"/>
                <a:gd name="T33" fmla="*/ 48 h 121"/>
                <a:gd name="T34" fmla="*/ 58 w 138"/>
                <a:gd name="T35" fmla="*/ 44 h 121"/>
                <a:gd name="T36" fmla="*/ 56 w 138"/>
                <a:gd name="T37" fmla="*/ 41 h 121"/>
                <a:gd name="T38" fmla="*/ 53 w 138"/>
                <a:gd name="T39" fmla="*/ 32 h 121"/>
                <a:gd name="T40" fmla="*/ 47 w 138"/>
                <a:gd name="T41" fmla="*/ 25 h 121"/>
                <a:gd name="T42" fmla="*/ 39 w 138"/>
                <a:gd name="T43" fmla="*/ 25 h 121"/>
                <a:gd name="T44" fmla="*/ 34 w 138"/>
                <a:gd name="T45" fmla="*/ 21 h 121"/>
                <a:gd name="T46" fmla="*/ 32 w 138"/>
                <a:gd name="T47" fmla="*/ 15 h 121"/>
                <a:gd name="T48" fmla="*/ 30 w 138"/>
                <a:gd name="T49" fmla="*/ 11 h 121"/>
                <a:gd name="T50" fmla="*/ 17 w 138"/>
                <a:gd name="T51" fmla="*/ 2 h 121"/>
                <a:gd name="T52" fmla="*/ 4 w 138"/>
                <a:gd name="T53" fmla="*/ 3 h 121"/>
                <a:gd name="T54" fmla="*/ 1 w 138"/>
                <a:gd name="T55" fmla="*/ 10 h 121"/>
                <a:gd name="T56" fmla="*/ 5 w 138"/>
                <a:gd name="T57" fmla="*/ 28 h 121"/>
                <a:gd name="T58" fmla="*/ 7 w 138"/>
                <a:gd name="T59" fmla="*/ 31 h 121"/>
                <a:gd name="T60" fmla="*/ 21 w 138"/>
                <a:gd name="T61" fmla="*/ 36 h 121"/>
                <a:gd name="T62" fmla="*/ 25 w 138"/>
                <a:gd name="T63" fmla="*/ 41 h 121"/>
                <a:gd name="T64" fmla="*/ 25 w 138"/>
                <a:gd name="T65" fmla="*/ 50 h 121"/>
                <a:gd name="T66" fmla="*/ 20 w 138"/>
                <a:gd name="T67" fmla="*/ 60 h 121"/>
                <a:gd name="T68" fmla="*/ 14 w 138"/>
                <a:gd name="T69" fmla="*/ 67 h 121"/>
                <a:gd name="T70" fmla="*/ 9 w 138"/>
                <a:gd name="T71" fmla="*/ 88 h 121"/>
                <a:gd name="T72" fmla="*/ 18 w 138"/>
                <a:gd name="T73" fmla="*/ 96 h 121"/>
                <a:gd name="T74" fmla="*/ 20 w 138"/>
                <a:gd name="T75" fmla="*/ 97 h 121"/>
                <a:gd name="T76" fmla="*/ 32 w 138"/>
                <a:gd name="T77" fmla="*/ 98 h 121"/>
                <a:gd name="T78" fmla="*/ 35 w 138"/>
                <a:gd name="T79" fmla="*/ 97 h 121"/>
                <a:gd name="T80" fmla="*/ 36 w 138"/>
                <a:gd name="T81" fmla="*/ 98 h 121"/>
                <a:gd name="T82" fmla="*/ 36 w 138"/>
                <a:gd name="T83" fmla="*/ 103 h 121"/>
                <a:gd name="T84" fmla="*/ 40 w 138"/>
                <a:gd name="T85" fmla="*/ 107 h 121"/>
                <a:gd name="T86" fmla="*/ 56 w 138"/>
                <a:gd name="T87" fmla="*/ 110 h 121"/>
                <a:gd name="T88" fmla="*/ 87 w 138"/>
                <a:gd name="T89" fmla="*/ 115 h 121"/>
                <a:gd name="T90" fmla="*/ 93 w 138"/>
                <a:gd name="T91" fmla="*/ 117 h 121"/>
                <a:gd name="T92" fmla="*/ 106 w 138"/>
                <a:gd name="T93" fmla="*/ 120 h 121"/>
                <a:gd name="T94" fmla="*/ 115 w 138"/>
                <a:gd name="T95" fmla="*/ 120 h 121"/>
                <a:gd name="T96" fmla="*/ 120 w 138"/>
                <a:gd name="T97" fmla="*/ 118 h 121"/>
                <a:gd name="T98" fmla="*/ 129 w 138"/>
                <a:gd name="T99" fmla="*/ 112 h 121"/>
                <a:gd name="T100" fmla="*/ 132 w 138"/>
                <a:gd name="T101" fmla="*/ 106 h 121"/>
                <a:gd name="T102" fmla="*/ 134 w 138"/>
                <a:gd name="T103" fmla="*/ 101 h 121"/>
                <a:gd name="T104" fmla="*/ 131 w 138"/>
                <a:gd name="T105" fmla="*/ 8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8" h="121">
                  <a:moveTo>
                    <a:pt x="131" y="85"/>
                  </a:moveTo>
                  <a:cubicBezTo>
                    <a:pt x="129" y="83"/>
                    <a:pt x="128" y="82"/>
                    <a:pt x="127" y="80"/>
                  </a:cubicBezTo>
                  <a:cubicBezTo>
                    <a:pt x="125" y="77"/>
                    <a:pt x="123" y="75"/>
                    <a:pt x="119" y="75"/>
                  </a:cubicBezTo>
                  <a:cubicBezTo>
                    <a:pt x="114" y="76"/>
                    <a:pt x="109" y="76"/>
                    <a:pt x="105" y="73"/>
                  </a:cubicBezTo>
                  <a:cubicBezTo>
                    <a:pt x="103" y="72"/>
                    <a:pt x="101" y="73"/>
                    <a:pt x="100" y="73"/>
                  </a:cubicBezTo>
                  <a:cubicBezTo>
                    <a:pt x="93" y="73"/>
                    <a:pt x="85" y="74"/>
                    <a:pt x="78" y="75"/>
                  </a:cubicBezTo>
                  <a:cubicBezTo>
                    <a:pt x="74" y="76"/>
                    <a:pt x="70" y="77"/>
                    <a:pt x="67" y="72"/>
                  </a:cubicBezTo>
                  <a:cubicBezTo>
                    <a:pt x="66" y="70"/>
                    <a:pt x="64" y="70"/>
                    <a:pt x="61" y="70"/>
                  </a:cubicBezTo>
                  <a:cubicBezTo>
                    <a:pt x="55" y="67"/>
                    <a:pt x="49" y="64"/>
                    <a:pt x="48" y="57"/>
                  </a:cubicBezTo>
                  <a:cubicBezTo>
                    <a:pt x="47" y="54"/>
                    <a:pt x="45" y="53"/>
                    <a:pt x="42" y="53"/>
                  </a:cubicBezTo>
                  <a:cubicBezTo>
                    <a:pt x="40" y="52"/>
                    <a:pt x="40" y="52"/>
                    <a:pt x="42" y="51"/>
                  </a:cubicBezTo>
                  <a:cubicBezTo>
                    <a:pt x="44" y="50"/>
                    <a:pt x="45" y="49"/>
                    <a:pt x="47" y="47"/>
                  </a:cubicBezTo>
                  <a:cubicBezTo>
                    <a:pt x="47" y="47"/>
                    <a:pt x="47" y="47"/>
                    <a:pt x="47" y="47"/>
                  </a:cubicBezTo>
                  <a:cubicBezTo>
                    <a:pt x="46" y="47"/>
                    <a:pt x="46" y="47"/>
                    <a:pt x="46" y="47"/>
                  </a:cubicBezTo>
                  <a:cubicBezTo>
                    <a:pt x="47" y="47"/>
                    <a:pt x="47" y="47"/>
                    <a:pt x="47" y="47"/>
                  </a:cubicBezTo>
                  <a:cubicBezTo>
                    <a:pt x="47" y="47"/>
                    <a:pt x="47" y="47"/>
                    <a:pt x="47" y="47"/>
                  </a:cubicBezTo>
                  <a:cubicBezTo>
                    <a:pt x="50" y="48"/>
                    <a:pt x="53" y="49"/>
                    <a:pt x="56" y="48"/>
                  </a:cubicBezTo>
                  <a:cubicBezTo>
                    <a:pt x="58" y="47"/>
                    <a:pt x="59" y="45"/>
                    <a:pt x="58" y="44"/>
                  </a:cubicBezTo>
                  <a:cubicBezTo>
                    <a:pt x="58" y="43"/>
                    <a:pt x="57" y="42"/>
                    <a:pt x="56" y="41"/>
                  </a:cubicBezTo>
                  <a:cubicBezTo>
                    <a:pt x="53" y="39"/>
                    <a:pt x="52" y="36"/>
                    <a:pt x="53" y="32"/>
                  </a:cubicBezTo>
                  <a:cubicBezTo>
                    <a:pt x="53" y="29"/>
                    <a:pt x="50" y="26"/>
                    <a:pt x="47" y="25"/>
                  </a:cubicBezTo>
                  <a:cubicBezTo>
                    <a:pt x="44" y="25"/>
                    <a:pt x="41" y="25"/>
                    <a:pt x="39" y="25"/>
                  </a:cubicBezTo>
                  <a:cubicBezTo>
                    <a:pt x="36" y="25"/>
                    <a:pt x="34" y="24"/>
                    <a:pt x="34" y="21"/>
                  </a:cubicBezTo>
                  <a:cubicBezTo>
                    <a:pt x="33" y="19"/>
                    <a:pt x="32" y="17"/>
                    <a:pt x="32" y="15"/>
                  </a:cubicBezTo>
                  <a:cubicBezTo>
                    <a:pt x="31" y="14"/>
                    <a:pt x="31" y="12"/>
                    <a:pt x="30" y="11"/>
                  </a:cubicBezTo>
                  <a:cubicBezTo>
                    <a:pt x="25" y="8"/>
                    <a:pt x="22" y="4"/>
                    <a:pt x="17" y="2"/>
                  </a:cubicBezTo>
                  <a:cubicBezTo>
                    <a:pt x="12" y="0"/>
                    <a:pt x="8" y="1"/>
                    <a:pt x="4" y="3"/>
                  </a:cubicBezTo>
                  <a:cubicBezTo>
                    <a:pt x="2" y="5"/>
                    <a:pt x="0" y="8"/>
                    <a:pt x="1" y="10"/>
                  </a:cubicBezTo>
                  <a:cubicBezTo>
                    <a:pt x="3" y="16"/>
                    <a:pt x="4" y="22"/>
                    <a:pt x="5" y="28"/>
                  </a:cubicBezTo>
                  <a:cubicBezTo>
                    <a:pt x="5" y="29"/>
                    <a:pt x="6" y="30"/>
                    <a:pt x="7" y="31"/>
                  </a:cubicBezTo>
                  <a:cubicBezTo>
                    <a:pt x="11" y="32"/>
                    <a:pt x="16" y="34"/>
                    <a:pt x="21" y="36"/>
                  </a:cubicBezTo>
                  <a:cubicBezTo>
                    <a:pt x="25" y="37"/>
                    <a:pt x="25" y="38"/>
                    <a:pt x="25" y="41"/>
                  </a:cubicBezTo>
                  <a:cubicBezTo>
                    <a:pt x="25" y="44"/>
                    <a:pt x="25" y="47"/>
                    <a:pt x="25" y="50"/>
                  </a:cubicBezTo>
                  <a:cubicBezTo>
                    <a:pt x="25" y="54"/>
                    <a:pt x="24" y="58"/>
                    <a:pt x="20" y="60"/>
                  </a:cubicBezTo>
                  <a:cubicBezTo>
                    <a:pt x="18" y="62"/>
                    <a:pt x="16" y="64"/>
                    <a:pt x="14" y="67"/>
                  </a:cubicBezTo>
                  <a:cubicBezTo>
                    <a:pt x="9" y="73"/>
                    <a:pt x="9" y="80"/>
                    <a:pt x="9" y="88"/>
                  </a:cubicBezTo>
                  <a:cubicBezTo>
                    <a:pt x="9" y="93"/>
                    <a:pt x="16" y="92"/>
                    <a:pt x="18" y="96"/>
                  </a:cubicBezTo>
                  <a:cubicBezTo>
                    <a:pt x="19" y="96"/>
                    <a:pt x="19" y="97"/>
                    <a:pt x="20" y="97"/>
                  </a:cubicBezTo>
                  <a:cubicBezTo>
                    <a:pt x="23" y="100"/>
                    <a:pt x="27" y="100"/>
                    <a:pt x="32" y="98"/>
                  </a:cubicBezTo>
                  <a:cubicBezTo>
                    <a:pt x="33" y="97"/>
                    <a:pt x="34" y="97"/>
                    <a:pt x="35" y="97"/>
                  </a:cubicBezTo>
                  <a:cubicBezTo>
                    <a:pt x="36" y="96"/>
                    <a:pt x="37" y="97"/>
                    <a:pt x="36" y="98"/>
                  </a:cubicBezTo>
                  <a:cubicBezTo>
                    <a:pt x="36" y="100"/>
                    <a:pt x="35" y="102"/>
                    <a:pt x="36" y="103"/>
                  </a:cubicBezTo>
                  <a:cubicBezTo>
                    <a:pt x="36" y="105"/>
                    <a:pt x="38" y="106"/>
                    <a:pt x="40" y="107"/>
                  </a:cubicBezTo>
                  <a:cubicBezTo>
                    <a:pt x="46" y="108"/>
                    <a:pt x="51" y="110"/>
                    <a:pt x="56" y="110"/>
                  </a:cubicBezTo>
                  <a:cubicBezTo>
                    <a:pt x="67" y="110"/>
                    <a:pt x="76" y="115"/>
                    <a:pt x="87" y="115"/>
                  </a:cubicBezTo>
                  <a:cubicBezTo>
                    <a:pt x="89" y="115"/>
                    <a:pt x="91" y="116"/>
                    <a:pt x="93" y="117"/>
                  </a:cubicBezTo>
                  <a:cubicBezTo>
                    <a:pt x="97" y="120"/>
                    <a:pt x="101" y="121"/>
                    <a:pt x="106" y="120"/>
                  </a:cubicBezTo>
                  <a:cubicBezTo>
                    <a:pt x="109" y="120"/>
                    <a:pt x="112" y="120"/>
                    <a:pt x="115" y="120"/>
                  </a:cubicBezTo>
                  <a:cubicBezTo>
                    <a:pt x="117" y="119"/>
                    <a:pt x="119" y="119"/>
                    <a:pt x="120" y="118"/>
                  </a:cubicBezTo>
                  <a:cubicBezTo>
                    <a:pt x="123" y="115"/>
                    <a:pt x="126" y="113"/>
                    <a:pt x="129" y="112"/>
                  </a:cubicBezTo>
                  <a:cubicBezTo>
                    <a:pt x="132" y="111"/>
                    <a:pt x="132" y="108"/>
                    <a:pt x="132" y="106"/>
                  </a:cubicBezTo>
                  <a:cubicBezTo>
                    <a:pt x="131" y="104"/>
                    <a:pt x="133" y="103"/>
                    <a:pt x="134" y="101"/>
                  </a:cubicBezTo>
                  <a:cubicBezTo>
                    <a:pt x="138" y="94"/>
                    <a:pt x="137" y="89"/>
                    <a:pt x="131" y="8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8"/>
            <p:cNvSpPr>
              <a:spLocks/>
            </p:cNvSpPr>
            <p:nvPr/>
          </p:nvSpPr>
          <p:spPr bwMode="auto">
            <a:xfrm>
              <a:off x="8281642" y="1294465"/>
              <a:ext cx="290781" cy="173925"/>
            </a:xfrm>
            <a:custGeom>
              <a:avLst/>
              <a:gdLst>
                <a:gd name="T0" fmla="*/ 87 w 136"/>
                <a:gd name="T1" fmla="*/ 49 h 81"/>
                <a:gd name="T2" fmla="*/ 72 w 136"/>
                <a:gd name="T3" fmla="*/ 46 h 81"/>
                <a:gd name="T4" fmla="*/ 71 w 136"/>
                <a:gd name="T5" fmla="*/ 43 h 81"/>
                <a:gd name="T6" fmla="*/ 72 w 136"/>
                <a:gd name="T7" fmla="*/ 30 h 81"/>
                <a:gd name="T8" fmla="*/ 71 w 136"/>
                <a:gd name="T9" fmla="*/ 19 h 81"/>
                <a:gd name="T10" fmla="*/ 64 w 136"/>
                <a:gd name="T11" fmla="*/ 13 h 81"/>
                <a:gd name="T12" fmla="*/ 61 w 136"/>
                <a:gd name="T13" fmla="*/ 9 h 81"/>
                <a:gd name="T14" fmla="*/ 55 w 136"/>
                <a:gd name="T15" fmla="*/ 1 h 81"/>
                <a:gd name="T16" fmla="*/ 45 w 136"/>
                <a:gd name="T17" fmla="*/ 2 h 81"/>
                <a:gd name="T18" fmla="*/ 31 w 136"/>
                <a:gd name="T19" fmla="*/ 10 h 81"/>
                <a:gd name="T20" fmla="*/ 27 w 136"/>
                <a:gd name="T21" fmla="*/ 14 h 81"/>
                <a:gd name="T22" fmla="*/ 22 w 136"/>
                <a:gd name="T23" fmla="*/ 21 h 81"/>
                <a:gd name="T24" fmla="*/ 16 w 136"/>
                <a:gd name="T25" fmla="*/ 26 h 81"/>
                <a:gd name="T26" fmla="*/ 16 w 136"/>
                <a:gd name="T27" fmla="*/ 29 h 81"/>
                <a:gd name="T28" fmla="*/ 21 w 136"/>
                <a:gd name="T29" fmla="*/ 32 h 81"/>
                <a:gd name="T30" fmla="*/ 22 w 136"/>
                <a:gd name="T31" fmla="*/ 34 h 81"/>
                <a:gd name="T32" fmla="*/ 20 w 136"/>
                <a:gd name="T33" fmla="*/ 34 h 81"/>
                <a:gd name="T34" fmla="*/ 9 w 136"/>
                <a:gd name="T35" fmla="*/ 33 h 81"/>
                <a:gd name="T36" fmla="*/ 1 w 136"/>
                <a:gd name="T37" fmla="*/ 40 h 81"/>
                <a:gd name="T38" fmla="*/ 4 w 136"/>
                <a:gd name="T39" fmla="*/ 47 h 81"/>
                <a:gd name="T40" fmla="*/ 10 w 136"/>
                <a:gd name="T41" fmla="*/ 52 h 81"/>
                <a:gd name="T42" fmla="*/ 28 w 136"/>
                <a:gd name="T43" fmla="*/ 56 h 81"/>
                <a:gd name="T44" fmla="*/ 31 w 136"/>
                <a:gd name="T45" fmla="*/ 56 h 81"/>
                <a:gd name="T46" fmla="*/ 44 w 136"/>
                <a:gd name="T47" fmla="*/ 58 h 81"/>
                <a:gd name="T48" fmla="*/ 45 w 136"/>
                <a:gd name="T49" fmla="*/ 59 h 81"/>
                <a:gd name="T50" fmla="*/ 44 w 136"/>
                <a:gd name="T51" fmla="*/ 60 h 81"/>
                <a:gd name="T52" fmla="*/ 23 w 136"/>
                <a:gd name="T53" fmla="*/ 63 h 81"/>
                <a:gd name="T54" fmla="*/ 19 w 136"/>
                <a:gd name="T55" fmla="*/ 68 h 81"/>
                <a:gd name="T56" fmla="*/ 24 w 136"/>
                <a:gd name="T57" fmla="*/ 78 h 81"/>
                <a:gd name="T58" fmla="*/ 30 w 136"/>
                <a:gd name="T59" fmla="*/ 80 h 81"/>
                <a:gd name="T60" fmla="*/ 40 w 136"/>
                <a:gd name="T61" fmla="*/ 80 h 81"/>
                <a:gd name="T62" fmla="*/ 57 w 136"/>
                <a:gd name="T63" fmla="*/ 76 h 81"/>
                <a:gd name="T64" fmla="*/ 63 w 136"/>
                <a:gd name="T65" fmla="*/ 74 h 81"/>
                <a:gd name="T66" fmla="*/ 78 w 136"/>
                <a:gd name="T67" fmla="*/ 72 h 81"/>
                <a:gd name="T68" fmla="*/ 81 w 136"/>
                <a:gd name="T69" fmla="*/ 72 h 81"/>
                <a:gd name="T70" fmla="*/ 92 w 136"/>
                <a:gd name="T71" fmla="*/ 76 h 81"/>
                <a:gd name="T72" fmla="*/ 100 w 136"/>
                <a:gd name="T73" fmla="*/ 77 h 81"/>
                <a:gd name="T74" fmla="*/ 106 w 136"/>
                <a:gd name="T75" fmla="*/ 76 h 81"/>
                <a:gd name="T76" fmla="*/ 115 w 136"/>
                <a:gd name="T77" fmla="*/ 72 h 81"/>
                <a:gd name="T78" fmla="*/ 130 w 136"/>
                <a:gd name="T79" fmla="*/ 58 h 81"/>
                <a:gd name="T80" fmla="*/ 133 w 136"/>
                <a:gd name="T81" fmla="*/ 52 h 81"/>
                <a:gd name="T82" fmla="*/ 129 w 136"/>
                <a:gd name="T83" fmla="*/ 40 h 81"/>
                <a:gd name="T84" fmla="*/ 126 w 136"/>
                <a:gd name="T85" fmla="*/ 40 h 81"/>
                <a:gd name="T86" fmla="*/ 121 w 136"/>
                <a:gd name="T87" fmla="*/ 43 h 81"/>
                <a:gd name="T88" fmla="*/ 119 w 136"/>
                <a:gd name="T89" fmla="*/ 44 h 81"/>
                <a:gd name="T90" fmla="*/ 114 w 136"/>
                <a:gd name="T91" fmla="*/ 37 h 81"/>
                <a:gd name="T92" fmla="*/ 113 w 136"/>
                <a:gd name="T93" fmla="*/ 30 h 81"/>
                <a:gd name="T94" fmla="*/ 115 w 136"/>
                <a:gd name="T95" fmla="*/ 25 h 81"/>
                <a:gd name="T96" fmla="*/ 118 w 136"/>
                <a:gd name="T97" fmla="*/ 11 h 81"/>
                <a:gd name="T98" fmla="*/ 117 w 136"/>
                <a:gd name="T99" fmla="*/ 7 h 81"/>
                <a:gd name="T100" fmla="*/ 111 w 136"/>
                <a:gd name="T101" fmla="*/ 7 h 81"/>
                <a:gd name="T102" fmla="*/ 98 w 136"/>
                <a:gd name="T103" fmla="*/ 16 h 81"/>
                <a:gd name="T104" fmla="*/ 95 w 136"/>
                <a:gd name="T105" fmla="*/ 23 h 81"/>
                <a:gd name="T106" fmla="*/ 96 w 136"/>
                <a:gd name="T107" fmla="*/ 27 h 81"/>
                <a:gd name="T108" fmla="*/ 93 w 136"/>
                <a:gd name="T109" fmla="*/ 34 h 81"/>
                <a:gd name="T110" fmla="*/ 91 w 136"/>
                <a:gd name="T111" fmla="*/ 35 h 81"/>
                <a:gd name="T112" fmla="*/ 89 w 136"/>
                <a:gd name="T113" fmla="*/ 41 h 81"/>
                <a:gd name="T114" fmla="*/ 90 w 136"/>
                <a:gd name="T115" fmla="*/ 44 h 81"/>
                <a:gd name="T116" fmla="*/ 87 w 136"/>
                <a:gd name="T117" fmla="*/ 4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 h="81">
                  <a:moveTo>
                    <a:pt x="87" y="49"/>
                  </a:moveTo>
                  <a:cubicBezTo>
                    <a:pt x="82" y="48"/>
                    <a:pt x="77" y="47"/>
                    <a:pt x="72" y="46"/>
                  </a:cubicBezTo>
                  <a:cubicBezTo>
                    <a:pt x="72" y="45"/>
                    <a:pt x="70" y="44"/>
                    <a:pt x="71" y="43"/>
                  </a:cubicBezTo>
                  <a:cubicBezTo>
                    <a:pt x="74" y="39"/>
                    <a:pt x="70" y="34"/>
                    <a:pt x="72" y="30"/>
                  </a:cubicBezTo>
                  <a:cubicBezTo>
                    <a:pt x="71" y="26"/>
                    <a:pt x="71" y="22"/>
                    <a:pt x="71" y="19"/>
                  </a:cubicBezTo>
                  <a:cubicBezTo>
                    <a:pt x="70" y="15"/>
                    <a:pt x="68" y="14"/>
                    <a:pt x="64" y="13"/>
                  </a:cubicBezTo>
                  <a:cubicBezTo>
                    <a:pt x="61" y="12"/>
                    <a:pt x="61" y="12"/>
                    <a:pt x="61" y="9"/>
                  </a:cubicBezTo>
                  <a:cubicBezTo>
                    <a:pt x="61" y="4"/>
                    <a:pt x="59" y="2"/>
                    <a:pt x="55" y="1"/>
                  </a:cubicBezTo>
                  <a:cubicBezTo>
                    <a:pt x="52" y="1"/>
                    <a:pt x="48" y="0"/>
                    <a:pt x="45" y="2"/>
                  </a:cubicBezTo>
                  <a:cubicBezTo>
                    <a:pt x="41" y="6"/>
                    <a:pt x="36" y="7"/>
                    <a:pt x="31" y="10"/>
                  </a:cubicBezTo>
                  <a:cubicBezTo>
                    <a:pt x="30" y="11"/>
                    <a:pt x="28" y="13"/>
                    <a:pt x="27" y="14"/>
                  </a:cubicBezTo>
                  <a:cubicBezTo>
                    <a:pt x="28" y="18"/>
                    <a:pt x="25" y="19"/>
                    <a:pt x="22" y="21"/>
                  </a:cubicBezTo>
                  <a:cubicBezTo>
                    <a:pt x="19" y="22"/>
                    <a:pt x="17" y="24"/>
                    <a:pt x="16" y="26"/>
                  </a:cubicBezTo>
                  <a:cubicBezTo>
                    <a:pt x="15" y="27"/>
                    <a:pt x="15" y="28"/>
                    <a:pt x="16" y="29"/>
                  </a:cubicBezTo>
                  <a:cubicBezTo>
                    <a:pt x="17" y="30"/>
                    <a:pt x="19" y="31"/>
                    <a:pt x="21" y="32"/>
                  </a:cubicBezTo>
                  <a:cubicBezTo>
                    <a:pt x="22" y="33"/>
                    <a:pt x="23" y="33"/>
                    <a:pt x="22" y="34"/>
                  </a:cubicBezTo>
                  <a:cubicBezTo>
                    <a:pt x="22" y="34"/>
                    <a:pt x="21" y="35"/>
                    <a:pt x="20" y="34"/>
                  </a:cubicBezTo>
                  <a:cubicBezTo>
                    <a:pt x="17" y="34"/>
                    <a:pt x="13" y="33"/>
                    <a:pt x="9" y="33"/>
                  </a:cubicBezTo>
                  <a:cubicBezTo>
                    <a:pt x="6" y="33"/>
                    <a:pt x="3" y="36"/>
                    <a:pt x="1" y="40"/>
                  </a:cubicBezTo>
                  <a:cubicBezTo>
                    <a:pt x="0" y="43"/>
                    <a:pt x="1" y="45"/>
                    <a:pt x="4" y="47"/>
                  </a:cubicBezTo>
                  <a:cubicBezTo>
                    <a:pt x="6" y="48"/>
                    <a:pt x="8" y="50"/>
                    <a:pt x="10" y="52"/>
                  </a:cubicBezTo>
                  <a:cubicBezTo>
                    <a:pt x="16" y="55"/>
                    <a:pt x="21" y="59"/>
                    <a:pt x="28" y="56"/>
                  </a:cubicBezTo>
                  <a:cubicBezTo>
                    <a:pt x="29" y="55"/>
                    <a:pt x="30" y="55"/>
                    <a:pt x="31" y="56"/>
                  </a:cubicBezTo>
                  <a:cubicBezTo>
                    <a:pt x="35" y="58"/>
                    <a:pt x="40" y="58"/>
                    <a:pt x="44" y="58"/>
                  </a:cubicBezTo>
                  <a:cubicBezTo>
                    <a:pt x="44" y="58"/>
                    <a:pt x="45" y="59"/>
                    <a:pt x="45" y="59"/>
                  </a:cubicBezTo>
                  <a:cubicBezTo>
                    <a:pt x="45" y="59"/>
                    <a:pt x="44" y="60"/>
                    <a:pt x="44" y="60"/>
                  </a:cubicBezTo>
                  <a:cubicBezTo>
                    <a:pt x="37" y="61"/>
                    <a:pt x="30" y="62"/>
                    <a:pt x="23" y="63"/>
                  </a:cubicBezTo>
                  <a:cubicBezTo>
                    <a:pt x="21" y="63"/>
                    <a:pt x="19" y="65"/>
                    <a:pt x="19" y="68"/>
                  </a:cubicBezTo>
                  <a:cubicBezTo>
                    <a:pt x="18" y="72"/>
                    <a:pt x="20" y="76"/>
                    <a:pt x="24" y="78"/>
                  </a:cubicBezTo>
                  <a:cubicBezTo>
                    <a:pt x="26" y="79"/>
                    <a:pt x="28" y="80"/>
                    <a:pt x="30" y="80"/>
                  </a:cubicBezTo>
                  <a:cubicBezTo>
                    <a:pt x="33" y="80"/>
                    <a:pt x="37" y="80"/>
                    <a:pt x="40" y="80"/>
                  </a:cubicBezTo>
                  <a:cubicBezTo>
                    <a:pt x="46" y="81"/>
                    <a:pt x="52" y="80"/>
                    <a:pt x="57" y="76"/>
                  </a:cubicBezTo>
                  <a:cubicBezTo>
                    <a:pt x="59" y="75"/>
                    <a:pt x="61" y="74"/>
                    <a:pt x="63" y="74"/>
                  </a:cubicBezTo>
                  <a:cubicBezTo>
                    <a:pt x="68" y="74"/>
                    <a:pt x="73" y="74"/>
                    <a:pt x="78" y="72"/>
                  </a:cubicBezTo>
                  <a:cubicBezTo>
                    <a:pt x="79" y="72"/>
                    <a:pt x="80" y="72"/>
                    <a:pt x="81" y="72"/>
                  </a:cubicBezTo>
                  <a:cubicBezTo>
                    <a:pt x="85" y="74"/>
                    <a:pt x="88" y="75"/>
                    <a:pt x="92" y="76"/>
                  </a:cubicBezTo>
                  <a:cubicBezTo>
                    <a:pt x="94" y="78"/>
                    <a:pt x="97" y="78"/>
                    <a:pt x="100" y="77"/>
                  </a:cubicBezTo>
                  <a:cubicBezTo>
                    <a:pt x="102" y="77"/>
                    <a:pt x="104" y="77"/>
                    <a:pt x="106" y="76"/>
                  </a:cubicBezTo>
                  <a:cubicBezTo>
                    <a:pt x="110" y="76"/>
                    <a:pt x="112" y="74"/>
                    <a:pt x="115" y="72"/>
                  </a:cubicBezTo>
                  <a:cubicBezTo>
                    <a:pt x="120" y="67"/>
                    <a:pt x="124" y="62"/>
                    <a:pt x="130" y="58"/>
                  </a:cubicBezTo>
                  <a:cubicBezTo>
                    <a:pt x="131" y="56"/>
                    <a:pt x="132" y="54"/>
                    <a:pt x="133" y="52"/>
                  </a:cubicBezTo>
                  <a:cubicBezTo>
                    <a:pt x="136" y="48"/>
                    <a:pt x="134" y="43"/>
                    <a:pt x="129" y="40"/>
                  </a:cubicBezTo>
                  <a:cubicBezTo>
                    <a:pt x="129" y="40"/>
                    <a:pt x="127" y="40"/>
                    <a:pt x="126" y="40"/>
                  </a:cubicBezTo>
                  <a:cubicBezTo>
                    <a:pt x="124" y="40"/>
                    <a:pt x="122" y="42"/>
                    <a:pt x="121" y="43"/>
                  </a:cubicBezTo>
                  <a:cubicBezTo>
                    <a:pt x="120" y="45"/>
                    <a:pt x="119" y="45"/>
                    <a:pt x="119" y="44"/>
                  </a:cubicBezTo>
                  <a:cubicBezTo>
                    <a:pt x="117" y="42"/>
                    <a:pt x="112" y="41"/>
                    <a:pt x="114" y="37"/>
                  </a:cubicBezTo>
                  <a:cubicBezTo>
                    <a:pt x="112" y="35"/>
                    <a:pt x="110" y="33"/>
                    <a:pt x="113" y="30"/>
                  </a:cubicBezTo>
                  <a:cubicBezTo>
                    <a:pt x="115" y="29"/>
                    <a:pt x="115" y="27"/>
                    <a:pt x="115" y="25"/>
                  </a:cubicBezTo>
                  <a:cubicBezTo>
                    <a:pt x="115" y="20"/>
                    <a:pt x="116" y="15"/>
                    <a:pt x="118" y="11"/>
                  </a:cubicBezTo>
                  <a:cubicBezTo>
                    <a:pt x="119" y="10"/>
                    <a:pt x="118" y="8"/>
                    <a:pt x="117" y="7"/>
                  </a:cubicBezTo>
                  <a:cubicBezTo>
                    <a:pt x="115" y="5"/>
                    <a:pt x="113" y="5"/>
                    <a:pt x="111" y="7"/>
                  </a:cubicBezTo>
                  <a:cubicBezTo>
                    <a:pt x="106" y="10"/>
                    <a:pt x="102" y="13"/>
                    <a:pt x="98" y="16"/>
                  </a:cubicBezTo>
                  <a:cubicBezTo>
                    <a:pt x="95" y="18"/>
                    <a:pt x="95" y="20"/>
                    <a:pt x="95" y="23"/>
                  </a:cubicBezTo>
                  <a:cubicBezTo>
                    <a:pt x="95" y="24"/>
                    <a:pt x="95" y="26"/>
                    <a:pt x="96" y="27"/>
                  </a:cubicBezTo>
                  <a:cubicBezTo>
                    <a:pt x="97" y="31"/>
                    <a:pt x="95" y="32"/>
                    <a:pt x="93" y="34"/>
                  </a:cubicBezTo>
                  <a:cubicBezTo>
                    <a:pt x="92" y="34"/>
                    <a:pt x="92" y="34"/>
                    <a:pt x="91" y="35"/>
                  </a:cubicBezTo>
                  <a:cubicBezTo>
                    <a:pt x="88" y="36"/>
                    <a:pt x="88" y="39"/>
                    <a:pt x="89" y="41"/>
                  </a:cubicBezTo>
                  <a:cubicBezTo>
                    <a:pt x="89" y="42"/>
                    <a:pt x="90" y="43"/>
                    <a:pt x="90" y="44"/>
                  </a:cubicBezTo>
                  <a:cubicBezTo>
                    <a:pt x="91" y="46"/>
                    <a:pt x="89" y="49"/>
                    <a:pt x="87" y="4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9"/>
            <p:cNvSpPr>
              <a:spLocks/>
            </p:cNvSpPr>
            <p:nvPr/>
          </p:nvSpPr>
          <p:spPr bwMode="auto">
            <a:xfrm>
              <a:off x="10157675" y="2237464"/>
              <a:ext cx="250017" cy="149467"/>
            </a:xfrm>
            <a:custGeom>
              <a:avLst/>
              <a:gdLst>
                <a:gd name="T0" fmla="*/ 60 w 117"/>
                <a:gd name="T1" fmla="*/ 69 h 70"/>
                <a:gd name="T2" fmla="*/ 84 w 117"/>
                <a:gd name="T3" fmla="*/ 59 h 70"/>
                <a:gd name="T4" fmla="*/ 88 w 117"/>
                <a:gd name="T5" fmla="*/ 56 h 70"/>
                <a:gd name="T6" fmla="*/ 103 w 117"/>
                <a:gd name="T7" fmla="*/ 49 h 70"/>
                <a:gd name="T8" fmla="*/ 108 w 117"/>
                <a:gd name="T9" fmla="*/ 45 h 70"/>
                <a:gd name="T10" fmla="*/ 113 w 117"/>
                <a:gd name="T11" fmla="*/ 40 h 70"/>
                <a:gd name="T12" fmla="*/ 114 w 117"/>
                <a:gd name="T13" fmla="*/ 37 h 70"/>
                <a:gd name="T14" fmla="*/ 117 w 117"/>
                <a:gd name="T15" fmla="*/ 25 h 70"/>
                <a:gd name="T16" fmla="*/ 117 w 117"/>
                <a:gd name="T17" fmla="*/ 24 h 70"/>
                <a:gd name="T18" fmla="*/ 116 w 117"/>
                <a:gd name="T19" fmla="*/ 23 h 70"/>
                <a:gd name="T20" fmla="*/ 110 w 117"/>
                <a:gd name="T21" fmla="*/ 19 h 70"/>
                <a:gd name="T22" fmla="*/ 108 w 117"/>
                <a:gd name="T23" fmla="*/ 12 h 70"/>
                <a:gd name="T24" fmla="*/ 105 w 117"/>
                <a:gd name="T25" fmla="*/ 5 h 70"/>
                <a:gd name="T26" fmla="*/ 102 w 117"/>
                <a:gd name="T27" fmla="*/ 4 h 70"/>
                <a:gd name="T28" fmla="*/ 96 w 117"/>
                <a:gd name="T29" fmla="*/ 3 h 70"/>
                <a:gd name="T30" fmla="*/ 88 w 117"/>
                <a:gd name="T31" fmla="*/ 3 h 70"/>
                <a:gd name="T32" fmla="*/ 71 w 117"/>
                <a:gd name="T33" fmla="*/ 7 h 70"/>
                <a:gd name="T34" fmla="*/ 65 w 117"/>
                <a:gd name="T35" fmla="*/ 7 h 70"/>
                <a:gd name="T36" fmla="*/ 54 w 117"/>
                <a:gd name="T37" fmla="*/ 12 h 70"/>
                <a:gd name="T38" fmla="*/ 51 w 117"/>
                <a:gd name="T39" fmla="*/ 12 h 70"/>
                <a:gd name="T40" fmla="*/ 48 w 117"/>
                <a:gd name="T41" fmla="*/ 8 h 70"/>
                <a:gd name="T42" fmla="*/ 44 w 117"/>
                <a:gd name="T43" fmla="*/ 9 h 70"/>
                <a:gd name="T44" fmla="*/ 43 w 117"/>
                <a:gd name="T45" fmla="*/ 15 h 70"/>
                <a:gd name="T46" fmla="*/ 39 w 117"/>
                <a:gd name="T47" fmla="*/ 21 h 70"/>
                <a:gd name="T48" fmla="*/ 36 w 117"/>
                <a:gd name="T49" fmla="*/ 22 h 70"/>
                <a:gd name="T50" fmla="*/ 37 w 117"/>
                <a:gd name="T51" fmla="*/ 22 h 70"/>
                <a:gd name="T52" fmla="*/ 35 w 117"/>
                <a:gd name="T53" fmla="*/ 23 h 70"/>
                <a:gd name="T54" fmla="*/ 36 w 117"/>
                <a:gd name="T55" fmla="*/ 22 h 70"/>
                <a:gd name="T56" fmla="*/ 36 w 117"/>
                <a:gd name="T57" fmla="*/ 22 h 70"/>
                <a:gd name="T58" fmla="*/ 34 w 117"/>
                <a:gd name="T59" fmla="*/ 14 h 70"/>
                <a:gd name="T60" fmla="*/ 30 w 117"/>
                <a:gd name="T61" fmla="*/ 6 h 70"/>
                <a:gd name="T62" fmla="*/ 27 w 117"/>
                <a:gd name="T63" fmla="*/ 3 h 70"/>
                <a:gd name="T64" fmla="*/ 16 w 117"/>
                <a:gd name="T65" fmla="*/ 3 h 70"/>
                <a:gd name="T66" fmla="*/ 17 w 117"/>
                <a:gd name="T67" fmla="*/ 4 h 70"/>
                <a:gd name="T68" fmla="*/ 16 w 117"/>
                <a:gd name="T69" fmla="*/ 3 h 70"/>
                <a:gd name="T70" fmla="*/ 16 w 117"/>
                <a:gd name="T71" fmla="*/ 3 h 70"/>
                <a:gd name="T72" fmla="*/ 16 w 117"/>
                <a:gd name="T73" fmla="*/ 3 h 70"/>
                <a:gd name="T74" fmla="*/ 9 w 117"/>
                <a:gd name="T75" fmla="*/ 6 h 70"/>
                <a:gd name="T76" fmla="*/ 1 w 117"/>
                <a:gd name="T77" fmla="*/ 18 h 70"/>
                <a:gd name="T78" fmla="*/ 4 w 117"/>
                <a:gd name="T79" fmla="*/ 22 h 70"/>
                <a:gd name="T80" fmla="*/ 9 w 117"/>
                <a:gd name="T81" fmla="*/ 21 h 70"/>
                <a:gd name="T82" fmla="*/ 20 w 117"/>
                <a:gd name="T83" fmla="*/ 23 h 70"/>
                <a:gd name="T84" fmla="*/ 20 w 117"/>
                <a:gd name="T85" fmla="*/ 25 h 70"/>
                <a:gd name="T86" fmla="*/ 15 w 117"/>
                <a:gd name="T87" fmla="*/ 30 h 70"/>
                <a:gd name="T88" fmla="*/ 4 w 117"/>
                <a:gd name="T89" fmla="*/ 32 h 70"/>
                <a:gd name="T90" fmla="*/ 2 w 117"/>
                <a:gd name="T91" fmla="*/ 34 h 70"/>
                <a:gd name="T92" fmla="*/ 4 w 117"/>
                <a:gd name="T93" fmla="*/ 37 h 70"/>
                <a:gd name="T94" fmla="*/ 12 w 117"/>
                <a:gd name="T95" fmla="*/ 39 h 70"/>
                <a:gd name="T96" fmla="*/ 16 w 117"/>
                <a:gd name="T97" fmla="*/ 41 h 70"/>
                <a:gd name="T98" fmla="*/ 20 w 117"/>
                <a:gd name="T99" fmla="*/ 47 h 70"/>
                <a:gd name="T100" fmla="*/ 19 w 117"/>
                <a:gd name="T101" fmla="*/ 50 h 70"/>
                <a:gd name="T102" fmla="*/ 17 w 117"/>
                <a:gd name="T103" fmla="*/ 51 h 70"/>
                <a:gd name="T104" fmla="*/ 13 w 117"/>
                <a:gd name="T105" fmla="*/ 56 h 70"/>
                <a:gd name="T106" fmla="*/ 18 w 117"/>
                <a:gd name="T107" fmla="*/ 60 h 70"/>
                <a:gd name="T108" fmla="*/ 23 w 117"/>
                <a:gd name="T109" fmla="*/ 61 h 70"/>
                <a:gd name="T110" fmla="*/ 38 w 117"/>
                <a:gd name="T111" fmla="*/ 65 h 70"/>
                <a:gd name="T112" fmla="*/ 54 w 117"/>
                <a:gd name="T113" fmla="*/ 69 h 70"/>
                <a:gd name="T114" fmla="*/ 60 w 117"/>
                <a:gd name="T11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 h="70">
                  <a:moveTo>
                    <a:pt x="60" y="69"/>
                  </a:moveTo>
                  <a:cubicBezTo>
                    <a:pt x="68" y="66"/>
                    <a:pt x="76" y="61"/>
                    <a:pt x="84" y="59"/>
                  </a:cubicBezTo>
                  <a:cubicBezTo>
                    <a:pt x="86" y="58"/>
                    <a:pt x="87" y="57"/>
                    <a:pt x="88" y="56"/>
                  </a:cubicBezTo>
                  <a:cubicBezTo>
                    <a:pt x="92" y="52"/>
                    <a:pt x="97" y="50"/>
                    <a:pt x="103" y="49"/>
                  </a:cubicBezTo>
                  <a:cubicBezTo>
                    <a:pt x="105" y="48"/>
                    <a:pt x="107" y="47"/>
                    <a:pt x="108" y="45"/>
                  </a:cubicBezTo>
                  <a:cubicBezTo>
                    <a:pt x="110" y="43"/>
                    <a:pt x="112" y="42"/>
                    <a:pt x="113" y="40"/>
                  </a:cubicBezTo>
                  <a:cubicBezTo>
                    <a:pt x="114" y="39"/>
                    <a:pt x="115" y="37"/>
                    <a:pt x="114" y="37"/>
                  </a:cubicBezTo>
                  <a:cubicBezTo>
                    <a:pt x="112" y="32"/>
                    <a:pt x="114" y="29"/>
                    <a:pt x="117" y="25"/>
                  </a:cubicBezTo>
                  <a:cubicBezTo>
                    <a:pt x="117" y="25"/>
                    <a:pt x="117" y="24"/>
                    <a:pt x="117" y="24"/>
                  </a:cubicBezTo>
                  <a:cubicBezTo>
                    <a:pt x="117" y="23"/>
                    <a:pt x="116" y="23"/>
                    <a:pt x="116" y="23"/>
                  </a:cubicBezTo>
                  <a:cubicBezTo>
                    <a:pt x="114" y="21"/>
                    <a:pt x="112" y="20"/>
                    <a:pt x="110" y="19"/>
                  </a:cubicBezTo>
                  <a:cubicBezTo>
                    <a:pt x="107" y="17"/>
                    <a:pt x="109" y="14"/>
                    <a:pt x="108" y="12"/>
                  </a:cubicBezTo>
                  <a:cubicBezTo>
                    <a:pt x="107" y="10"/>
                    <a:pt x="106" y="8"/>
                    <a:pt x="105" y="5"/>
                  </a:cubicBezTo>
                  <a:cubicBezTo>
                    <a:pt x="104" y="4"/>
                    <a:pt x="103" y="4"/>
                    <a:pt x="102" y="4"/>
                  </a:cubicBezTo>
                  <a:cubicBezTo>
                    <a:pt x="100" y="5"/>
                    <a:pt x="98" y="5"/>
                    <a:pt x="96" y="3"/>
                  </a:cubicBezTo>
                  <a:cubicBezTo>
                    <a:pt x="93" y="0"/>
                    <a:pt x="90" y="1"/>
                    <a:pt x="88" y="3"/>
                  </a:cubicBezTo>
                  <a:cubicBezTo>
                    <a:pt x="83" y="8"/>
                    <a:pt x="78" y="9"/>
                    <a:pt x="71" y="7"/>
                  </a:cubicBezTo>
                  <a:cubicBezTo>
                    <a:pt x="69" y="7"/>
                    <a:pt x="66" y="8"/>
                    <a:pt x="65" y="7"/>
                  </a:cubicBezTo>
                  <a:cubicBezTo>
                    <a:pt x="59" y="5"/>
                    <a:pt x="56" y="8"/>
                    <a:pt x="54" y="12"/>
                  </a:cubicBezTo>
                  <a:cubicBezTo>
                    <a:pt x="54" y="12"/>
                    <a:pt x="52" y="12"/>
                    <a:pt x="51" y="12"/>
                  </a:cubicBezTo>
                  <a:cubicBezTo>
                    <a:pt x="50" y="11"/>
                    <a:pt x="49" y="9"/>
                    <a:pt x="48" y="8"/>
                  </a:cubicBezTo>
                  <a:cubicBezTo>
                    <a:pt x="47" y="7"/>
                    <a:pt x="45" y="8"/>
                    <a:pt x="44" y="9"/>
                  </a:cubicBezTo>
                  <a:cubicBezTo>
                    <a:pt x="43" y="11"/>
                    <a:pt x="43" y="13"/>
                    <a:pt x="43" y="15"/>
                  </a:cubicBezTo>
                  <a:cubicBezTo>
                    <a:pt x="44" y="18"/>
                    <a:pt x="42" y="20"/>
                    <a:pt x="39" y="21"/>
                  </a:cubicBezTo>
                  <a:cubicBezTo>
                    <a:pt x="38" y="21"/>
                    <a:pt x="37" y="22"/>
                    <a:pt x="36" y="22"/>
                  </a:cubicBezTo>
                  <a:cubicBezTo>
                    <a:pt x="36" y="22"/>
                    <a:pt x="37" y="22"/>
                    <a:pt x="37" y="22"/>
                  </a:cubicBezTo>
                  <a:cubicBezTo>
                    <a:pt x="36" y="23"/>
                    <a:pt x="36" y="23"/>
                    <a:pt x="35" y="23"/>
                  </a:cubicBezTo>
                  <a:cubicBezTo>
                    <a:pt x="36" y="23"/>
                    <a:pt x="36" y="22"/>
                    <a:pt x="36" y="22"/>
                  </a:cubicBezTo>
                  <a:cubicBezTo>
                    <a:pt x="36" y="22"/>
                    <a:pt x="36" y="22"/>
                    <a:pt x="36" y="22"/>
                  </a:cubicBezTo>
                  <a:cubicBezTo>
                    <a:pt x="34" y="20"/>
                    <a:pt x="34" y="17"/>
                    <a:pt x="34" y="14"/>
                  </a:cubicBezTo>
                  <a:cubicBezTo>
                    <a:pt x="34" y="11"/>
                    <a:pt x="33" y="8"/>
                    <a:pt x="30" y="6"/>
                  </a:cubicBezTo>
                  <a:cubicBezTo>
                    <a:pt x="29" y="5"/>
                    <a:pt x="28" y="4"/>
                    <a:pt x="27" y="3"/>
                  </a:cubicBezTo>
                  <a:cubicBezTo>
                    <a:pt x="23" y="0"/>
                    <a:pt x="22" y="0"/>
                    <a:pt x="16" y="3"/>
                  </a:cubicBezTo>
                  <a:cubicBezTo>
                    <a:pt x="17" y="4"/>
                    <a:pt x="17" y="4"/>
                    <a:pt x="17" y="4"/>
                  </a:cubicBezTo>
                  <a:cubicBezTo>
                    <a:pt x="16" y="3"/>
                    <a:pt x="16" y="3"/>
                    <a:pt x="16" y="3"/>
                  </a:cubicBezTo>
                  <a:cubicBezTo>
                    <a:pt x="16" y="3"/>
                    <a:pt x="16" y="3"/>
                    <a:pt x="16" y="3"/>
                  </a:cubicBezTo>
                  <a:cubicBezTo>
                    <a:pt x="16" y="3"/>
                    <a:pt x="16" y="3"/>
                    <a:pt x="16" y="3"/>
                  </a:cubicBezTo>
                  <a:cubicBezTo>
                    <a:pt x="14" y="4"/>
                    <a:pt x="11" y="4"/>
                    <a:pt x="9" y="6"/>
                  </a:cubicBezTo>
                  <a:cubicBezTo>
                    <a:pt x="6" y="10"/>
                    <a:pt x="3" y="14"/>
                    <a:pt x="1" y="18"/>
                  </a:cubicBezTo>
                  <a:cubicBezTo>
                    <a:pt x="0" y="19"/>
                    <a:pt x="2" y="22"/>
                    <a:pt x="4" y="22"/>
                  </a:cubicBezTo>
                  <a:cubicBezTo>
                    <a:pt x="6" y="22"/>
                    <a:pt x="7" y="22"/>
                    <a:pt x="9" y="21"/>
                  </a:cubicBezTo>
                  <a:cubicBezTo>
                    <a:pt x="13" y="20"/>
                    <a:pt x="16" y="21"/>
                    <a:pt x="20" y="23"/>
                  </a:cubicBezTo>
                  <a:cubicBezTo>
                    <a:pt x="21" y="23"/>
                    <a:pt x="21" y="24"/>
                    <a:pt x="20" y="25"/>
                  </a:cubicBezTo>
                  <a:cubicBezTo>
                    <a:pt x="19" y="27"/>
                    <a:pt x="18" y="30"/>
                    <a:pt x="15" y="30"/>
                  </a:cubicBezTo>
                  <a:cubicBezTo>
                    <a:pt x="11" y="30"/>
                    <a:pt x="7" y="31"/>
                    <a:pt x="4" y="32"/>
                  </a:cubicBezTo>
                  <a:cubicBezTo>
                    <a:pt x="3" y="32"/>
                    <a:pt x="2" y="34"/>
                    <a:pt x="2" y="34"/>
                  </a:cubicBezTo>
                  <a:cubicBezTo>
                    <a:pt x="3" y="35"/>
                    <a:pt x="3" y="37"/>
                    <a:pt x="4" y="37"/>
                  </a:cubicBezTo>
                  <a:cubicBezTo>
                    <a:pt x="7" y="38"/>
                    <a:pt x="9" y="38"/>
                    <a:pt x="12" y="39"/>
                  </a:cubicBezTo>
                  <a:cubicBezTo>
                    <a:pt x="14" y="39"/>
                    <a:pt x="15" y="40"/>
                    <a:pt x="16" y="41"/>
                  </a:cubicBezTo>
                  <a:cubicBezTo>
                    <a:pt x="18" y="43"/>
                    <a:pt x="19" y="45"/>
                    <a:pt x="20" y="47"/>
                  </a:cubicBezTo>
                  <a:cubicBezTo>
                    <a:pt x="21" y="48"/>
                    <a:pt x="20" y="49"/>
                    <a:pt x="19" y="50"/>
                  </a:cubicBezTo>
                  <a:cubicBezTo>
                    <a:pt x="19" y="51"/>
                    <a:pt x="18" y="51"/>
                    <a:pt x="17" y="51"/>
                  </a:cubicBezTo>
                  <a:cubicBezTo>
                    <a:pt x="14" y="52"/>
                    <a:pt x="13" y="53"/>
                    <a:pt x="13" y="56"/>
                  </a:cubicBezTo>
                  <a:cubicBezTo>
                    <a:pt x="13" y="58"/>
                    <a:pt x="15" y="60"/>
                    <a:pt x="18" y="60"/>
                  </a:cubicBezTo>
                  <a:cubicBezTo>
                    <a:pt x="20" y="60"/>
                    <a:pt x="22" y="61"/>
                    <a:pt x="23" y="61"/>
                  </a:cubicBezTo>
                  <a:cubicBezTo>
                    <a:pt x="29" y="60"/>
                    <a:pt x="34" y="60"/>
                    <a:pt x="38" y="65"/>
                  </a:cubicBezTo>
                  <a:cubicBezTo>
                    <a:pt x="44" y="66"/>
                    <a:pt x="49" y="68"/>
                    <a:pt x="54" y="69"/>
                  </a:cubicBezTo>
                  <a:cubicBezTo>
                    <a:pt x="56" y="70"/>
                    <a:pt x="58" y="69"/>
                    <a:pt x="60" y="6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30"/>
            <p:cNvSpPr>
              <a:spLocks/>
            </p:cNvSpPr>
            <p:nvPr/>
          </p:nvSpPr>
          <p:spPr bwMode="auto">
            <a:xfrm>
              <a:off x="8489084" y="1568940"/>
              <a:ext cx="164866" cy="188419"/>
            </a:xfrm>
            <a:custGeom>
              <a:avLst/>
              <a:gdLst>
                <a:gd name="T0" fmla="*/ 74 w 77"/>
                <a:gd name="T1" fmla="*/ 17 h 88"/>
                <a:gd name="T2" fmla="*/ 76 w 77"/>
                <a:gd name="T3" fmla="*/ 11 h 88"/>
                <a:gd name="T4" fmla="*/ 71 w 77"/>
                <a:gd name="T5" fmla="*/ 7 h 88"/>
                <a:gd name="T6" fmla="*/ 60 w 77"/>
                <a:gd name="T7" fmla="*/ 6 h 88"/>
                <a:gd name="T8" fmla="*/ 54 w 77"/>
                <a:gd name="T9" fmla="*/ 5 h 88"/>
                <a:gd name="T10" fmla="*/ 54 w 77"/>
                <a:gd name="T11" fmla="*/ 4 h 88"/>
                <a:gd name="T12" fmla="*/ 54 w 77"/>
                <a:gd name="T13" fmla="*/ 4 h 88"/>
                <a:gd name="T14" fmla="*/ 54 w 77"/>
                <a:gd name="T15" fmla="*/ 5 h 88"/>
                <a:gd name="T16" fmla="*/ 51 w 77"/>
                <a:gd name="T17" fmla="*/ 1 h 88"/>
                <a:gd name="T18" fmla="*/ 47 w 77"/>
                <a:gd name="T19" fmla="*/ 0 h 88"/>
                <a:gd name="T20" fmla="*/ 39 w 77"/>
                <a:gd name="T21" fmla="*/ 2 h 88"/>
                <a:gd name="T22" fmla="*/ 35 w 77"/>
                <a:gd name="T23" fmla="*/ 4 h 88"/>
                <a:gd name="T24" fmla="*/ 27 w 77"/>
                <a:gd name="T25" fmla="*/ 12 h 88"/>
                <a:gd name="T26" fmla="*/ 26 w 77"/>
                <a:gd name="T27" fmla="*/ 16 h 88"/>
                <a:gd name="T28" fmla="*/ 28 w 77"/>
                <a:gd name="T29" fmla="*/ 21 h 88"/>
                <a:gd name="T30" fmla="*/ 27 w 77"/>
                <a:gd name="T31" fmla="*/ 35 h 88"/>
                <a:gd name="T32" fmla="*/ 22 w 77"/>
                <a:gd name="T33" fmla="*/ 36 h 88"/>
                <a:gd name="T34" fmla="*/ 17 w 77"/>
                <a:gd name="T35" fmla="*/ 26 h 88"/>
                <a:gd name="T36" fmla="*/ 12 w 77"/>
                <a:gd name="T37" fmla="*/ 23 h 88"/>
                <a:gd name="T38" fmla="*/ 1 w 77"/>
                <a:gd name="T39" fmla="*/ 33 h 88"/>
                <a:gd name="T40" fmla="*/ 0 w 77"/>
                <a:gd name="T41" fmla="*/ 45 h 88"/>
                <a:gd name="T42" fmla="*/ 3 w 77"/>
                <a:gd name="T43" fmla="*/ 49 h 88"/>
                <a:gd name="T44" fmla="*/ 10 w 77"/>
                <a:gd name="T45" fmla="*/ 57 h 88"/>
                <a:gd name="T46" fmla="*/ 15 w 77"/>
                <a:gd name="T47" fmla="*/ 77 h 88"/>
                <a:gd name="T48" fmla="*/ 20 w 77"/>
                <a:gd name="T49" fmla="*/ 86 h 88"/>
                <a:gd name="T50" fmla="*/ 25 w 77"/>
                <a:gd name="T51" fmla="*/ 87 h 88"/>
                <a:gd name="T52" fmla="*/ 33 w 77"/>
                <a:gd name="T53" fmla="*/ 81 h 88"/>
                <a:gd name="T54" fmla="*/ 42 w 77"/>
                <a:gd name="T55" fmla="*/ 78 h 88"/>
                <a:gd name="T56" fmla="*/ 51 w 77"/>
                <a:gd name="T57" fmla="*/ 74 h 88"/>
                <a:gd name="T58" fmla="*/ 54 w 77"/>
                <a:gd name="T59" fmla="*/ 70 h 88"/>
                <a:gd name="T60" fmla="*/ 62 w 77"/>
                <a:gd name="T61" fmla="*/ 57 h 88"/>
                <a:gd name="T62" fmla="*/ 65 w 77"/>
                <a:gd name="T63" fmla="*/ 47 h 88"/>
                <a:gd name="T64" fmla="*/ 62 w 77"/>
                <a:gd name="T65" fmla="*/ 39 h 88"/>
                <a:gd name="T66" fmla="*/ 56 w 77"/>
                <a:gd name="T67" fmla="*/ 33 h 88"/>
                <a:gd name="T68" fmla="*/ 56 w 77"/>
                <a:gd name="T69" fmla="*/ 30 h 88"/>
                <a:gd name="T70" fmla="*/ 65 w 77"/>
                <a:gd name="T71" fmla="*/ 27 h 88"/>
                <a:gd name="T72" fmla="*/ 69 w 77"/>
                <a:gd name="T73" fmla="*/ 22 h 88"/>
                <a:gd name="T74" fmla="*/ 74 w 77"/>
                <a:gd name="T75" fmla="*/ 1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88">
                  <a:moveTo>
                    <a:pt x="74" y="17"/>
                  </a:moveTo>
                  <a:cubicBezTo>
                    <a:pt x="76" y="16"/>
                    <a:pt x="77" y="13"/>
                    <a:pt x="76" y="11"/>
                  </a:cubicBezTo>
                  <a:cubicBezTo>
                    <a:pt x="75" y="9"/>
                    <a:pt x="74" y="8"/>
                    <a:pt x="71" y="7"/>
                  </a:cubicBezTo>
                  <a:cubicBezTo>
                    <a:pt x="68" y="7"/>
                    <a:pt x="64" y="7"/>
                    <a:pt x="60" y="6"/>
                  </a:cubicBezTo>
                  <a:cubicBezTo>
                    <a:pt x="58" y="6"/>
                    <a:pt x="56" y="5"/>
                    <a:pt x="54" y="5"/>
                  </a:cubicBezTo>
                  <a:cubicBezTo>
                    <a:pt x="54" y="5"/>
                    <a:pt x="54" y="5"/>
                    <a:pt x="54" y="4"/>
                  </a:cubicBezTo>
                  <a:cubicBezTo>
                    <a:pt x="54" y="4"/>
                    <a:pt x="54" y="4"/>
                    <a:pt x="54" y="4"/>
                  </a:cubicBezTo>
                  <a:cubicBezTo>
                    <a:pt x="54" y="5"/>
                    <a:pt x="54" y="5"/>
                    <a:pt x="54" y="5"/>
                  </a:cubicBezTo>
                  <a:cubicBezTo>
                    <a:pt x="53" y="4"/>
                    <a:pt x="52" y="2"/>
                    <a:pt x="51" y="1"/>
                  </a:cubicBezTo>
                  <a:cubicBezTo>
                    <a:pt x="50" y="1"/>
                    <a:pt x="48" y="0"/>
                    <a:pt x="47" y="0"/>
                  </a:cubicBezTo>
                  <a:cubicBezTo>
                    <a:pt x="44" y="0"/>
                    <a:pt x="41" y="1"/>
                    <a:pt x="39" y="2"/>
                  </a:cubicBezTo>
                  <a:cubicBezTo>
                    <a:pt x="37" y="2"/>
                    <a:pt x="35" y="3"/>
                    <a:pt x="35" y="4"/>
                  </a:cubicBezTo>
                  <a:cubicBezTo>
                    <a:pt x="33" y="8"/>
                    <a:pt x="30" y="10"/>
                    <a:pt x="27" y="12"/>
                  </a:cubicBezTo>
                  <a:cubicBezTo>
                    <a:pt x="26" y="13"/>
                    <a:pt x="26" y="15"/>
                    <a:pt x="26" y="16"/>
                  </a:cubicBezTo>
                  <a:cubicBezTo>
                    <a:pt x="27" y="18"/>
                    <a:pt x="27" y="19"/>
                    <a:pt x="28" y="21"/>
                  </a:cubicBezTo>
                  <a:cubicBezTo>
                    <a:pt x="31" y="26"/>
                    <a:pt x="30" y="31"/>
                    <a:pt x="27" y="35"/>
                  </a:cubicBezTo>
                  <a:cubicBezTo>
                    <a:pt x="26" y="37"/>
                    <a:pt x="23" y="37"/>
                    <a:pt x="22" y="36"/>
                  </a:cubicBezTo>
                  <a:cubicBezTo>
                    <a:pt x="20" y="33"/>
                    <a:pt x="19" y="30"/>
                    <a:pt x="17" y="26"/>
                  </a:cubicBezTo>
                  <a:cubicBezTo>
                    <a:pt x="16" y="24"/>
                    <a:pt x="14" y="23"/>
                    <a:pt x="12" y="23"/>
                  </a:cubicBezTo>
                  <a:cubicBezTo>
                    <a:pt x="6" y="24"/>
                    <a:pt x="2" y="27"/>
                    <a:pt x="1" y="33"/>
                  </a:cubicBezTo>
                  <a:cubicBezTo>
                    <a:pt x="1" y="37"/>
                    <a:pt x="0" y="41"/>
                    <a:pt x="0" y="45"/>
                  </a:cubicBezTo>
                  <a:cubicBezTo>
                    <a:pt x="0" y="47"/>
                    <a:pt x="1" y="48"/>
                    <a:pt x="3" y="49"/>
                  </a:cubicBezTo>
                  <a:cubicBezTo>
                    <a:pt x="7" y="50"/>
                    <a:pt x="9" y="53"/>
                    <a:pt x="10" y="57"/>
                  </a:cubicBezTo>
                  <a:cubicBezTo>
                    <a:pt x="12" y="63"/>
                    <a:pt x="15" y="70"/>
                    <a:pt x="15" y="77"/>
                  </a:cubicBezTo>
                  <a:cubicBezTo>
                    <a:pt x="15" y="80"/>
                    <a:pt x="17" y="84"/>
                    <a:pt x="20" y="86"/>
                  </a:cubicBezTo>
                  <a:cubicBezTo>
                    <a:pt x="21" y="88"/>
                    <a:pt x="24" y="88"/>
                    <a:pt x="25" y="87"/>
                  </a:cubicBezTo>
                  <a:cubicBezTo>
                    <a:pt x="28" y="85"/>
                    <a:pt x="30" y="82"/>
                    <a:pt x="33" y="81"/>
                  </a:cubicBezTo>
                  <a:cubicBezTo>
                    <a:pt x="36" y="79"/>
                    <a:pt x="39" y="79"/>
                    <a:pt x="42" y="78"/>
                  </a:cubicBezTo>
                  <a:cubicBezTo>
                    <a:pt x="45" y="77"/>
                    <a:pt x="48" y="75"/>
                    <a:pt x="51" y="74"/>
                  </a:cubicBezTo>
                  <a:cubicBezTo>
                    <a:pt x="52" y="73"/>
                    <a:pt x="53" y="72"/>
                    <a:pt x="54" y="70"/>
                  </a:cubicBezTo>
                  <a:cubicBezTo>
                    <a:pt x="56" y="65"/>
                    <a:pt x="58" y="61"/>
                    <a:pt x="62" y="57"/>
                  </a:cubicBezTo>
                  <a:cubicBezTo>
                    <a:pt x="65" y="54"/>
                    <a:pt x="66" y="50"/>
                    <a:pt x="65" y="47"/>
                  </a:cubicBezTo>
                  <a:cubicBezTo>
                    <a:pt x="64" y="44"/>
                    <a:pt x="63" y="42"/>
                    <a:pt x="62" y="39"/>
                  </a:cubicBezTo>
                  <a:cubicBezTo>
                    <a:pt x="61" y="36"/>
                    <a:pt x="59" y="34"/>
                    <a:pt x="56" y="33"/>
                  </a:cubicBezTo>
                  <a:cubicBezTo>
                    <a:pt x="54" y="32"/>
                    <a:pt x="55" y="31"/>
                    <a:pt x="56" y="30"/>
                  </a:cubicBezTo>
                  <a:cubicBezTo>
                    <a:pt x="59" y="29"/>
                    <a:pt x="62" y="28"/>
                    <a:pt x="65" y="27"/>
                  </a:cubicBezTo>
                  <a:cubicBezTo>
                    <a:pt x="67" y="26"/>
                    <a:pt x="69" y="24"/>
                    <a:pt x="69" y="22"/>
                  </a:cubicBezTo>
                  <a:cubicBezTo>
                    <a:pt x="69" y="19"/>
                    <a:pt x="72" y="18"/>
                    <a:pt x="74" y="1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p:cNvSpPr>
            <p:nvPr/>
          </p:nvSpPr>
          <p:spPr bwMode="auto">
            <a:xfrm>
              <a:off x="9319756" y="2982985"/>
              <a:ext cx="2718"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cubicBezTo>
                    <a:pt x="1"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32"/>
            <p:cNvSpPr>
              <a:spLocks/>
            </p:cNvSpPr>
            <p:nvPr/>
          </p:nvSpPr>
          <p:spPr bwMode="auto">
            <a:xfrm>
              <a:off x="9144019" y="2840765"/>
              <a:ext cx="184795" cy="184795"/>
            </a:xfrm>
            <a:custGeom>
              <a:avLst/>
              <a:gdLst>
                <a:gd name="T0" fmla="*/ 78 w 86"/>
                <a:gd name="T1" fmla="*/ 43 h 86"/>
                <a:gd name="T2" fmla="*/ 77 w 86"/>
                <a:gd name="T3" fmla="*/ 38 h 86"/>
                <a:gd name="T4" fmla="*/ 74 w 86"/>
                <a:gd name="T5" fmla="*/ 35 h 86"/>
                <a:gd name="T6" fmla="*/ 69 w 86"/>
                <a:gd name="T7" fmla="*/ 34 h 86"/>
                <a:gd name="T8" fmla="*/ 65 w 86"/>
                <a:gd name="T9" fmla="*/ 36 h 86"/>
                <a:gd name="T10" fmla="*/ 54 w 86"/>
                <a:gd name="T11" fmla="*/ 37 h 86"/>
                <a:gd name="T12" fmla="*/ 51 w 86"/>
                <a:gd name="T13" fmla="*/ 32 h 86"/>
                <a:gd name="T14" fmla="*/ 52 w 86"/>
                <a:gd name="T15" fmla="*/ 31 h 86"/>
                <a:gd name="T16" fmla="*/ 47 w 86"/>
                <a:gd name="T17" fmla="*/ 25 h 86"/>
                <a:gd name="T18" fmla="*/ 43 w 86"/>
                <a:gd name="T19" fmla="*/ 25 h 86"/>
                <a:gd name="T20" fmla="*/ 43 w 86"/>
                <a:gd name="T21" fmla="*/ 25 h 86"/>
                <a:gd name="T22" fmla="*/ 42 w 86"/>
                <a:gd name="T23" fmla="*/ 26 h 86"/>
                <a:gd name="T24" fmla="*/ 42 w 86"/>
                <a:gd name="T25" fmla="*/ 25 h 86"/>
                <a:gd name="T26" fmla="*/ 43 w 86"/>
                <a:gd name="T27" fmla="*/ 25 h 86"/>
                <a:gd name="T28" fmla="*/ 51 w 86"/>
                <a:gd name="T29" fmla="*/ 14 h 86"/>
                <a:gd name="T30" fmla="*/ 59 w 86"/>
                <a:gd name="T31" fmla="*/ 4 h 86"/>
                <a:gd name="T32" fmla="*/ 59 w 86"/>
                <a:gd name="T33" fmla="*/ 1 h 86"/>
                <a:gd name="T34" fmla="*/ 55 w 86"/>
                <a:gd name="T35" fmla="*/ 0 h 86"/>
                <a:gd name="T36" fmla="*/ 41 w 86"/>
                <a:gd name="T37" fmla="*/ 8 h 86"/>
                <a:gd name="T38" fmla="*/ 20 w 86"/>
                <a:gd name="T39" fmla="*/ 36 h 86"/>
                <a:gd name="T40" fmla="*/ 8 w 86"/>
                <a:gd name="T41" fmla="*/ 47 h 86"/>
                <a:gd name="T42" fmla="*/ 7 w 86"/>
                <a:gd name="T43" fmla="*/ 51 h 86"/>
                <a:gd name="T44" fmla="*/ 6 w 86"/>
                <a:gd name="T45" fmla="*/ 56 h 86"/>
                <a:gd name="T46" fmla="*/ 1 w 86"/>
                <a:gd name="T47" fmla="*/ 62 h 86"/>
                <a:gd name="T48" fmla="*/ 3 w 86"/>
                <a:gd name="T49" fmla="*/ 66 h 86"/>
                <a:gd name="T50" fmla="*/ 7 w 86"/>
                <a:gd name="T51" fmla="*/ 67 h 86"/>
                <a:gd name="T52" fmla="*/ 23 w 86"/>
                <a:gd name="T53" fmla="*/ 68 h 86"/>
                <a:gd name="T54" fmla="*/ 36 w 86"/>
                <a:gd name="T55" fmla="*/ 68 h 86"/>
                <a:gd name="T56" fmla="*/ 49 w 86"/>
                <a:gd name="T57" fmla="*/ 71 h 86"/>
                <a:gd name="T58" fmla="*/ 49 w 86"/>
                <a:gd name="T59" fmla="*/ 72 h 86"/>
                <a:gd name="T60" fmla="*/ 44 w 86"/>
                <a:gd name="T61" fmla="*/ 77 h 86"/>
                <a:gd name="T62" fmla="*/ 44 w 86"/>
                <a:gd name="T63" fmla="*/ 80 h 86"/>
                <a:gd name="T64" fmla="*/ 47 w 86"/>
                <a:gd name="T65" fmla="*/ 81 h 86"/>
                <a:gd name="T66" fmla="*/ 52 w 86"/>
                <a:gd name="T67" fmla="*/ 78 h 86"/>
                <a:gd name="T68" fmla="*/ 64 w 86"/>
                <a:gd name="T69" fmla="*/ 70 h 86"/>
                <a:gd name="T70" fmla="*/ 65 w 86"/>
                <a:gd name="T71" fmla="*/ 71 h 86"/>
                <a:gd name="T72" fmla="*/ 64 w 86"/>
                <a:gd name="T73" fmla="*/ 78 h 86"/>
                <a:gd name="T74" fmla="*/ 65 w 86"/>
                <a:gd name="T75" fmla="*/ 81 h 86"/>
                <a:gd name="T76" fmla="*/ 75 w 86"/>
                <a:gd name="T77" fmla="*/ 86 h 86"/>
                <a:gd name="T78" fmla="*/ 80 w 86"/>
                <a:gd name="T79" fmla="*/ 83 h 86"/>
                <a:gd name="T80" fmla="*/ 85 w 86"/>
                <a:gd name="T81" fmla="*/ 73 h 86"/>
                <a:gd name="T82" fmla="*/ 83 w 86"/>
                <a:gd name="T83" fmla="*/ 66 h 86"/>
                <a:gd name="T84" fmla="*/ 82 w 86"/>
                <a:gd name="T85" fmla="*/ 67 h 86"/>
                <a:gd name="T86" fmla="*/ 81 w 86"/>
                <a:gd name="T87" fmla="*/ 68 h 86"/>
                <a:gd name="T88" fmla="*/ 81 w 86"/>
                <a:gd name="T89" fmla="*/ 67 h 86"/>
                <a:gd name="T90" fmla="*/ 82 w 86"/>
                <a:gd name="T91" fmla="*/ 67 h 86"/>
                <a:gd name="T92" fmla="*/ 82 w 86"/>
                <a:gd name="T93" fmla="*/ 66 h 86"/>
                <a:gd name="T94" fmla="*/ 75 w 86"/>
                <a:gd name="T95" fmla="*/ 64 h 86"/>
                <a:gd name="T96" fmla="*/ 74 w 86"/>
                <a:gd name="T97" fmla="*/ 62 h 86"/>
                <a:gd name="T98" fmla="*/ 76 w 86"/>
                <a:gd name="T99" fmla="*/ 58 h 86"/>
                <a:gd name="T100" fmla="*/ 81 w 86"/>
                <a:gd name="T101" fmla="*/ 54 h 86"/>
                <a:gd name="T102" fmla="*/ 81 w 86"/>
                <a:gd name="T103" fmla="*/ 52 h 86"/>
                <a:gd name="T104" fmla="*/ 78 w 86"/>
                <a:gd name="T105" fmla="*/ 51 h 86"/>
                <a:gd name="T106" fmla="*/ 74 w 86"/>
                <a:gd name="T107" fmla="*/ 51 h 86"/>
                <a:gd name="T108" fmla="*/ 75 w 86"/>
                <a:gd name="T109" fmla="*/ 46 h 86"/>
                <a:gd name="T110" fmla="*/ 78 w 86"/>
                <a:gd name="T111"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6">
                  <a:moveTo>
                    <a:pt x="78" y="43"/>
                  </a:moveTo>
                  <a:cubicBezTo>
                    <a:pt x="78" y="41"/>
                    <a:pt x="78" y="40"/>
                    <a:pt x="77" y="38"/>
                  </a:cubicBezTo>
                  <a:cubicBezTo>
                    <a:pt x="76" y="37"/>
                    <a:pt x="75" y="36"/>
                    <a:pt x="74" y="35"/>
                  </a:cubicBezTo>
                  <a:cubicBezTo>
                    <a:pt x="72" y="34"/>
                    <a:pt x="71" y="33"/>
                    <a:pt x="69" y="34"/>
                  </a:cubicBezTo>
                  <a:cubicBezTo>
                    <a:pt x="68" y="35"/>
                    <a:pt x="66" y="35"/>
                    <a:pt x="65" y="36"/>
                  </a:cubicBezTo>
                  <a:cubicBezTo>
                    <a:pt x="61" y="38"/>
                    <a:pt x="58" y="38"/>
                    <a:pt x="54" y="37"/>
                  </a:cubicBezTo>
                  <a:cubicBezTo>
                    <a:pt x="52" y="36"/>
                    <a:pt x="51" y="35"/>
                    <a:pt x="51" y="32"/>
                  </a:cubicBezTo>
                  <a:cubicBezTo>
                    <a:pt x="51" y="32"/>
                    <a:pt x="52" y="31"/>
                    <a:pt x="52" y="31"/>
                  </a:cubicBezTo>
                  <a:cubicBezTo>
                    <a:pt x="52" y="28"/>
                    <a:pt x="50" y="26"/>
                    <a:pt x="47" y="25"/>
                  </a:cubicBezTo>
                  <a:cubicBezTo>
                    <a:pt x="46" y="25"/>
                    <a:pt x="44" y="25"/>
                    <a:pt x="43" y="25"/>
                  </a:cubicBezTo>
                  <a:cubicBezTo>
                    <a:pt x="43" y="25"/>
                    <a:pt x="43" y="25"/>
                    <a:pt x="43" y="25"/>
                  </a:cubicBezTo>
                  <a:cubicBezTo>
                    <a:pt x="42" y="26"/>
                    <a:pt x="42" y="26"/>
                    <a:pt x="42" y="26"/>
                  </a:cubicBezTo>
                  <a:cubicBezTo>
                    <a:pt x="42" y="25"/>
                    <a:pt x="42" y="25"/>
                    <a:pt x="42" y="25"/>
                  </a:cubicBezTo>
                  <a:cubicBezTo>
                    <a:pt x="43" y="25"/>
                    <a:pt x="43" y="25"/>
                    <a:pt x="43" y="25"/>
                  </a:cubicBezTo>
                  <a:cubicBezTo>
                    <a:pt x="45" y="21"/>
                    <a:pt x="48" y="17"/>
                    <a:pt x="51" y="14"/>
                  </a:cubicBezTo>
                  <a:cubicBezTo>
                    <a:pt x="55" y="11"/>
                    <a:pt x="56" y="7"/>
                    <a:pt x="59" y="4"/>
                  </a:cubicBezTo>
                  <a:cubicBezTo>
                    <a:pt x="59" y="3"/>
                    <a:pt x="59" y="2"/>
                    <a:pt x="59" y="1"/>
                  </a:cubicBezTo>
                  <a:cubicBezTo>
                    <a:pt x="59" y="0"/>
                    <a:pt x="56" y="0"/>
                    <a:pt x="55" y="0"/>
                  </a:cubicBezTo>
                  <a:cubicBezTo>
                    <a:pt x="49" y="1"/>
                    <a:pt x="44" y="4"/>
                    <a:pt x="41" y="8"/>
                  </a:cubicBezTo>
                  <a:cubicBezTo>
                    <a:pt x="33" y="16"/>
                    <a:pt x="26" y="26"/>
                    <a:pt x="20" y="36"/>
                  </a:cubicBezTo>
                  <a:cubicBezTo>
                    <a:pt x="17" y="41"/>
                    <a:pt x="14" y="45"/>
                    <a:pt x="8" y="47"/>
                  </a:cubicBezTo>
                  <a:cubicBezTo>
                    <a:pt x="6" y="48"/>
                    <a:pt x="6" y="50"/>
                    <a:pt x="7" y="51"/>
                  </a:cubicBezTo>
                  <a:cubicBezTo>
                    <a:pt x="9" y="53"/>
                    <a:pt x="8" y="55"/>
                    <a:pt x="6" y="56"/>
                  </a:cubicBezTo>
                  <a:cubicBezTo>
                    <a:pt x="4" y="58"/>
                    <a:pt x="3" y="60"/>
                    <a:pt x="1" y="62"/>
                  </a:cubicBezTo>
                  <a:cubicBezTo>
                    <a:pt x="0" y="63"/>
                    <a:pt x="1" y="66"/>
                    <a:pt x="3" y="66"/>
                  </a:cubicBezTo>
                  <a:cubicBezTo>
                    <a:pt x="4" y="66"/>
                    <a:pt x="6" y="67"/>
                    <a:pt x="7" y="67"/>
                  </a:cubicBezTo>
                  <a:cubicBezTo>
                    <a:pt x="13" y="67"/>
                    <a:pt x="18" y="66"/>
                    <a:pt x="23" y="68"/>
                  </a:cubicBezTo>
                  <a:cubicBezTo>
                    <a:pt x="28" y="69"/>
                    <a:pt x="32" y="69"/>
                    <a:pt x="36" y="68"/>
                  </a:cubicBezTo>
                  <a:cubicBezTo>
                    <a:pt x="41" y="67"/>
                    <a:pt x="45" y="70"/>
                    <a:pt x="49" y="71"/>
                  </a:cubicBezTo>
                  <a:cubicBezTo>
                    <a:pt x="49" y="71"/>
                    <a:pt x="49" y="72"/>
                    <a:pt x="49" y="72"/>
                  </a:cubicBezTo>
                  <a:cubicBezTo>
                    <a:pt x="47" y="74"/>
                    <a:pt x="46" y="75"/>
                    <a:pt x="44" y="77"/>
                  </a:cubicBezTo>
                  <a:cubicBezTo>
                    <a:pt x="44" y="78"/>
                    <a:pt x="44" y="79"/>
                    <a:pt x="44" y="80"/>
                  </a:cubicBezTo>
                  <a:cubicBezTo>
                    <a:pt x="45" y="80"/>
                    <a:pt x="46" y="81"/>
                    <a:pt x="47" y="81"/>
                  </a:cubicBezTo>
                  <a:cubicBezTo>
                    <a:pt x="49" y="81"/>
                    <a:pt x="51" y="80"/>
                    <a:pt x="52" y="78"/>
                  </a:cubicBezTo>
                  <a:cubicBezTo>
                    <a:pt x="55" y="74"/>
                    <a:pt x="61" y="73"/>
                    <a:pt x="64" y="70"/>
                  </a:cubicBezTo>
                  <a:cubicBezTo>
                    <a:pt x="64" y="70"/>
                    <a:pt x="65" y="70"/>
                    <a:pt x="65" y="71"/>
                  </a:cubicBezTo>
                  <a:cubicBezTo>
                    <a:pt x="65" y="73"/>
                    <a:pt x="64" y="76"/>
                    <a:pt x="64" y="78"/>
                  </a:cubicBezTo>
                  <a:cubicBezTo>
                    <a:pt x="64" y="79"/>
                    <a:pt x="64" y="81"/>
                    <a:pt x="65" y="81"/>
                  </a:cubicBezTo>
                  <a:cubicBezTo>
                    <a:pt x="68" y="83"/>
                    <a:pt x="71" y="85"/>
                    <a:pt x="75" y="86"/>
                  </a:cubicBezTo>
                  <a:cubicBezTo>
                    <a:pt x="77" y="86"/>
                    <a:pt x="80" y="85"/>
                    <a:pt x="80" y="83"/>
                  </a:cubicBezTo>
                  <a:cubicBezTo>
                    <a:pt x="82" y="80"/>
                    <a:pt x="83" y="76"/>
                    <a:pt x="85" y="73"/>
                  </a:cubicBezTo>
                  <a:cubicBezTo>
                    <a:pt x="86" y="70"/>
                    <a:pt x="84" y="68"/>
                    <a:pt x="83" y="66"/>
                  </a:cubicBezTo>
                  <a:cubicBezTo>
                    <a:pt x="82" y="67"/>
                    <a:pt x="82" y="67"/>
                    <a:pt x="82" y="67"/>
                  </a:cubicBezTo>
                  <a:cubicBezTo>
                    <a:pt x="82" y="67"/>
                    <a:pt x="81" y="67"/>
                    <a:pt x="81" y="68"/>
                  </a:cubicBezTo>
                  <a:cubicBezTo>
                    <a:pt x="81" y="67"/>
                    <a:pt x="81" y="67"/>
                    <a:pt x="81" y="67"/>
                  </a:cubicBezTo>
                  <a:cubicBezTo>
                    <a:pt x="82" y="67"/>
                    <a:pt x="82" y="67"/>
                    <a:pt x="82" y="67"/>
                  </a:cubicBezTo>
                  <a:cubicBezTo>
                    <a:pt x="82" y="66"/>
                    <a:pt x="82" y="66"/>
                    <a:pt x="82" y="66"/>
                  </a:cubicBezTo>
                  <a:cubicBezTo>
                    <a:pt x="80" y="64"/>
                    <a:pt x="78" y="64"/>
                    <a:pt x="75" y="64"/>
                  </a:cubicBezTo>
                  <a:cubicBezTo>
                    <a:pt x="74" y="64"/>
                    <a:pt x="74" y="63"/>
                    <a:pt x="74" y="62"/>
                  </a:cubicBezTo>
                  <a:cubicBezTo>
                    <a:pt x="75" y="61"/>
                    <a:pt x="75" y="59"/>
                    <a:pt x="76" y="58"/>
                  </a:cubicBezTo>
                  <a:cubicBezTo>
                    <a:pt x="78" y="57"/>
                    <a:pt x="79" y="55"/>
                    <a:pt x="81" y="54"/>
                  </a:cubicBezTo>
                  <a:cubicBezTo>
                    <a:pt x="81" y="53"/>
                    <a:pt x="81" y="53"/>
                    <a:pt x="81" y="52"/>
                  </a:cubicBezTo>
                  <a:cubicBezTo>
                    <a:pt x="81" y="51"/>
                    <a:pt x="80" y="51"/>
                    <a:pt x="78" y="51"/>
                  </a:cubicBezTo>
                  <a:cubicBezTo>
                    <a:pt x="77" y="51"/>
                    <a:pt x="75" y="52"/>
                    <a:pt x="74" y="51"/>
                  </a:cubicBezTo>
                  <a:cubicBezTo>
                    <a:pt x="73" y="49"/>
                    <a:pt x="74" y="48"/>
                    <a:pt x="75" y="46"/>
                  </a:cubicBezTo>
                  <a:cubicBezTo>
                    <a:pt x="76" y="45"/>
                    <a:pt x="77" y="44"/>
                    <a:pt x="78" y="4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3"/>
            <p:cNvSpPr>
              <a:spLocks/>
            </p:cNvSpPr>
            <p:nvPr/>
          </p:nvSpPr>
          <p:spPr bwMode="auto">
            <a:xfrm>
              <a:off x="8219138" y="1195727"/>
              <a:ext cx="218312" cy="115950"/>
            </a:xfrm>
            <a:custGeom>
              <a:avLst/>
              <a:gdLst>
                <a:gd name="T0" fmla="*/ 2 w 102"/>
                <a:gd name="T1" fmla="*/ 43 h 54"/>
                <a:gd name="T2" fmla="*/ 13 w 102"/>
                <a:gd name="T3" fmla="*/ 47 h 54"/>
                <a:gd name="T4" fmla="*/ 19 w 102"/>
                <a:gd name="T5" fmla="*/ 52 h 54"/>
                <a:gd name="T6" fmla="*/ 27 w 102"/>
                <a:gd name="T7" fmla="*/ 53 h 54"/>
                <a:gd name="T8" fmla="*/ 35 w 102"/>
                <a:gd name="T9" fmla="*/ 47 h 54"/>
                <a:gd name="T10" fmla="*/ 38 w 102"/>
                <a:gd name="T11" fmla="*/ 47 h 54"/>
                <a:gd name="T12" fmla="*/ 42 w 102"/>
                <a:gd name="T13" fmla="*/ 46 h 54"/>
                <a:gd name="T14" fmla="*/ 50 w 102"/>
                <a:gd name="T15" fmla="*/ 36 h 54"/>
                <a:gd name="T16" fmla="*/ 59 w 102"/>
                <a:gd name="T17" fmla="*/ 27 h 54"/>
                <a:gd name="T18" fmla="*/ 61 w 102"/>
                <a:gd name="T19" fmla="*/ 27 h 54"/>
                <a:gd name="T20" fmla="*/ 61 w 102"/>
                <a:gd name="T21" fmla="*/ 31 h 54"/>
                <a:gd name="T22" fmla="*/ 55 w 102"/>
                <a:gd name="T23" fmla="*/ 41 h 54"/>
                <a:gd name="T24" fmla="*/ 55 w 102"/>
                <a:gd name="T25" fmla="*/ 47 h 54"/>
                <a:gd name="T26" fmla="*/ 60 w 102"/>
                <a:gd name="T27" fmla="*/ 49 h 54"/>
                <a:gd name="T28" fmla="*/ 64 w 102"/>
                <a:gd name="T29" fmla="*/ 46 h 54"/>
                <a:gd name="T30" fmla="*/ 73 w 102"/>
                <a:gd name="T31" fmla="*/ 41 h 54"/>
                <a:gd name="T32" fmla="*/ 78 w 102"/>
                <a:gd name="T33" fmla="*/ 39 h 54"/>
                <a:gd name="T34" fmla="*/ 81 w 102"/>
                <a:gd name="T35" fmla="*/ 36 h 54"/>
                <a:gd name="T36" fmla="*/ 92 w 102"/>
                <a:gd name="T37" fmla="*/ 21 h 54"/>
                <a:gd name="T38" fmla="*/ 95 w 102"/>
                <a:gd name="T39" fmla="*/ 18 h 54"/>
                <a:gd name="T40" fmla="*/ 100 w 102"/>
                <a:gd name="T41" fmla="*/ 16 h 54"/>
                <a:gd name="T42" fmla="*/ 102 w 102"/>
                <a:gd name="T43" fmla="*/ 12 h 54"/>
                <a:gd name="T44" fmla="*/ 102 w 102"/>
                <a:gd name="T45" fmla="*/ 6 h 54"/>
                <a:gd name="T46" fmla="*/ 99 w 102"/>
                <a:gd name="T47" fmla="*/ 1 h 54"/>
                <a:gd name="T48" fmla="*/ 95 w 102"/>
                <a:gd name="T49" fmla="*/ 3 h 54"/>
                <a:gd name="T50" fmla="*/ 89 w 102"/>
                <a:gd name="T51" fmla="*/ 5 h 54"/>
                <a:gd name="T52" fmla="*/ 75 w 102"/>
                <a:gd name="T53" fmla="*/ 1 h 54"/>
                <a:gd name="T54" fmla="*/ 66 w 102"/>
                <a:gd name="T55" fmla="*/ 3 h 54"/>
                <a:gd name="T56" fmla="*/ 30 w 102"/>
                <a:gd name="T57" fmla="*/ 21 h 54"/>
                <a:gd name="T58" fmla="*/ 21 w 102"/>
                <a:gd name="T59" fmla="*/ 24 h 54"/>
                <a:gd name="T60" fmla="*/ 6 w 102"/>
                <a:gd name="T61" fmla="*/ 30 h 54"/>
                <a:gd name="T62" fmla="*/ 0 w 102"/>
                <a:gd name="T63" fmla="*/ 41 h 54"/>
                <a:gd name="T64" fmla="*/ 2 w 102"/>
                <a:gd name="T65"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 h="54">
                  <a:moveTo>
                    <a:pt x="2" y="43"/>
                  </a:moveTo>
                  <a:cubicBezTo>
                    <a:pt x="8" y="44"/>
                    <a:pt x="10" y="45"/>
                    <a:pt x="13" y="47"/>
                  </a:cubicBezTo>
                  <a:cubicBezTo>
                    <a:pt x="16" y="48"/>
                    <a:pt x="18" y="50"/>
                    <a:pt x="19" y="52"/>
                  </a:cubicBezTo>
                  <a:cubicBezTo>
                    <a:pt x="21" y="54"/>
                    <a:pt x="25" y="54"/>
                    <a:pt x="27" y="53"/>
                  </a:cubicBezTo>
                  <a:cubicBezTo>
                    <a:pt x="30" y="51"/>
                    <a:pt x="32" y="49"/>
                    <a:pt x="35" y="47"/>
                  </a:cubicBezTo>
                  <a:cubicBezTo>
                    <a:pt x="35" y="47"/>
                    <a:pt x="37" y="47"/>
                    <a:pt x="38" y="47"/>
                  </a:cubicBezTo>
                  <a:cubicBezTo>
                    <a:pt x="39" y="48"/>
                    <a:pt x="41" y="48"/>
                    <a:pt x="42" y="46"/>
                  </a:cubicBezTo>
                  <a:cubicBezTo>
                    <a:pt x="45" y="43"/>
                    <a:pt x="47" y="39"/>
                    <a:pt x="50" y="36"/>
                  </a:cubicBezTo>
                  <a:cubicBezTo>
                    <a:pt x="52" y="33"/>
                    <a:pt x="56" y="30"/>
                    <a:pt x="59" y="27"/>
                  </a:cubicBezTo>
                  <a:cubicBezTo>
                    <a:pt x="59" y="27"/>
                    <a:pt x="60" y="27"/>
                    <a:pt x="61" y="27"/>
                  </a:cubicBezTo>
                  <a:cubicBezTo>
                    <a:pt x="63" y="26"/>
                    <a:pt x="63" y="28"/>
                    <a:pt x="61" y="31"/>
                  </a:cubicBezTo>
                  <a:cubicBezTo>
                    <a:pt x="59" y="34"/>
                    <a:pt x="57" y="38"/>
                    <a:pt x="55" y="41"/>
                  </a:cubicBezTo>
                  <a:cubicBezTo>
                    <a:pt x="53" y="43"/>
                    <a:pt x="54" y="45"/>
                    <a:pt x="55" y="47"/>
                  </a:cubicBezTo>
                  <a:cubicBezTo>
                    <a:pt x="55" y="49"/>
                    <a:pt x="59" y="50"/>
                    <a:pt x="60" y="49"/>
                  </a:cubicBezTo>
                  <a:cubicBezTo>
                    <a:pt x="61" y="48"/>
                    <a:pt x="63" y="48"/>
                    <a:pt x="64" y="46"/>
                  </a:cubicBezTo>
                  <a:cubicBezTo>
                    <a:pt x="66" y="43"/>
                    <a:pt x="69" y="41"/>
                    <a:pt x="73" y="41"/>
                  </a:cubicBezTo>
                  <a:cubicBezTo>
                    <a:pt x="74" y="40"/>
                    <a:pt x="76" y="40"/>
                    <a:pt x="78" y="39"/>
                  </a:cubicBezTo>
                  <a:cubicBezTo>
                    <a:pt x="79" y="38"/>
                    <a:pt x="81" y="38"/>
                    <a:pt x="81" y="36"/>
                  </a:cubicBezTo>
                  <a:cubicBezTo>
                    <a:pt x="84" y="31"/>
                    <a:pt x="91" y="28"/>
                    <a:pt x="92" y="21"/>
                  </a:cubicBezTo>
                  <a:cubicBezTo>
                    <a:pt x="92" y="20"/>
                    <a:pt x="94" y="19"/>
                    <a:pt x="95" y="18"/>
                  </a:cubicBezTo>
                  <a:cubicBezTo>
                    <a:pt x="97" y="17"/>
                    <a:pt x="98" y="16"/>
                    <a:pt x="100" y="16"/>
                  </a:cubicBezTo>
                  <a:cubicBezTo>
                    <a:pt x="101" y="15"/>
                    <a:pt x="102" y="13"/>
                    <a:pt x="102" y="12"/>
                  </a:cubicBezTo>
                  <a:cubicBezTo>
                    <a:pt x="102" y="10"/>
                    <a:pt x="102" y="8"/>
                    <a:pt x="102" y="6"/>
                  </a:cubicBezTo>
                  <a:cubicBezTo>
                    <a:pt x="102" y="3"/>
                    <a:pt x="100" y="1"/>
                    <a:pt x="99" y="1"/>
                  </a:cubicBezTo>
                  <a:cubicBezTo>
                    <a:pt x="97" y="1"/>
                    <a:pt x="96" y="2"/>
                    <a:pt x="95" y="3"/>
                  </a:cubicBezTo>
                  <a:cubicBezTo>
                    <a:pt x="93" y="5"/>
                    <a:pt x="91" y="6"/>
                    <a:pt x="89" y="5"/>
                  </a:cubicBezTo>
                  <a:cubicBezTo>
                    <a:pt x="84" y="1"/>
                    <a:pt x="79" y="2"/>
                    <a:pt x="75" y="1"/>
                  </a:cubicBezTo>
                  <a:cubicBezTo>
                    <a:pt x="72" y="0"/>
                    <a:pt x="69" y="1"/>
                    <a:pt x="66" y="3"/>
                  </a:cubicBezTo>
                  <a:cubicBezTo>
                    <a:pt x="55" y="10"/>
                    <a:pt x="43" y="17"/>
                    <a:pt x="30" y="21"/>
                  </a:cubicBezTo>
                  <a:cubicBezTo>
                    <a:pt x="26" y="21"/>
                    <a:pt x="24" y="24"/>
                    <a:pt x="21" y="24"/>
                  </a:cubicBezTo>
                  <a:cubicBezTo>
                    <a:pt x="15" y="25"/>
                    <a:pt x="10" y="27"/>
                    <a:pt x="6" y="30"/>
                  </a:cubicBezTo>
                  <a:cubicBezTo>
                    <a:pt x="1" y="33"/>
                    <a:pt x="0" y="37"/>
                    <a:pt x="0" y="41"/>
                  </a:cubicBezTo>
                  <a:cubicBezTo>
                    <a:pt x="0" y="41"/>
                    <a:pt x="1" y="43"/>
                    <a:pt x="2" y="4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34"/>
            <p:cNvSpPr>
              <a:spLocks/>
            </p:cNvSpPr>
            <p:nvPr/>
          </p:nvSpPr>
          <p:spPr bwMode="auto">
            <a:xfrm>
              <a:off x="8602316" y="1346099"/>
              <a:ext cx="150372" cy="155808"/>
            </a:xfrm>
            <a:custGeom>
              <a:avLst/>
              <a:gdLst>
                <a:gd name="T0" fmla="*/ 8 w 70"/>
                <a:gd name="T1" fmla="*/ 1 h 73"/>
                <a:gd name="T2" fmla="*/ 5 w 70"/>
                <a:gd name="T3" fmla="*/ 7 h 73"/>
                <a:gd name="T4" fmla="*/ 1 w 70"/>
                <a:gd name="T5" fmla="*/ 17 h 73"/>
                <a:gd name="T6" fmla="*/ 0 w 70"/>
                <a:gd name="T7" fmla="*/ 20 h 73"/>
                <a:gd name="T8" fmla="*/ 1 w 70"/>
                <a:gd name="T9" fmla="*/ 35 h 73"/>
                <a:gd name="T10" fmla="*/ 3 w 70"/>
                <a:gd name="T11" fmla="*/ 37 h 73"/>
                <a:gd name="T12" fmla="*/ 5 w 70"/>
                <a:gd name="T13" fmla="*/ 39 h 73"/>
                <a:gd name="T14" fmla="*/ 12 w 70"/>
                <a:gd name="T15" fmla="*/ 46 h 73"/>
                <a:gd name="T16" fmla="*/ 26 w 70"/>
                <a:gd name="T17" fmla="*/ 47 h 73"/>
                <a:gd name="T18" fmla="*/ 28 w 70"/>
                <a:gd name="T19" fmla="*/ 48 h 73"/>
                <a:gd name="T20" fmla="*/ 26 w 70"/>
                <a:gd name="T21" fmla="*/ 50 h 73"/>
                <a:gd name="T22" fmla="*/ 20 w 70"/>
                <a:gd name="T23" fmla="*/ 52 h 73"/>
                <a:gd name="T24" fmla="*/ 15 w 70"/>
                <a:gd name="T25" fmla="*/ 58 h 73"/>
                <a:gd name="T26" fmla="*/ 14 w 70"/>
                <a:gd name="T27" fmla="*/ 64 h 73"/>
                <a:gd name="T28" fmla="*/ 18 w 70"/>
                <a:gd name="T29" fmla="*/ 69 h 73"/>
                <a:gd name="T30" fmla="*/ 30 w 70"/>
                <a:gd name="T31" fmla="*/ 72 h 73"/>
                <a:gd name="T32" fmla="*/ 41 w 70"/>
                <a:gd name="T33" fmla="*/ 67 h 73"/>
                <a:gd name="T34" fmla="*/ 42 w 70"/>
                <a:gd name="T35" fmla="*/ 64 h 73"/>
                <a:gd name="T36" fmla="*/ 51 w 70"/>
                <a:gd name="T37" fmla="*/ 58 h 73"/>
                <a:gd name="T38" fmla="*/ 55 w 70"/>
                <a:gd name="T39" fmla="*/ 49 h 73"/>
                <a:gd name="T40" fmla="*/ 61 w 70"/>
                <a:gd name="T41" fmla="*/ 41 h 73"/>
                <a:gd name="T42" fmla="*/ 62 w 70"/>
                <a:gd name="T43" fmla="*/ 39 h 73"/>
                <a:gd name="T44" fmla="*/ 70 w 70"/>
                <a:gd name="T45" fmla="*/ 26 h 73"/>
                <a:gd name="T46" fmla="*/ 70 w 70"/>
                <a:gd name="T47" fmla="*/ 23 h 73"/>
                <a:gd name="T48" fmla="*/ 67 w 70"/>
                <a:gd name="T49" fmla="*/ 17 h 73"/>
                <a:gd name="T50" fmla="*/ 63 w 70"/>
                <a:gd name="T51" fmla="*/ 15 h 73"/>
                <a:gd name="T52" fmla="*/ 54 w 70"/>
                <a:gd name="T53" fmla="*/ 12 h 73"/>
                <a:gd name="T54" fmla="*/ 41 w 70"/>
                <a:gd name="T55" fmla="*/ 12 h 73"/>
                <a:gd name="T56" fmla="*/ 37 w 70"/>
                <a:gd name="T57" fmla="*/ 20 h 73"/>
                <a:gd name="T58" fmla="*/ 37 w 70"/>
                <a:gd name="T59" fmla="*/ 31 h 73"/>
                <a:gd name="T60" fmla="*/ 37 w 70"/>
                <a:gd name="T61" fmla="*/ 32 h 73"/>
                <a:gd name="T62" fmla="*/ 35 w 70"/>
                <a:gd name="T63" fmla="*/ 31 h 73"/>
                <a:gd name="T64" fmla="*/ 30 w 70"/>
                <a:gd name="T65" fmla="*/ 19 h 73"/>
                <a:gd name="T66" fmla="*/ 28 w 70"/>
                <a:gd name="T67" fmla="*/ 18 h 73"/>
                <a:gd name="T68" fmla="*/ 25 w 70"/>
                <a:gd name="T69" fmla="*/ 19 h 73"/>
                <a:gd name="T70" fmla="*/ 18 w 70"/>
                <a:gd name="T71" fmla="*/ 33 h 73"/>
                <a:gd name="T72" fmla="*/ 19 w 70"/>
                <a:gd name="T73" fmla="*/ 34 h 73"/>
                <a:gd name="T74" fmla="*/ 18 w 70"/>
                <a:gd name="T75" fmla="*/ 34 h 73"/>
                <a:gd name="T76" fmla="*/ 18 w 70"/>
                <a:gd name="T77" fmla="*/ 33 h 73"/>
                <a:gd name="T78" fmla="*/ 18 w 70"/>
                <a:gd name="T79" fmla="*/ 33 h 73"/>
                <a:gd name="T80" fmla="*/ 17 w 70"/>
                <a:gd name="T81" fmla="*/ 25 h 73"/>
                <a:gd name="T82" fmla="*/ 18 w 70"/>
                <a:gd name="T83" fmla="*/ 21 h 73"/>
                <a:gd name="T84" fmla="*/ 16 w 70"/>
                <a:gd name="T85" fmla="*/ 9 h 73"/>
                <a:gd name="T86" fmla="*/ 15 w 70"/>
                <a:gd name="T87" fmla="*/ 6 h 73"/>
                <a:gd name="T88" fmla="*/ 13 w 70"/>
                <a:gd name="T89" fmla="*/ 1 h 73"/>
                <a:gd name="T90" fmla="*/ 8 w 70"/>
                <a:gd name="T91"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73">
                  <a:moveTo>
                    <a:pt x="8" y="1"/>
                  </a:moveTo>
                  <a:cubicBezTo>
                    <a:pt x="7" y="3"/>
                    <a:pt x="5" y="5"/>
                    <a:pt x="5" y="7"/>
                  </a:cubicBezTo>
                  <a:cubicBezTo>
                    <a:pt x="4" y="10"/>
                    <a:pt x="4" y="14"/>
                    <a:pt x="1" y="17"/>
                  </a:cubicBezTo>
                  <a:cubicBezTo>
                    <a:pt x="1" y="18"/>
                    <a:pt x="0" y="19"/>
                    <a:pt x="0" y="20"/>
                  </a:cubicBezTo>
                  <a:cubicBezTo>
                    <a:pt x="1" y="25"/>
                    <a:pt x="3" y="30"/>
                    <a:pt x="1" y="35"/>
                  </a:cubicBezTo>
                  <a:cubicBezTo>
                    <a:pt x="1" y="35"/>
                    <a:pt x="2" y="36"/>
                    <a:pt x="3" y="37"/>
                  </a:cubicBezTo>
                  <a:cubicBezTo>
                    <a:pt x="4" y="38"/>
                    <a:pt x="5" y="38"/>
                    <a:pt x="5" y="39"/>
                  </a:cubicBezTo>
                  <a:cubicBezTo>
                    <a:pt x="4" y="44"/>
                    <a:pt x="8" y="45"/>
                    <a:pt x="12" y="46"/>
                  </a:cubicBezTo>
                  <a:cubicBezTo>
                    <a:pt x="17" y="46"/>
                    <a:pt x="22" y="47"/>
                    <a:pt x="26" y="47"/>
                  </a:cubicBezTo>
                  <a:cubicBezTo>
                    <a:pt x="27" y="47"/>
                    <a:pt x="28" y="48"/>
                    <a:pt x="28" y="48"/>
                  </a:cubicBezTo>
                  <a:cubicBezTo>
                    <a:pt x="27" y="49"/>
                    <a:pt x="27" y="50"/>
                    <a:pt x="26" y="50"/>
                  </a:cubicBezTo>
                  <a:cubicBezTo>
                    <a:pt x="24" y="51"/>
                    <a:pt x="22" y="52"/>
                    <a:pt x="20" y="52"/>
                  </a:cubicBezTo>
                  <a:cubicBezTo>
                    <a:pt x="17" y="53"/>
                    <a:pt x="15" y="55"/>
                    <a:pt x="15" y="58"/>
                  </a:cubicBezTo>
                  <a:cubicBezTo>
                    <a:pt x="15" y="60"/>
                    <a:pt x="14" y="62"/>
                    <a:pt x="14" y="64"/>
                  </a:cubicBezTo>
                  <a:cubicBezTo>
                    <a:pt x="14" y="66"/>
                    <a:pt x="16" y="68"/>
                    <a:pt x="18" y="69"/>
                  </a:cubicBezTo>
                  <a:cubicBezTo>
                    <a:pt x="22" y="70"/>
                    <a:pt x="26" y="71"/>
                    <a:pt x="30" y="72"/>
                  </a:cubicBezTo>
                  <a:cubicBezTo>
                    <a:pt x="34" y="73"/>
                    <a:pt x="39" y="71"/>
                    <a:pt x="41" y="67"/>
                  </a:cubicBezTo>
                  <a:cubicBezTo>
                    <a:pt x="42" y="66"/>
                    <a:pt x="42" y="65"/>
                    <a:pt x="42" y="64"/>
                  </a:cubicBezTo>
                  <a:cubicBezTo>
                    <a:pt x="44" y="60"/>
                    <a:pt x="47" y="59"/>
                    <a:pt x="51" y="58"/>
                  </a:cubicBezTo>
                  <a:cubicBezTo>
                    <a:pt x="52" y="55"/>
                    <a:pt x="53" y="52"/>
                    <a:pt x="55" y="49"/>
                  </a:cubicBezTo>
                  <a:cubicBezTo>
                    <a:pt x="56" y="46"/>
                    <a:pt x="59" y="43"/>
                    <a:pt x="61" y="41"/>
                  </a:cubicBezTo>
                  <a:cubicBezTo>
                    <a:pt x="62" y="40"/>
                    <a:pt x="62" y="40"/>
                    <a:pt x="62" y="39"/>
                  </a:cubicBezTo>
                  <a:cubicBezTo>
                    <a:pt x="65" y="35"/>
                    <a:pt x="67" y="30"/>
                    <a:pt x="70" y="26"/>
                  </a:cubicBezTo>
                  <a:cubicBezTo>
                    <a:pt x="70" y="25"/>
                    <a:pt x="70" y="24"/>
                    <a:pt x="70" y="23"/>
                  </a:cubicBezTo>
                  <a:cubicBezTo>
                    <a:pt x="69" y="21"/>
                    <a:pt x="68" y="19"/>
                    <a:pt x="67" y="17"/>
                  </a:cubicBezTo>
                  <a:cubicBezTo>
                    <a:pt x="66" y="16"/>
                    <a:pt x="65" y="15"/>
                    <a:pt x="63" y="15"/>
                  </a:cubicBezTo>
                  <a:cubicBezTo>
                    <a:pt x="59" y="17"/>
                    <a:pt x="56" y="14"/>
                    <a:pt x="54" y="12"/>
                  </a:cubicBezTo>
                  <a:cubicBezTo>
                    <a:pt x="50" y="11"/>
                    <a:pt x="45" y="11"/>
                    <a:pt x="41" y="12"/>
                  </a:cubicBezTo>
                  <a:cubicBezTo>
                    <a:pt x="39" y="14"/>
                    <a:pt x="37" y="17"/>
                    <a:pt x="37" y="20"/>
                  </a:cubicBezTo>
                  <a:cubicBezTo>
                    <a:pt x="37" y="24"/>
                    <a:pt x="37" y="27"/>
                    <a:pt x="37" y="31"/>
                  </a:cubicBezTo>
                  <a:cubicBezTo>
                    <a:pt x="37" y="31"/>
                    <a:pt x="37" y="32"/>
                    <a:pt x="37" y="32"/>
                  </a:cubicBezTo>
                  <a:cubicBezTo>
                    <a:pt x="36" y="33"/>
                    <a:pt x="36" y="32"/>
                    <a:pt x="35" y="31"/>
                  </a:cubicBezTo>
                  <a:cubicBezTo>
                    <a:pt x="33" y="27"/>
                    <a:pt x="32" y="23"/>
                    <a:pt x="30" y="19"/>
                  </a:cubicBezTo>
                  <a:cubicBezTo>
                    <a:pt x="30" y="19"/>
                    <a:pt x="28" y="18"/>
                    <a:pt x="28" y="18"/>
                  </a:cubicBezTo>
                  <a:cubicBezTo>
                    <a:pt x="27" y="18"/>
                    <a:pt x="25" y="19"/>
                    <a:pt x="25" y="19"/>
                  </a:cubicBezTo>
                  <a:cubicBezTo>
                    <a:pt x="22" y="24"/>
                    <a:pt x="20" y="29"/>
                    <a:pt x="18" y="33"/>
                  </a:cubicBezTo>
                  <a:cubicBezTo>
                    <a:pt x="18" y="33"/>
                    <a:pt x="18" y="34"/>
                    <a:pt x="19" y="34"/>
                  </a:cubicBezTo>
                  <a:cubicBezTo>
                    <a:pt x="18" y="34"/>
                    <a:pt x="18" y="34"/>
                    <a:pt x="18" y="34"/>
                  </a:cubicBezTo>
                  <a:cubicBezTo>
                    <a:pt x="18" y="33"/>
                    <a:pt x="18" y="33"/>
                    <a:pt x="18" y="33"/>
                  </a:cubicBezTo>
                  <a:cubicBezTo>
                    <a:pt x="18" y="33"/>
                    <a:pt x="18" y="33"/>
                    <a:pt x="18" y="33"/>
                  </a:cubicBezTo>
                  <a:cubicBezTo>
                    <a:pt x="16" y="31"/>
                    <a:pt x="15" y="28"/>
                    <a:pt x="17" y="25"/>
                  </a:cubicBezTo>
                  <a:cubicBezTo>
                    <a:pt x="17" y="24"/>
                    <a:pt x="18" y="22"/>
                    <a:pt x="18" y="21"/>
                  </a:cubicBezTo>
                  <a:cubicBezTo>
                    <a:pt x="16" y="17"/>
                    <a:pt x="16" y="13"/>
                    <a:pt x="16" y="9"/>
                  </a:cubicBezTo>
                  <a:cubicBezTo>
                    <a:pt x="16" y="8"/>
                    <a:pt x="16" y="7"/>
                    <a:pt x="15" y="6"/>
                  </a:cubicBezTo>
                  <a:cubicBezTo>
                    <a:pt x="15" y="4"/>
                    <a:pt x="14" y="3"/>
                    <a:pt x="13" y="1"/>
                  </a:cubicBezTo>
                  <a:cubicBezTo>
                    <a:pt x="12" y="0"/>
                    <a:pt x="8" y="0"/>
                    <a:pt x="8"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35"/>
            <p:cNvSpPr>
              <a:spLocks/>
            </p:cNvSpPr>
            <p:nvPr/>
          </p:nvSpPr>
          <p:spPr bwMode="auto">
            <a:xfrm>
              <a:off x="8707396" y="1129599"/>
              <a:ext cx="126820" cy="166678"/>
            </a:xfrm>
            <a:custGeom>
              <a:avLst/>
              <a:gdLst>
                <a:gd name="T0" fmla="*/ 6 w 59"/>
                <a:gd name="T1" fmla="*/ 44 h 78"/>
                <a:gd name="T2" fmla="*/ 15 w 59"/>
                <a:gd name="T3" fmla="*/ 46 h 78"/>
                <a:gd name="T4" fmla="*/ 15 w 59"/>
                <a:gd name="T5" fmla="*/ 47 h 78"/>
                <a:gd name="T6" fmla="*/ 15 w 59"/>
                <a:gd name="T7" fmla="*/ 47 h 78"/>
                <a:gd name="T8" fmla="*/ 20 w 59"/>
                <a:gd name="T9" fmla="*/ 50 h 78"/>
                <a:gd name="T10" fmla="*/ 26 w 59"/>
                <a:gd name="T11" fmla="*/ 69 h 78"/>
                <a:gd name="T12" fmla="*/ 28 w 59"/>
                <a:gd name="T13" fmla="*/ 76 h 78"/>
                <a:gd name="T14" fmla="*/ 37 w 59"/>
                <a:gd name="T15" fmla="*/ 76 h 78"/>
                <a:gd name="T16" fmla="*/ 45 w 59"/>
                <a:gd name="T17" fmla="*/ 65 h 78"/>
                <a:gd name="T18" fmla="*/ 54 w 59"/>
                <a:gd name="T19" fmla="*/ 49 h 78"/>
                <a:gd name="T20" fmla="*/ 57 w 59"/>
                <a:gd name="T21" fmla="*/ 44 h 78"/>
                <a:gd name="T22" fmla="*/ 56 w 59"/>
                <a:gd name="T23" fmla="*/ 32 h 78"/>
                <a:gd name="T24" fmla="*/ 54 w 59"/>
                <a:gd name="T25" fmla="*/ 27 h 78"/>
                <a:gd name="T26" fmla="*/ 55 w 59"/>
                <a:gd name="T27" fmla="*/ 24 h 78"/>
                <a:gd name="T28" fmla="*/ 45 w 59"/>
                <a:gd name="T29" fmla="*/ 17 h 78"/>
                <a:gd name="T30" fmla="*/ 42 w 59"/>
                <a:gd name="T31" fmla="*/ 18 h 78"/>
                <a:gd name="T32" fmla="*/ 42 w 59"/>
                <a:gd name="T33" fmla="*/ 18 h 78"/>
                <a:gd name="T34" fmla="*/ 41 w 59"/>
                <a:gd name="T35" fmla="*/ 18 h 78"/>
                <a:gd name="T36" fmla="*/ 42 w 59"/>
                <a:gd name="T37" fmla="*/ 18 h 78"/>
                <a:gd name="T38" fmla="*/ 42 w 59"/>
                <a:gd name="T39" fmla="*/ 9 h 78"/>
                <a:gd name="T40" fmla="*/ 33 w 59"/>
                <a:gd name="T41" fmla="*/ 0 h 78"/>
                <a:gd name="T42" fmla="*/ 23 w 59"/>
                <a:gd name="T43" fmla="*/ 0 h 78"/>
                <a:gd name="T44" fmla="*/ 20 w 59"/>
                <a:gd name="T45" fmla="*/ 1 h 78"/>
                <a:gd name="T46" fmla="*/ 16 w 59"/>
                <a:gd name="T47" fmla="*/ 12 h 78"/>
                <a:gd name="T48" fmla="*/ 15 w 59"/>
                <a:gd name="T49" fmla="*/ 17 h 78"/>
                <a:gd name="T50" fmla="*/ 18 w 59"/>
                <a:gd name="T51" fmla="*/ 22 h 78"/>
                <a:gd name="T52" fmla="*/ 18 w 59"/>
                <a:gd name="T53" fmla="*/ 21 h 78"/>
                <a:gd name="T54" fmla="*/ 19 w 59"/>
                <a:gd name="T55" fmla="*/ 21 h 78"/>
                <a:gd name="T56" fmla="*/ 19 w 59"/>
                <a:gd name="T57" fmla="*/ 21 h 78"/>
                <a:gd name="T58" fmla="*/ 19 w 59"/>
                <a:gd name="T59" fmla="*/ 21 h 78"/>
                <a:gd name="T60" fmla="*/ 19 w 59"/>
                <a:gd name="T61" fmla="*/ 22 h 78"/>
                <a:gd name="T62" fmla="*/ 18 w 59"/>
                <a:gd name="T63" fmla="*/ 22 h 78"/>
                <a:gd name="T64" fmla="*/ 19 w 59"/>
                <a:gd name="T65" fmla="*/ 28 h 78"/>
                <a:gd name="T66" fmla="*/ 18 w 59"/>
                <a:gd name="T67" fmla="*/ 32 h 78"/>
                <a:gd name="T68" fmla="*/ 14 w 59"/>
                <a:gd name="T69" fmla="*/ 34 h 78"/>
                <a:gd name="T70" fmla="*/ 9 w 59"/>
                <a:gd name="T71" fmla="*/ 31 h 78"/>
                <a:gd name="T72" fmla="*/ 4 w 59"/>
                <a:gd name="T73" fmla="*/ 32 h 78"/>
                <a:gd name="T74" fmla="*/ 1 w 59"/>
                <a:gd name="T75" fmla="*/ 36 h 78"/>
                <a:gd name="T76" fmla="*/ 6 w 59"/>
                <a:gd name="T77" fmla="*/ 4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 h="78">
                  <a:moveTo>
                    <a:pt x="6" y="44"/>
                  </a:moveTo>
                  <a:cubicBezTo>
                    <a:pt x="9" y="44"/>
                    <a:pt x="12" y="45"/>
                    <a:pt x="15" y="46"/>
                  </a:cubicBezTo>
                  <a:cubicBezTo>
                    <a:pt x="15" y="47"/>
                    <a:pt x="15" y="47"/>
                    <a:pt x="15" y="47"/>
                  </a:cubicBezTo>
                  <a:cubicBezTo>
                    <a:pt x="15" y="47"/>
                    <a:pt x="15" y="47"/>
                    <a:pt x="15" y="47"/>
                  </a:cubicBezTo>
                  <a:cubicBezTo>
                    <a:pt x="17" y="48"/>
                    <a:pt x="18" y="49"/>
                    <a:pt x="20" y="50"/>
                  </a:cubicBezTo>
                  <a:cubicBezTo>
                    <a:pt x="27" y="55"/>
                    <a:pt x="30" y="61"/>
                    <a:pt x="26" y="69"/>
                  </a:cubicBezTo>
                  <a:cubicBezTo>
                    <a:pt x="24" y="71"/>
                    <a:pt x="26" y="74"/>
                    <a:pt x="28" y="76"/>
                  </a:cubicBezTo>
                  <a:cubicBezTo>
                    <a:pt x="31" y="78"/>
                    <a:pt x="35" y="78"/>
                    <a:pt x="37" y="76"/>
                  </a:cubicBezTo>
                  <a:cubicBezTo>
                    <a:pt x="41" y="74"/>
                    <a:pt x="44" y="70"/>
                    <a:pt x="45" y="65"/>
                  </a:cubicBezTo>
                  <a:cubicBezTo>
                    <a:pt x="46" y="59"/>
                    <a:pt x="49" y="53"/>
                    <a:pt x="54" y="49"/>
                  </a:cubicBezTo>
                  <a:cubicBezTo>
                    <a:pt x="56" y="48"/>
                    <a:pt x="57" y="46"/>
                    <a:pt x="57" y="44"/>
                  </a:cubicBezTo>
                  <a:cubicBezTo>
                    <a:pt x="59" y="40"/>
                    <a:pt x="59" y="36"/>
                    <a:pt x="56" y="32"/>
                  </a:cubicBezTo>
                  <a:cubicBezTo>
                    <a:pt x="54" y="31"/>
                    <a:pt x="53" y="29"/>
                    <a:pt x="54" y="27"/>
                  </a:cubicBezTo>
                  <a:cubicBezTo>
                    <a:pt x="55" y="26"/>
                    <a:pt x="55" y="25"/>
                    <a:pt x="55" y="24"/>
                  </a:cubicBezTo>
                  <a:cubicBezTo>
                    <a:pt x="55" y="17"/>
                    <a:pt x="52" y="14"/>
                    <a:pt x="45" y="17"/>
                  </a:cubicBezTo>
                  <a:cubicBezTo>
                    <a:pt x="44" y="17"/>
                    <a:pt x="43" y="18"/>
                    <a:pt x="42" y="18"/>
                  </a:cubicBezTo>
                  <a:cubicBezTo>
                    <a:pt x="42" y="18"/>
                    <a:pt x="42" y="18"/>
                    <a:pt x="42" y="18"/>
                  </a:cubicBezTo>
                  <a:cubicBezTo>
                    <a:pt x="42" y="19"/>
                    <a:pt x="41" y="19"/>
                    <a:pt x="41" y="18"/>
                  </a:cubicBezTo>
                  <a:cubicBezTo>
                    <a:pt x="41" y="18"/>
                    <a:pt x="41" y="18"/>
                    <a:pt x="42" y="18"/>
                  </a:cubicBezTo>
                  <a:cubicBezTo>
                    <a:pt x="42" y="15"/>
                    <a:pt x="43" y="12"/>
                    <a:pt x="42" y="9"/>
                  </a:cubicBezTo>
                  <a:cubicBezTo>
                    <a:pt x="42" y="4"/>
                    <a:pt x="38" y="0"/>
                    <a:pt x="33" y="0"/>
                  </a:cubicBezTo>
                  <a:cubicBezTo>
                    <a:pt x="30" y="0"/>
                    <a:pt x="26" y="1"/>
                    <a:pt x="23" y="0"/>
                  </a:cubicBezTo>
                  <a:cubicBezTo>
                    <a:pt x="22" y="0"/>
                    <a:pt x="21" y="1"/>
                    <a:pt x="20" y="1"/>
                  </a:cubicBezTo>
                  <a:cubicBezTo>
                    <a:pt x="17" y="4"/>
                    <a:pt x="14" y="7"/>
                    <a:pt x="16" y="12"/>
                  </a:cubicBezTo>
                  <a:cubicBezTo>
                    <a:pt x="16" y="13"/>
                    <a:pt x="15" y="15"/>
                    <a:pt x="15" y="17"/>
                  </a:cubicBezTo>
                  <a:cubicBezTo>
                    <a:pt x="14" y="20"/>
                    <a:pt x="14" y="20"/>
                    <a:pt x="18" y="22"/>
                  </a:cubicBezTo>
                  <a:cubicBezTo>
                    <a:pt x="18" y="22"/>
                    <a:pt x="18" y="22"/>
                    <a:pt x="18" y="21"/>
                  </a:cubicBezTo>
                  <a:cubicBezTo>
                    <a:pt x="18" y="21"/>
                    <a:pt x="19" y="21"/>
                    <a:pt x="19" y="21"/>
                  </a:cubicBezTo>
                  <a:cubicBezTo>
                    <a:pt x="19" y="21"/>
                    <a:pt x="19" y="21"/>
                    <a:pt x="19" y="21"/>
                  </a:cubicBezTo>
                  <a:cubicBezTo>
                    <a:pt x="20" y="21"/>
                    <a:pt x="20" y="21"/>
                    <a:pt x="19" y="21"/>
                  </a:cubicBezTo>
                  <a:cubicBezTo>
                    <a:pt x="19" y="21"/>
                    <a:pt x="19" y="22"/>
                    <a:pt x="19" y="22"/>
                  </a:cubicBezTo>
                  <a:cubicBezTo>
                    <a:pt x="18" y="22"/>
                    <a:pt x="18" y="22"/>
                    <a:pt x="18" y="22"/>
                  </a:cubicBezTo>
                  <a:cubicBezTo>
                    <a:pt x="19" y="24"/>
                    <a:pt x="19" y="26"/>
                    <a:pt x="19" y="28"/>
                  </a:cubicBezTo>
                  <a:cubicBezTo>
                    <a:pt x="19" y="29"/>
                    <a:pt x="19" y="31"/>
                    <a:pt x="18" y="32"/>
                  </a:cubicBezTo>
                  <a:cubicBezTo>
                    <a:pt x="17" y="34"/>
                    <a:pt x="16" y="35"/>
                    <a:pt x="14" y="34"/>
                  </a:cubicBezTo>
                  <a:cubicBezTo>
                    <a:pt x="12" y="33"/>
                    <a:pt x="11" y="32"/>
                    <a:pt x="9" y="31"/>
                  </a:cubicBezTo>
                  <a:cubicBezTo>
                    <a:pt x="7" y="30"/>
                    <a:pt x="5" y="31"/>
                    <a:pt x="4" y="32"/>
                  </a:cubicBezTo>
                  <a:cubicBezTo>
                    <a:pt x="3" y="33"/>
                    <a:pt x="2" y="34"/>
                    <a:pt x="1" y="36"/>
                  </a:cubicBezTo>
                  <a:cubicBezTo>
                    <a:pt x="0" y="40"/>
                    <a:pt x="2" y="43"/>
                    <a:pt x="6" y="4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36"/>
            <p:cNvSpPr>
              <a:spLocks/>
            </p:cNvSpPr>
            <p:nvPr/>
          </p:nvSpPr>
          <p:spPr bwMode="auto">
            <a:xfrm>
              <a:off x="8308818" y="3783764"/>
              <a:ext cx="302557" cy="113232"/>
            </a:xfrm>
            <a:custGeom>
              <a:avLst/>
              <a:gdLst>
                <a:gd name="T0" fmla="*/ 139 w 141"/>
                <a:gd name="T1" fmla="*/ 47 h 53"/>
                <a:gd name="T2" fmla="*/ 140 w 141"/>
                <a:gd name="T3" fmla="*/ 41 h 53"/>
                <a:gd name="T4" fmla="*/ 135 w 141"/>
                <a:gd name="T5" fmla="*/ 37 h 53"/>
                <a:gd name="T6" fmla="*/ 102 w 141"/>
                <a:gd name="T7" fmla="*/ 23 h 53"/>
                <a:gd name="T8" fmla="*/ 91 w 141"/>
                <a:gd name="T9" fmla="*/ 19 h 53"/>
                <a:gd name="T10" fmla="*/ 80 w 141"/>
                <a:gd name="T11" fmla="*/ 13 h 53"/>
                <a:gd name="T12" fmla="*/ 74 w 141"/>
                <a:gd name="T13" fmla="*/ 10 h 53"/>
                <a:gd name="T14" fmla="*/ 57 w 141"/>
                <a:gd name="T15" fmla="*/ 5 h 53"/>
                <a:gd name="T16" fmla="*/ 45 w 141"/>
                <a:gd name="T17" fmla="*/ 2 h 53"/>
                <a:gd name="T18" fmla="*/ 37 w 141"/>
                <a:gd name="T19" fmla="*/ 1 h 53"/>
                <a:gd name="T20" fmla="*/ 14 w 141"/>
                <a:gd name="T21" fmla="*/ 6 h 53"/>
                <a:gd name="T22" fmla="*/ 0 w 141"/>
                <a:gd name="T23" fmla="*/ 20 h 53"/>
                <a:gd name="T24" fmla="*/ 1 w 141"/>
                <a:gd name="T25" fmla="*/ 21 h 53"/>
                <a:gd name="T26" fmla="*/ 7 w 141"/>
                <a:gd name="T27" fmla="*/ 20 h 53"/>
                <a:gd name="T28" fmla="*/ 31 w 141"/>
                <a:gd name="T29" fmla="*/ 10 h 53"/>
                <a:gd name="T30" fmla="*/ 37 w 141"/>
                <a:gd name="T31" fmla="*/ 12 h 53"/>
                <a:gd name="T32" fmla="*/ 43 w 141"/>
                <a:gd name="T33" fmla="*/ 17 h 53"/>
                <a:gd name="T34" fmla="*/ 54 w 141"/>
                <a:gd name="T35" fmla="*/ 19 h 53"/>
                <a:gd name="T36" fmla="*/ 62 w 141"/>
                <a:gd name="T37" fmla="*/ 21 h 53"/>
                <a:gd name="T38" fmla="*/ 78 w 141"/>
                <a:gd name="T39" fmla="*/ 25 h 53"/>
                <a:gd name="T40" fmla="*/ 84 w 141"/>
                <a:gd name="T41" fmla="*/ 30 h 53"/>
                <a:gd name="T42" fmla="*/ 97 w 141"/>
                <a:gd name="T43" fmla="*/ 38 h 53"/>
                <a:gd name="T44" fmla="*/ 98 w 141"/>
                <a:gd name="T45" fmla="*/ 39 h 53"/>
                <a:gd name="T46" fmla="*/ 99 w 141"/>
                <a:gd name="T47" fmla="*/ 43 h 53"/>
                <a:gd name="T48" fmla="*/ 98 w 141"/>
                <a:gd name="T49" fmla="*/ 45 h 53"/>
                <a:gd name="T50" fmla="*/ 100 w 141"/>
                <a:gd name="T51" fmla="*/ 50 h 53"/>
                <a:gd name="T52" fmla="*/ 114 w 141"/>
                <a:gd name="T53" fmla="*/ 50 h 53"/>
                <a:gd name="T54" fmla="*/ 139 w 141"/>
                <a:gd name="T55"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1" h="53">
                  <a:moveTo>
                    <a:pt x="139" y="47"/>
                  </a:moveTo>
                  <a:cubicBezTo>
                    <a:pt x="141" y="46"/>
                    <a:pt x="141" y="43"/>
                    <a:pt x="140" y="41"/>
                  </a:cubicBezTo>
                  <a:cubicBezTo>
                    <a:pt x="138" y="40"/>
                    <a:pt x="137" y="38"/>
                    <a:pt x="135" y="37"/>
                  </a:cubicBezTo>
                  <a:cubicBezTo>
                    <a:pt x="124" y="32"/>
                    <a:pt x="113" y="27"/>
                    <a:pt x="102" y="23"/>
                  </a:cubicBezTo>
                  <a:cubicBezTo>
                    <a:pt x="98" y="22"/>
                    <a:pt x="95" y="20"/>
                    <a:pt x="91" y="19"/>
                  </a:cubicBezTo>
                  <a:cubicBezTo>
                    <a:pt x="88" y="16"/>
                    <a:pt x="84" y="14"/>
                    <a:pt x="80" y="13"/>
                  </a:cubicBezTo>
                  <a:cubicBezTo>
                    <a:pt x="78" y="13"/>
                    <a:pt x="75" y="12"/>
                    <a:pt x="74" y="10"/>
                  </a:cubicBezTo>
                  <a:cubicBezTo>
                    <a:pt x="69" y="6"/>
                    <a:pt x="63" y="4"/>
                    <a:pt x="57" y="5"/>
                  </a:cubicBezTo>
                  <a:cubicBezTo>
                    <a:pt x="53" y="5"/>
                    <a:pt x="49" y="4"/>
                    <a:pt x="45" y="2"/>
                  </a:cubicBezTo>
                  <a:cubicBezTo>
                    <a:pt x="42" y="1"/>
                    <a:pt x="39" y="0"/>
                    <a:pt x="37" y="1"/>
                  </a:cubicBezTo>
                  <a:cubicBezTo>
                    <a:pt x="29" y="3"/>
                    <a:pt x="22" y="3"/>
                    <a:pt x="14" y="6"/>
                  </a:cubicBezTo>
                  <a:cubicBezTo>
                    <a:pt x="7" y="9"/>
                    <a:pt x="4" y="15"/>
                    <a:pt x="0" y="20"/>
                  </a:cubicBezTo>
                  <a:cubicBezTo>
                    <a:pt x="0" y="20"/>
                    <a:pt x="0" y="21"/>
                    <a:pt x="1" y="21"/>
                  </a:cubicBezTo>
                  <a:cubicBezTo>
                    <a:pt x="3" y="21"/>
                    <a:pt x="6" y="21"/>
                    <a:pt x="7" y="20"/>
                  </a:cubicBezTo>
                  <a:cubicBezTo>
                    <a:pt x="15" y="16"/>
                    <a:pt x="24" y="15"/>
                    <a:pt x="31" y="10"/>
                  </a:cubicBezTo>
                  <a:cubicBezTo>
                    <a:pt x="33" y="10"/>
                    <a:pt x="36" y="10"/>
                    <a:pt x="37" y="12"/>
                  </a:cubicBezTo>
                  <a:cubicBezTo>
                    <a:pt x="38" y="15"/>
                    <a:pt x="40" y="16"/>
                    <a:pt x="43" y="17"/>
                  </a:cubicBezTo>
                  <a:cubicBezTo>
                    <a:pt x="47" y="18"/>
                    <a:pt x="51" y="18"/>
                    <a:pt x="54" y="19"/>
                  </a:cubicBezTo>
                  <a:cubicBezTo>
                    <a:pt x="57" y="19"/>
                    <a:pt x="60" y="20"/>
                    <a:pt x="62" y="21"/>
                  </a:cubicBezTo>
                  <a:cubicBezTo>
                    <a:pt x="67" y="24"/>
                    <a:pt x="72" y="25"/>
                    <a:pt x="78" y="25"/>
                  </a:cubicBezTo>
                  <a:cubicBezTo>
                    <a:pt x="81" y="26"/>
                    <a:pt x="83" y="27"/>
                    <a:pt x="84" y="30"/>
                  </a:cubicBezTo>
                  <a:cubicBezTo>
                    <a:pt x="86" y="35"/>
                    <a:pt x="91" y="38"/>
                    <a:pt x="97" y="38"/>
                  </a:cubicBezTo>
                  <a:cubicBezTo>
                    <a:pt x="97" y="38"/>
                    <a:pt x="98" y="39"/>
                    <a:pt x="98" y="39"/>
                  </a:cubicBezTo>
                  <a:cubicBezTo>
                    <a:pt x="100" y="40"/>
                    <a:pt x="100" y="41"/>
                    <a:pt x="99" y="43"/>
                  </a:cubicBezTo>
                  <a:cubicBezTo>
                    <a:pt x="99" y="44"/>
                    <a:pt x="98" y="45"/>
                    <a:pt x="98" y="45"/>
                  </a:cubicBezTo>
                  <a:cubicBezTo>
                    <a:pt x="96" y="48"/>
                    <a:pt x="97" y="50"/>
                    <a:pt x="100" y="50"/>
                  </a:cubicBezTo>
                  <a:cubicBezTo>
                    <a:pt x="104" y="50"/>
                    <a:pt x="107" y="50"/>
                    <a:pt x="114" y="50"/>
                  </a:cubicBezTo>
                  <a:cubicBezTo>
                    <a:pt x="121" y="53"/>
                    <a:pt x="130" y="49"/>
                    <a:pt x="139" y="4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7"/>
            <p:cNvSpPr>
              <a:spLocks/>
            </p:cNvSpPr>
            <p:nvPr/>
          </p:nvSpPr>
          <p:spPr bwMode="auto">
            <a:xfrm>
              <a:off x="8606845" y="3879785"/>
              <a:ext cx="175737" cy="75186"/>
            </a:xfrm>
            <a:custGeom>
              <a:avLst/>
              <a:gdLst>
                <a:gd name="T0" fmla="*/ 6 w 82"/>
                <a:gd name="T1" fmla="*/ 28 h 35"/>
                <a:gd name="T2" fmla="*/ 16 w 82"/>
                <a:gd name="T3" fmla="*/ 28 h 35"/>
                <a:gd name="T4" fmla="*/ 27 w 82"/>
                <a:gd name="T5" fmla="*/ 29 h 35"/>
                <a:gd name="T6" fmla="*/ 35 w 82"/>
                <a:gd name="T7" fmla="*/ 35 h 35"/>
                <a:gd name="T8" fmla="*/ 38 w 82"/>
                <a:gd name="T9" fmla="*/ 35 h 35"/>
                <a:gd name="T10" fmla="*/ 40 w 82"/>
                <a:gd name="T11" fmla="*/ 33 h 35"/>
                <a:gd name="T12" fmla="*/ 51 w 82"/>
                <a:gd name="T13" fmla="*/ 28 h 35"/>
                <a:gd name="T14" fmla="*/ 56 w 82"/>
                <a:gd name="T15" fmla="*/ 27 h 35"/>
                <a:gd name="T16" fmla="*/ 75 w 82"/>
                <a:gd name="T17" fmla="*/ 26 h 35"/>
                <a:gd name="T18" fmla="*/ 79 w 82"/>
                <a:gd name="T19" fmla="*/ 25 h 35"/>
                <a:gd name="T20" fmla="*/ 82 w 82"/>
                <a:gd name="T21" fmla="*/ 22 h 35"/>
                <a:gd name="T22" fmla="*/ 80 w 82"/>
                <a:gd name="T23" fmla="*/ 19 h 35"/>
                <a:gd name="T24" fmla="*/ 63 w 82"/>
                <a:gd name="T25" fmla="*/ 7 h 35"/>
                <a:gd name="T26" fmla="*/ 57 w 82"/>
                <a:gd name="T27" fmla="*/ 5 h 35"/>
                <a:gd name="T28" fmla="*/ 35 w 82"/>
                <a:gd name="T29" fmla="*/ 4 h 35"/>
                <a:gd name="T30" fmla="*/ 27 w 82"/>
                <a:gd name="T31" fmla="*/ 2 h 35"/>
                <a:gd name="T32" fmla="*/ 24 w 82"/>
                <a:gd name="T33" fmla="*/ 1 h 35"/>
                <a:gd name="T34" fmla="*/ 17 w 82"/>
                <a:gd name="T35" fmla="*/ 4 h 35"/>
                <a:gd name="T36" fmla="*/ 18 w 82"/>
                <a:gd name="T37" fmla="*/ 8 h 35"/>
                <a:gd name="T38" fmla="*/ 23 w 82"/>
                <a:gd name="T39" fmla="*/ 17 h 35"/>
                <a:gd name="T40" fmla="*/ 20 w 82"/>
                <a:gd name="T41" fmla="*/ 19 h 35"/>
                <a:gd name="T42" fmla="*/ 14 w 82"/>
                <a:gd name="T43" fmla="*/ 20 h 35"/>
                <a:gd name="T44" fmla="*/ 1 w 82"/>
                <a:gd name="T45" fmla="*/ 22 h 35"/>
                <a:gd name="T46" fmla="*/ 0 w 82"/>
                <a:gd name="T47" fmla="*/ 24 h 35"/>
                <a:gd name="T48" fmla="*/ 6 w 82"/>
                <a:gd name="T49"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2" h="35">
                  <a:moveTo>
                    <a:pt x="6" y="28"/>
                  </a:moveTo>
                  <a:cubicBezTo>
                    <a:pt x="9" y="28"/>
                    <a:pt x="13" y="28"/>
                    <a:pt x="16" y="28"/>
                  </a:cubicBezTo>
                  <a:cubicBezTo>
                    <a:pt x="20" y="28"/>
                    <a:pt x="23" y="28"/>
                    <a:pt x="27" y="29"/>
                  </a:cubicBezTo>
                  <a:cubicBezTo>
                    <a:pt x="31" y="30"/>
                    <a:pt x="32" y="33"/>
                    <a:pt x="35" y="35"/>
                  </a:cubicBezTo>
                  <a:cubicBezTo>
                    <a:pt x="36" y="35"/>
                    <a:pt x="37" y="35"/>
                    <a:pt x="38" y="35"/>
                  </a:cubicBezTo>
                  <a:cubicBezTo>
                    <a:pt x="39" y="34"/>
                    <a:pt x="40" y="33"/>
                    <a:pt x="40" y="33"/>
                  </a:cubicBezTo>
                  <a:cubicBezTo>
                    <a:pt x="43" y="29"/>
                    <a:pt x="46" y="27"/>
                    <a:pt x="51" y="28"/>
                  </a:cubicBezTo>
                  <a:cubicBezTo>
                    <a:pt x="53" y="28"/>
                    <a:pt x="55" y="28"/>
                    <a:pt x="56" y="27"/>
                  </a:cubicBezTo>
                  <a:cubicBezTo>
                    <a:pt x="62" y="24"/>
                    <a:pt x="69" y="24"/>
                    <a:pt x="75" y="26"/>
                  </a:cubicBezTo>
                  <a:cubicBezTo>
                    <a:pt x="76" y="26"/>
                    <a:pt x="78" y="26"/>
                    <a:pt x="79" y="25"/>
                  </a:cubicBezTo>
                  <a:cubicBezTo>
                    <a:pt x="80" y="24"/>
                    <a:pt x="81" y="23"/>
                    <a:pt x="82" y="22"/>
                  </a:cubicBezTo>
                  <a:cubicBezTo>
                    <a:pt x="82" y="21"/>
                    <a:pt x="81" y="20"/>
                    <a:pt x="80" y="19"/>
                  </a:cubicBezTo>
                  <a:cubicBezTo>
                    <a:pt x="74" y="16"/>
                    <a:pt x="69" y="11"/>
                    <a:pt x="63" y="7"/>
                  </a:cubicBezTo>
                  <a:cubicBezTo>
                    <a:pt x="61" y="6"/>
                    <a:pt x="59" y="5"/>
                    <a:pt x="57" y="5"/>
                  </a:cubicBezTo>
                  <a:cubicBezTo>
                    <a:pt x="50" y="3"/>
                    <a:pt x="42" y="1"/>
                    <a:pt x="35" y="4"/>
                  </a:cubicBezTo>
                  <a:cubicBezTo>
                    <a:pt x="32" y="5"/>
                    <a:pt x="29" y="4"/>
                    <a:pt x="27" y="2"/>
                  </a:cubicBezTo>
                  <a:cubicBezTo>
                    <a:pt x="26" y="2"/>
                    <a:pt x="25" y="1"/>
                    <a:pt x="24" y="1"/>
                  </a:cubicBezTo>
                  <a:cubicBezTo>
                    <a:pt x="22" y="0"/>
                    <a:pt x="19" y="1"/>
                    <a:pt x="17" y="4"/>
                  </a:cubicBezTo>
                  <a:cubicBezTo>
                    <a:pt x="16" y="5"/>
                    <a:pt x="16" y="7"/>
                    <a:pt x="18" y="8"/>
                  </a:cubicBezTo>
                  <a:cubicBezTo>
                    <a:pt x="22" y="10"/>
                    <a:pt x="22" y="14"/>
                    <a:pt x="23" y="17"/>
                  </a:cubicBezTo>
                  <a:cubicBezTo>
                    <a:pt x="23" y="19"/>
                    <a:pt x="23" y="20"/>
                    <a:pt x="20" y="19"/>
                  </a:cubicBezTo>
                  <a:cubicBezTo>
                    <a:pt x="17" y="17"/>
                    <a:pt x="16" y="20"/>
                    <a:pt x="14" y="20"/>
                  </a:cubicBezTo>
                  <a:cubicBezTo>
                    <a:pt x="10" y="21"/>
                    <a:pt x="5" y="21"/>
                    <a:pt x="1" y="22"/>
                  </a:cubicBezTo>
                  <a:cubicBezTo>
                    <a:pt x="1" y="22"/>
                    <a:pt x="0" y="23"/>
                    <a:pt x="0" y="24"/>
                  </a:cubicBezTo>
                  <a:cubicBezTo>
                    <a:pt x="1" y="27"/>
                    <a:pt x="3" y="29"/>
                    <a:pt x="6" y="2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38"/>
            <p:cNvSpPr>
              <a:spLocks/>
            </p:cNvSpPr>
            <p:nvPr/>
          </p:nvSpPr>
          <p:spPr bwMode="auto">
            <a:xfrm>
              <a:off x="8983682" y="1674020"/>
              <a:ext cx="92398" cy="80621"/>
            </a:xfrm>
            <a:custGeom>
              <a:avLst/>
              <a:gdLst>
                <a:gd name="T0" fmla="*/ 2 w 43"/>
                <a:gd name="T1" fmla="*/ 15 h 38"/>
                <a:gd name="T2" fmla="*/ 2 w 43"/>
                <a:gd name="T3" fmla="*/ 25 h 38"/>
                <a:gd name="T4" fmla="*/ 12 w 43"/>
                <a:gd name="T5" fmla="*/ 36 h 38"/>
                <a:gd name="T6" fmla="*/ 22 w 43"/>
                <a:gd name="T7" fmla="*/ 35 h 38"/>
                <a:gd name="T8" fmla="*/ 28 w 43"/>
                <a:gd name="T9" fmla="*/ 37 h 38"/>
                <a:gd name="T10" fmla="*/ 40 w 43"/>
                <a:gd name="T11" fmla="*/ 38 h 38"/>
                <a:gd name="T12" fmla="*/ 43 w 43"/>
                <a:gd name="T13" fmla="*/ 35 h 38"/>
                <a:gd name="T14" fmla="*/ 40 w 43"/>
                <a:gd name="T15" fmla="*/ 18 h 38"/>
                <a:gd name="T16" fmla="*/ 28 w 43"/>
                <a:gd name="T17" fmla="*/ 7 h 38"/>
                <a:gd name="T18" fmla="*/ 11 w 43"/>
                <a:gd name="T19" fmla="*/ 1 h 38"/>
                <a:gd name="T20" fmla="*/ 6 w 43"/>
                <a:gd name="T21" fmla="*/ 3 h 38"/>
                <a:gd name="T22" fmla="*/ 2 w 43"/>
                <a:gd name="T23" fmla="*/ 9 h 38"/>
                <a:gd name="T24" fmla="*/ 2 w 43"/>
                <a:gd name="T25"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38">
                  <a:moveTo>
                    <a:pt x="2" y="15"/>
                  </a:moveTo>
                  <a:cubicBezTo>
                    <a:pt x="3" y="18"/>
                    <a:pt x="3" y="21"/>
                    <a:pt x="2" y="25"/>
                  </a:cubicBezTo>
                  <a:cubicBezTo>
                    <a:pt x="0" y="31"/>
                    <a:pt x="7" y="36"/>
                    <a:pt x="12" y="36"/>
                  </a:cubicBezTo>
                  <a:cubicBezTo>
                    <a:pt x="15" y="36"/>
                    <a:pt x="19" y="35"/>
                    <a:pt x="22" y="35"/>
                  </a:cubicBezTo>
                  <a:cubicBezTo>
                    <a:pt x="24" y="34"/>
                    <a:pt x="27" y="35"/>
                    <a:pt x="28" y="37"/>
                  </a:cubicBezTo>
                  <a:cubicBezTo>
                    <a:pt x="32" y="37"/>
                    <a:pt x="36" y="38"/>
                    <a:pt x="40" y="38"/>
                  </a:cubicBezTo>
                  <a:cubicBezTo>
                    <a:pt x="41" y="38"/>
                    <a:pt x="43" y="36"/>
                    <a:pt x="43" y="35"/>
                  </a:cubicBezTo>
                  <a:cubicBezTo>
                    <a:pt x="43" y="29"/>
                    <a:pt x="42" y="23"/>
                    <a:pt x="40" y="18"/>
                  </a:cubicBezTo>
                  <a:cubicBezTo>
                    <a:pt x="39" y="12"/>
                    <a:pt x="35" y="8"/>
                    <a:pt x="28" y="7"/>
                  </a:cubicBezTo>
                  <a:cubicBezTo>
                    <a:pt x="22" y="5"/>
                    <a:pt x="17" y="4"/>
                    <a:pt x="11" y="1"/>
                  </a:cubicBezTo>
                  <a:cubicBezTo>
                    <a:pt x="10" y="0"/>
                    <a:pt x="7" y="1"/>
                    <a:pt x="6" y="3"/>
                  </a:cubicBezTo>
                  <a:cubicBezTo>
                    <a:pt x="5" y="5"/>
                    <a:pt x="3" y="7"/>
                    <a:pt x="2" y="9"/>
                  </a:cubicBezTo>
                  <a:cubicBezTo>
                    <a:pt x="2" y="11"/>
                    <a:pt x="1" y="13"/>
                    <a:pt x="2" y="1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Oval 39"/>
            <p:cNvSpPr>
              <a:spLocks noChangeArrowheads="1"/>
            </p:cNvSpPr>
            <p:nvPr/>
          </p:nvSpPr>
          <p:spPr bwMode="auto">
            <a:xfrm>
              <a:off x="8988212" y="1693043"/>
              <a:ext cx="906" cy="906"/>
            </a:xfrm>
            <a:prstGeom prst="ellipse">
              <a:avLst/>
            </a:pr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40"/>
            <p:cNvSpPr>
              <a:spLocks/>
            </p:cNvSpPr>
            <p:nvPr/>
          </p:nvSpPr>
          <p:spPr bwMode="auto">
            <a:xfrm>
              <a:off x="8829687" y="1214750"/>
              <a:ext cx="72469" cy="92398"/>
            </a:xfrm>
            <a:custGeom>
              <a:avLst/>
              <a:gdLst>
                <a:gd name="T0" fmla="*/ 1 w 34"/>
                <a:gd name="T1" fmla="*/ 38 h 43"/>
                <a:gd name="T2" fmla="*/ 6 w 34"/>
                <a:gd name="T3" fmla="*/ 42 h 43"/>
                <a:gd name="T4" fmla="*/ 23 w 34"/>
                <a:gd name="T5" fmla="*/ 42 h 43"/>
                <a:gd name="T6" fmla="*/ 27 w 34"/>
                <a:gd name="T7" fmla="*/ 40 h 43"/>
                <a:gd name="T8" fmla="*/ 31 w 34"/>
                <a:gd name="T9" fmla="*/ 32 h 43"/>
                <a:gd name="T10" fmla="*/ 31 w 34"/>
                <a:gd name="T11" fmla="*/ 32 h 43"/>
                <a:gd name="T12" fmla="*/ 31 w 34"/>
                <a:gd name="T13" fmla="*/ 31 h 43"/>
                <a:gd name="T14" fmla="*/ 31 w 34"/>
                <a:gd name="T15" fmla="*/ 32 h 43"/>
                <a:gd name="T16" fmla="*/ 31 w 34"/>
                <a:gd name="T17" fmla="*/ 20 h 43"/>
                <a:gd name="T18" fmla="*/ 23 w 34"/>
                <a:gd name="T19" fmla="*/ 6 h 43"/>
                <a:gd name="T20" fmla="*/ 21 w 34"/>
                <a:gd name="T21" fmla="*/ 2 h 43"/>
                <a:gd name="T22" fmla="*/ 13 w 34"/>
                <a:gd name="T23" fmla="*/ 1 h 43"/>
                <a:gd name="T24" fmla="*/ 3 w 34"/>
                <a:gd name="T25" fmla="*/ 22 h 43"/>
                <a:gd name="T26" fmla="*/ 0 w 34"/>
                <a:gd name="T27" fmla="*/ 30 h 43"/>
                <a:gd name="T28" fmla="*/ 1 w 34"/>
                <a:gd name="T29" fmla="*/ 3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43">
                  <a:moveTo>
                    <a:pt x="1" y="38"/>
                  </a:moveTo>
                  <a:cubicBezTo>
                    <a:pt x="2" y="40"/>
                    <a:pt x="3" y="41"/>
                    <a:pt x="6" y="42"/>
                  </a:cubicBezTo>
                  <a:cubicBezTo>
                    <a:pt x="12" y="43"/>
                    <a:pt x="18" y="43"/>
                    <a:pt x="23" y="42"/>
                  </a:cubicBezTo>
                  <a:cubicBezTo>
                    <a:pt x="25" y="42"/>
                    <a:pt x="26" y="41"/>
                    <a:pt x="27" y="40"/>
                  </a:cubicBezTo>
                  <a:cubicBezTo>
                    <a:pt x="29" y="37"/>
                    <a:pt x="29" y="34"/>
                    <a:pt x="31" y="32"/>
                  </a:cubicBezTo>
                  <a:cubicBezTo>
                    <a:pt x="31" y="32"/>
                    <a:pt x="31" y="32"/>
                    <a:pt x="31" y="32"/>
                  </a:cubicBezTo>
                  <a:cubicBezTo>
                    <a:pt x="31" y="32"/>
                    <a:pt x="31" y="31"/>
                    <a:pt x="31" y="31"/>
                  </a:cubicBezTo>
                  <a:cubicBezTo>
                    <a:pt x="31" y="32"/>
                    <a:pt x="31" y="32"/>
                    <a:pt x="31" y="32"/>
                  </a:cubicBezTo>
                  <a:cubicBezTo>
                    <a:pt x="34" y="28"/>
                    <a:pt x="34" y="24"/>
                    <a:pt x="31" y="20"/>
                  </a:cubicBezTo>
                  <a:cubicBezTo>
                    <a:pt x="28" y="16"/>
                    <a:pt x="25" y="11"/>
                    <a:pt x="23" y="6"/>
                  </a:cubicBezTo>
                  <a:cubicBezTo>
                    <a:pt x="23" y="5"/>
                    <a:pt x="22" y="4"/>
                    <a:pt x="21" y="2"/>
                  </a:cubicBezTo>
                  <a:cubicBezTo>
                    <a:pt x="19" y="0"/>
                    <a:pt x="15" y="0"/>
                    <a:pt x="13" y="1"/>
                  </a:cubicBezTo>
                  <a:cubicBezTo>
                    <a:pt x="7" y="7"/>
                    <a:pt x="3" y="13"/>
                    <a:pt x="3" y="22"/>
                  </a:cubicBezTo>
                  <a:cubicBezTo>
                    <a:pt x="3" y="25"/>
                    <a:pt x="1" y="27"/>
                    <a:pt x="0" y="30"/>
                  </a:cubicBezTo>
                  <a:cubicBezTo>
                    <a:pt x="0" y="32"/>
                    <a:pt x="1" y="35"/>
                    <a:pt x="1" y="3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1"/>
            <p:cNvSpPr>
              <a:spLocks/>
            </p:cNvSpPr>
            <p:nvPr/>
          </p:nvSpPr>
          <p:spPr bwMode="auto">
            <a:xfrm>
              <a:off x="8710113" y="1476543"/>
              <a:ext cx="67939" cy="75186"/>
            </a:xfrm>
            <a:custGeom>
              <a:avLst/>
              <a:gdLst>
                <a:gd name="T0" fmla="*/ 3 w 32"/>
                <a:gd name="T1" fmla="*/ 13 h 35"/>
                <a:gd name="T2" fmla="*/ 3 w 32"/>
                <a:gd name="T3" fmla="*/ 22 h 35"/>
                <a:gd name="T4" fmla="*/ 15 w 32"/>
                <a:gd name="T5" fmla="*/ 32 h 35"/>
                <a:gd name="T6" fmla="*/ 18 w 32"/>
                <a:gd name="T7" fmla="*/ 34 h 35"/>
                <a:gd name="T8" fmla="*/ 26 w 32"/>
                <a:gd name="T9" fmla="*/ 31 h 35"/>
                <a:gd name="T10" fmla="*/ 31 w 32"/>
                <a:gd name="T11" fmla="*/ 19 h 35"/>
                <a:gd name="T12" fmla="*/ 32 w 32"/>
                <a:gd name="T13" fmla="*/ 13 h 35"/>
                <a:gd name="T14" fmla="*/ 27 w 32"/>
                <a:gd name="T15" fmla="*/ 2 h 35"/>
                <a:gd name="T16" fmla="*/ 19 w 32"/>
                <a:gd name="T17" fmla="*/ 0 h 35"/>
                <a:gd name="T18" fmla="*/ 14 w 32"/>
                <a:gd name="T19" fmla="*/ 1 h 35"/>
                <a:gd name="T20" fmla="*/ 3 w 32"/>
                <a:gd name="T2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5">
                  <a:moveTo>
                    <a:pt x="3" y="13"/>
                  </a:moveTo>
                  <a:cubicBezTo>
                    <a:pt x="0" y="15"/>
                    <a:pt x="0" y="20"/>
                    <a:pt x="3" y="22"/>
                  </a:cubicBezTo>
                  <a:cubicBezTo>
                    <a:pt x="7" y="26"/>
                    <a:pt x="11" y="29"/>
                    <a:pt x="15" y="32"/>
                  </a:cubicBezTo>
                  <a:cubicBezTo>
                    <a:pt x="16" y="33"/>
                    <a:pt x="17" y="33"/>
                    <a:pt x="18" y="34"/>
                  </a:cubicBezTo>
                  <a:cubicBezTo>
                    <a:pt x="21" y="35"/>
                    <a:pt x="25" y="34"/>
                    <a:pt x="26" y="31"/>
                  </a:cubicBezTo>
                  <a:cubicBezTo>
                    <a:pt x="28" y="27"/>
                    <a:pt x="30" y="23"/>
                    <a:pt x="31" y="19"/>
                  </a:cubicBezTo>
                  <a:cubicBezTo>
                    <a:pt x="32" y="17"/>
                    <a:pt x="32" y="15"/>
                    <a:pt x="32" y="13"/>
                  </a:cubicBezTo>
                  <a:cubicBezTo>
                    <a:pt x="32" y="9"/>
                    <a:pt x="30" y="5"/>
                    <a:pt x="27" y="2"/>
                  </a:cubicBezTo>
                  <a:cubicBezTo>
                    <a:pt x="25" y="0"/>
                    <a:pt x="22" y="0"/>
                    <a:pt x="19" y="0"/>
                  </a:cubicBezTo>
                  <a:cubicBezTo>
                    <a:pt x="18" y="0"/>
                    <a:pt x="16" y="1"/>
                    <a:pt x="14" y="1"/>
                  </a:cubicBezTo>
                  <a:cubicBezTo>
                    <a:pt x="12" y="5"/>
                    <a:pt x="7" y="9"/>
                    <a:pt x="3" y="1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42"/>
            <p:cNvSpPr>
              <a:spLocks/>
            </p:cNvSpPr>
            <p:nvPr/>
          </p:nvSpPr>
          <p:spPr bwMode="auto">
            <a:xfrm>
              <a:off x="8740007" y="1476543"/>
              <a:ext cx="1812" cy="1812"/>
            </a:xfrm>
            <a:custGeom>
              <a:avLst/>
              <a:gdLst>
                <a:gd name="T0" fmla="*/ 0 w 1"/>
                <a:gd name="T1" fmla="*/ 1 h 1"/>
                <a:gd name="T2" fmla="*/ 1 w 1"/>
                <a:gd name="T3" fmla="*/ 0 h 1"/>
                <a:gd name="T4" fmla="*/ 0 w 1"/>
                <a:gd name="T5" fmla="*/ 0 h 1"/>
                <a:gd name="T6" fmla="*/ 0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0"/>
                    <a:pt x="1" y="0"/>
                    <a:pt x="1" y="0"/>
                  </a:cubicBezTo>
                  <a:cubicBezTo>
                    <a:pt x="1" y="0"/>
                    <a:pt x="0" y="0"/>
                    <a:pt x="0" y="0"/>
                  </a:cubicBezTo>
                  <a:cubicBezTo>
                    <a:pt x="0" y="0"/>
                    <a:pt x="0" y="0"/>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43"/>
            <p:cNvSpPr>
              <a:spLocks/>
            </p:cNvSpPr>
            <p:nvPr/>
          </p:nvSpPr>
          <p:spPr bwMode="auto">
            <a:xfrm>
              <a:off x="8547059" y="1144093"/>
              <a:ext cx="83339" cy="56163"/>
            </a:xfrm>
            <a:custGeom>
              <a:avLst/>
              <a:gdLst>
                <a:gd name="T0" fmla="*/ 1 w 39"/>
                <a:gd name="T1" fmla="*/ 10 h 26"/>
                <a:gd name="T2" fmla="*/ 12 w 39"/>
                <a:gd name="T3" fmla="*/ 16 h 26"/>
                <a:gd name="T4" fmla="*/ 21 w 39"/>
                <a:gd name="T5" fmla="*/ 22 h 26"/>
                <a:gd name="T6" fmla="*/ 38 w 39"/>
                <a:gd name="T7" fmla="*/ 15 h 26"/>
                <a:gd name="T8" fmla="*/ 38 w 39"/>
                <a:gd name="T9" fmla="*/ 9 h 26"/>
                <a:gd name="T10" fmla="*/ 39 w 39"/>
                <a:gd name="T11" fmla="*/ 8 h 26"/>
                <a:gd name="T12" fmla="*/ 31 w 39"/>
                <a:gd name="T13" fmla="*/ 0 h 26"/>
                <a:gd name="T14" fmla="*/ 16 w 39"/>
                <a:gd name="T15" fmla="*/ 2 h 26"/>
                <a:gd name="T16" fmla="*/ 5 w 39"/>
                <a:gd name="T17" fmla="*/ 3 h 26"/>
                <a:gd name="T18" fmla="*/ 1 w 39"/>
                <a:gd name="T19" fmla="*/ 5 h 26"/>
                <a:gd name="T20" fmla="*/ 0 w 39"/>
                <a:gd name="T21" fmla="*/ 8 h 26"/>
                <a:gd name="T22" fmla="*/ 1 w 39"/>
                <a:gd name="T2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26">
                  <a:moveTo>
                    <a:pt x="1" y="10"/>
                  </a:moveTo>
                  <a:cubicBezTo>
                    <a:pt x="6" y="11"/>
                    <a:pt x="10" y="12"/>
                    <a:pt x="12" y="16"/>
                  </a:cubicBezTo>
                  <a:cubicBezTo>
                    <a:pt x="17" y="16"/>
                    <a:pt x="18" y="20"/>
                    <a:pt x="21" y="22"/>
                  </a:cubicBezTo>
                  <a:cubicBezTo>
                    <a:pt x="28" y="26"/>
                    <a:pt x="37" y="22"/>
                    <a:pt x="38" y="15"/>
                  </a:cubicBezTo>
                  <a:cubicBezTo>
                    <a:pt x="38" y="13"/>
                    <a:pt x="38" y="11"/>
                    <a:pt x="38" y="9"/>
                  </a:cubicBezTo>
                  <a:cubicBezTo>
                    <a:pt x="39" y="9"/>
                    <a:pt x="39" y="8"/>
                    <a:pt x="39" y="8"/>
                  </a:cubicBezTo>
                  <a:cubicBezTo>
                    <a:pt x="39" y="2"/>
                    <a:pt x="36" y="0"/>
                    <a:pt x="31" y="0"/>
                  </a:cubicBezTo>
                  <a:cubicBezTo>
                    <a:pt x="26" y="1"/>
                    <a:pt x="21" y="2"/>
                    <a:pt x="16" y="2"/>
                  </a:cubicBezTo>
                  <a:cubicBezTo>
                    <a:pt x="13" y="1"/>
                    <a:pt x="9" y="2"/>
                    <a:pt x="5" y="3"/>
                  </a:cubicBezTo>
                  <a:cubicBezTo>
                    <a:pt x="4" y="3"/>
                    <a:pt x="2" y="4"/>
                    <a:pt x="1" y="5"/>
                  </a:cubicBezTo>
                  <a:cubicBezTo>
                    <a:pt x="0" y="6"/>
                    <a:pt x="0" y="7"/>
                    <a:pt x="0" y="8"/>
                  </a:cubicBezTo>
                  <a:cubicBezTo>
                    <a:pt x="0" y="9"/>
                    <a:pt x="1" y="10"/>
                    <a:pt x="1" y="1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44"/>
            <p:cNvSpPr>
              <a:spLocks/>
            </p:cNvSpPr>
            <p:nvPr/>
          </p:nvSpPr>
          <p:spPr bwMode="auto">
            <a:xfrm>
              <a:off x="8922084" y="2018246"/>
              <a:ext cx="66128" cy="60693"/>
            </a:xfrm>
            <a:custGeom>
              <a:avLst/>
              <a:gdLst>
                <a:gd name="T0" fmla="*/ 1 w 31"/>
                <a:gd name="T1" fmla="*/ 19 h 28"/>
                <a:gd name="T2" fmla="*/ 8 w 31"/>
                <a:gd name="T3" fmla="*/ 28 h 28"/>
                <a:gd name="T4" fmla="*/ 28 w 31"/>
                <a:gd name="T5" fmla="*/ 17 h 28"/>
                <a:gd name="T6" fmla="*/ 31 w 31"/>
                <a:gd name="T7" fmla="*/ 9 h 28"/>
                <a:gd name="T8" fmla="*/ 27 w 31"/>
                <a:gd name="T9" fmla="*/ 3 h 28"/>
                <a:gd name="T10" fmla="*/ 15 w 31"/>
                <a:gd name="T11" fmla="*/ 2 h 28"/>
                <a:gd name="T12" fmla="*/ 2 w 31"/>
                <a:gd name="T13" fmla="*/ 18 h 28"/>
                <a:gd name="T14" fmla="*/ 1 w 31"/>
                <a:gd name="T15" fmla="*/ 19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8">
                  <a:moveTo>
                    <a:pt x="1" y="19"/>
                  </a:moveTo>
                  <a:cubicBezTo>
                    <a:pt x="0" y="24"/>
                    <a:pt x="3" y="28"/>
                    <a:pt x="8" y="28"/>
                  </a:cubicBezTo>
                  <a:cubicBezTo>
                    <a:pt x="17" y="28"/>
                    <a:pt x="24" y="25"/>
                    <a:pt x="28" y="17"/>
                  </a:cubicBezTo>
                  <a:cubicBezTo>
                    <a:pt x="29" y="14"/>
                    <a:pt x="30" y="12"/>
                    <a:pt x="31" y="9"/>
                  </a:cubicBezTo>
                  <a:cubicBezTo>
                    <a:pt x="31" y="7"/>
                    <a:pt x="30" y="4"/>
                    <a:pt x="27" y="3"/>
                  </a:cubicBezTo>
                  <a:cubicBezTo>
                    <a:pt x="23" y="0"/>
                    <a:pt x="19" y="0"/>
                    <a:pt x="15" y="2"/>
                  </a:cubicBezTo>
                  <a:cubicBezTo>
                    <a:pt x="9" y="6"/>
                    <a:pt x="5" y="12"/>
                    <a:pt x="2" y="18"/>
                  </a:cubicBezTo>
                  <a:cubicBezTo>
                    <a:pt x="1" y="18"/>
                    <a:pt x="1" y="19"/>
                    <a:pt x="1" y="1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45"/>
            <p:cNvSpPr>
              <a:spLocks/>
            </p:cNvSpPr>
            <p:nvPr/>
          </p:nvSpPr>
          <p:spPr bwMode="auto">
            <a:xfrm>
              <a:off x="7225411" y="2532774"/>
              <a:ext cx="38952" cy="98739"/>
            </a:xfrm>
            <a:custGeom>
              <a:avLst/>
              <a:gdLst>
                <a:gd name="T0" fmla="*/ 8 w 18"/>
                <a:gd name="T1" fmla="*/ 0 h 46"/>
                <a:gd name="T2" fmla="*/ 2 w 18"/>
                <a:gd name="T3" fmla="*/ 2 h 46"/>
                <a:gd name="T4" fmla="*/ 0 w 18"/>
                <a:gd name="T5" fmla="*/ 10 h 46"/>
                <a:gd name="T6" fmla="*/ 1 w 18"/>
                <a:gd name="T7" fmla="*/ 19 h 46"/>
                <a:gd name="T8" fmla="*/ 0 w 18"/>
                <a:gd name="T9" fmla="*/ 19 h 46"/>
                <a:gd name="T10" fmla="*/ 1 w 18"/>
                <a:gd name="T11" fmla="*/ 26 h 46"/>
                <a:gd name="T12" fmla="*/ 6 w 18"/>
                <a:gd name="T13" fmla="*/ 44 h 46"/>
                <a:gd name="T14" fmla="*/ 9 w 18"/>
                <a:gd name="T15" fmla="*/ 46 h 46"/>
                <a:gd name="T16" fmla="*/ 10 w 18"/>
                <a:gd name="T17" fmla="*/ 46 h 46"/>
                <a:gd name="T18" fmla="*/ 11 w 18"/>
                <a:gd name="T19" fmla="*/ 45 h 46"/>
                <a:gd name="T20" fmla="*/ 13 w 18"/>
                <a:gd name="T21" fmla="*/ 21 h 46"/>
                <a:gd name="T22" fmla="*/ 18 w 18"/>
                <a:gd name="T23" fmla="*/ 7 h 46"/>
                <a:gd name="T24" fmla="*/ 17 w 18"/>
                <a:gd name="T25" fmla="*/ 5 h 46"/>
                <a:gd name="T26" fmla="*/ 8 w 18"/>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46">
                  <a:moveTo>
                    <a:pt x="8" y="0"/>
                  </a:moveTo>
                  <a:cubicBezTo>
                    <a:pt x="7" y="0"/>
                    <a:pt x="4" y="1"/>
                    <a:pt x="2" y="2"/>
                  </a:cubicBezTo>
                  <a:cubicBezTo>
                    <a:pt x="1" y="4"/>
                    <a:pt x="0" y="7"/>
                    <a:pt x="0" y="10"/>
                  </a:cubicBezTo>
                  <a:cubicBezTo>
                    <a:pt x="0" y="13"/>
                    <a:pt x="0" y="16"/>
                    <a:pt x="1" y="19"/>
                  </a:cubicBezTo>
                  <a:cubicBezTo>
                    <a:pt x="0" y="19"/>
                    <a:pt x="0" y="19"/>
                    <a:pt x="0" y="19"/>
                  </a:cubicBezTo>
                  <a:cubicBezTo>
                    <a:pt x="0" y="21"/>
                    <a:pt x="1" y="24"/>
                    <a:pt x="1" y="26"/>
                  </a:cubicBezTo>
                  <a:cubicBezTo>
                    <a:pt x="1" y="33"/>
                    <a:pt x="3" y="39"/>
                    <a:pt x="6" y="44"/>
                  </a:cubicBezTo>
                  <a:cubicBezTo>
                    <a:pt x="7" y="45"/>
                    <a:pt x="8" y="46"/>
                    <a:pt x="9" y="46"/>
                  </a:cubicBezTo>
                  <a:cubicBezTo>
                    <a:pt x="9" y="46"/>
                    <a:pt x="10" y="46"/>
                    <a:pt x="10" y="46"/>
                  </a:cubicBezTo>
                  <a:cubicBezTo>
                    <a:pt x="11" y="46"/>
                    <a:pt x="11" y="45"/>
                    <a:pt x="11" y="45"/>
                  </a:cubicBezTo>
                  <a:cubicBezTo>
                    <a:pt x="8" y="36"/>
                    <a:pt x="10" y="29"/>
                    <a:pt x="13" y="21"/>
                  </a:cubicBezTo>
                  <a:cubicBezTo>
                    <a:pt x="15" y="16"/>
                    <a:pt x="17" y="12"/>
                    <a:pt x="18" y="7"/>
                  </a:cubicBezTo>
                  <a:cubicBezTo>
                    <a:pt x="18" y="7"/>
                    <a:pt x="18" y="5"/>
                    <a:pt x="17" y="5"/>
                  </a:cubicBezTo>
                  <a:cubicBezTo>
                    <a:pt x="14" y="3"/>
                    <a:pt x="11" y="2"/>
                    <a:pt x="8"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46"/>
            <p:cNvSpPr>
              <a:spLocks/>
            </p:cNvSpPr>
            <p:nvPr/>
          </p:nvSpPr>
          <p:spPr bwMode="auto">
            <a:xfrm>
              <a:off x="8825157" y="1316206"/>
              <a:ext cx="70657" cy="40764"/>
            </a:xfrm>
            <a:custGeom>
              <a:avLst/>
              <a:gdLst>
                <a:gd name="T0" fmla="*/ 25 w 33"/>
                <a:gd name="T1" fmla="*/ 19 h 19"/>
                <a:gd name="T2" fmla="*/ 32 w 33"/>
                <a:gd name="T3" fmla="*/ 16 h 19"/>
                <a:gd name="T4" fmla="*/ 32 w 33"/>
                <a:gd name="T5" fmla="*/ 12 h 19"/>
                <a:gd name="T6" fmla="*/ 10 w 33"/>
                <a:gd name="T7" fmla="*/ 0 h 19"/>
                <a:gd name="T8" fmla="*/ 1 w 33"/>
                <a:gd name="T9" fmla="*/ 6 h 19"/>
                <a:gd name="T10" fmla="*/ 2 w 33"/>
                <a:gd name="T11" fmla="*/ 11 h 19"/>
                <a:gd name="T12" fmla="*/ 23 w 33"/>
                <a:gd name="T13" fmla="*/ 19 h 19"/>
                <a:gd name="T14" fmla="*/ 25 w 3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9">
                  <a:moveTo>
                    <a:pt x="25" y="19"/>
                  </a:moveTo>
                  <a:cubicBezTo>
                    <a:pt x="28" y="19"/>
                    <a:pt x="30" y="18"/>
                    <a:pt x="32" y="16"/>
                  </a:cubicBezTo>
                  <a:cubicBezTo>
                    <a:pt x="33" y="15"/>
                    <a:pt x="33" y="12"/>
                    <a:pt x="32" y="12"/>
                  </a:cubicBezTo>
                  <a:cubicBezTo>
                    <a:pt x="26" y="6"/>
                    <a:pt x="19" y="1"/>
                    <a:pt x="10" y="0"/>
                  </a:cubicBezTo>
                  <a:cubicBezTo>
                    <a:pt x="6" y="0"/>
                    <a:pt x="2" y="2"/>
                    <a:pt x="1" y="6"/>
                  </a:cubicBezTo>
                  <a:cubicBezTo>
                    <a:pt x="0" y="8"/>
                    <a:pt x="1" y="10"/>
                    <a:pt x="2" y="11"/>
                  </a:cubicBezTo>
                  <a:cubicBezTo>
                    <a:pt x="9" y="16"/>
                    <a:pt x="16" y="18"/>
                    <a:pt x="23" y="19"/>
                  </a:cubicBezTo>
                  <a:cubicBezTo>
                    <a:pt x="24" y="19"/>
                    <a:pt x="24" y="19"/>
                    <a:pt x="25" y="1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7"/>
            <p:cNvSpPr>
              <a:spLocks/>
            </p:cNvSpPr>
            <p:nvPr/>
          </p:nvSpPr>
          <p:spPr bwMode="auto">
            <a:xfrm>
              <a:off x="9026258" y="2890588"/>
              <a:ext cx="64316" cy="38046"/>
            </a:xfrm>
            <a:custGeom>
              <a:avLst/>
              <a:gdLst>
                <a:gd name="T0" fmla="*/ 3 w 30"/>
                <a:gd name="T1" fmla="*/ 0 h 18"/>
                <a:gd name="T2" fmla="*/ 1 w 30"/>
                <a:gd name="T3" fmla="*/ 1 h 18"/>
                <a:gd name="T4" fmla="*/ 1 w 30"/>
                <a:gd name="T5" fmla="*/ 5 h 18"/>
                <a:gd name="T6" fmla="*/ 3 w 30"/>
                <a:gd name="T7" fmla="*/ 7 h 18"/>
                <a:gd name="T8" fmla="*/ 13 w 30"/>
                <a:gd name="T9" fmla="*/ 15 h 18"/>
                <a:gd name="T10" fmla="*/ 26 w 30"/>
                <a:gd name="T11" fmla="*/ 18 h 18"/>
                <a:gd name="T12" fmla="*/ 27 w 30"/>
                <a:gd name="T13" fmla="*/ 18 h 18"/>
                <a:gd name="T14" fmla="*/ 29 w 30"/>
                <a:gd name="T15" fmla="*/ 16 h 18"/>
                <a:gd name="T16" fmla="*/ 29 w 30"/>
                <a:gd name="T17" fmla="*/ 15 h 18"/>
                <a:gd name="T18" fmla="*/ 3 w 30"/>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8">
                  <a:moveTo>
                    <a:pt x="3" y="0"/>
                  </a:moveTo>
                  <a:cubicBezTo>
                    <a:pt x="3" y="1"/>
                    <a:pt x="2" y="1"/>
                    <a:pt x="1" y="1"/>
                  </a:cubicBezTo>
                  <a:cubicBezTo>
                    <a:pt x="0" y="2"/>
                    <a:pt x="0" y="4"/>
                    <a:pt x="1" y="5"/>
                  </a:cubicBezTo>
                  <a:cubicBezTo>
                    <a:pt x="2" y="6"/>
                    <a:pt x="3" y="6"/>
                    <a:pt x="3" y="7"/>
                  </a:cubicBezTo>
                  <a:cubicBezTo>
                    <a:pt x="6" y="10"/>
                    <a:pt x="9" y="13"/>
                    <a:pt x="13" y="15"/>
                  </a:cubicBezTo>
                  <a:cubicBezTo>
                    <a:pt x="17" y="16"/>
                    <a:pt x="22" y="17"/>
                    <a:pt x="26" y="18"/>
                  </a:cubicBezTo>
                  <a:cubicBezTo>
                    <a:pt x="26" y="18"/>
                    <a:pt x="27" y="18"/>
                    <a:pt x="27" y="18"/>
                  </a:cubicBezTo>
                  <a:cubicBezTo>
                    <a:pt x="28" y="18"/>
                    <a:pt x="29" y="17"/>
                    <a:pt x="29" y="16"/>
                  </a:cubicBezTo>
                  <a:cubicBezTo>
                    <a:pt x="30" y="16"/>
                    <a:pt x="30" y="15"/>
                    <a:pt x="29" y="15"/>
                  </a:cubicBezTo>
                  <a:cubicBezTo>
                    <a:pt x="23" y="6"/>
                    <a:pt x="14" y="2"/>
                    <a:pt x="3"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8"/>
            <p:cNvSpPr>
              <a:spLocks/>
            </p:cNvSpPr>
            <p:nvPr/>
          </p:nvSpPr>
          <p:spPr bwMode="auto">
            <a:xfrm>
              <a:off x="8261713" y="1309865"/>
              <a:ext cx="62504" cy="39858"/>
            </a:xfrm>
            <a:custGeom>
              <a:avLst/>
              <a:gdLst>
                <a:gd name="T0" fmla="*/ 29 w 29"/>
                <a:gd name="T1" fmla="*/ 2 h 19"/>
                <a:gd name="T2" fmla="*/ 28 w 29"/>
                <a:gd name="T3" fmla="*/ 1 h 19"/>
                <a:gd name="T4" fmla="*/ 25 w 29"/>
                <a:gd name="T5" fmla="*/ 0 h 19"/>
                <a:gd name="T6" fmla="*/ 2 w 29"/>
                <a:gd name="T7" fmla="*/ 11 h 19"/>
                <a:gd name="T8" fmla="*/ 3 w 29"/>
                <a:gd name="T9" fmla="*/ 17 h 19"/>
                <a:gd name="T10" fmla="*/ 9 w 29"/>
                <a:gd name="T11" fmla="*/ 18 h 19"/>
                <a:gd name="T12" fmla="*/ 29 w 29"/>
                <a:gd name="T13" fmla="*/ 4 h 19"/>
                <a:gd name="T14" fmla="*/ 29 w 29"/>
                <a:gd name="T15" fmla="*/ 2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9">
                  <a:moveTo>
                    <a:pt x="29" y="2"/>
                  </a:moveTo>
                  <a:cubicBezTo>
                    <a:pt x="29" y="2"/>
                    <a:pt x="29" y="1"/>
                    <a:pt x="28" y="1"/>
                  </a:cubicBezTo>
                  <a:cubicBezTo>
                    <a:pt x="27" y="1"/>
                    <a:pt x="26" y="0"/>
                    <a:pt x="25" y="0"/>
                  </a:cubicBezTo>
                  <a:cubicBezTo>
                    <a:pt x="17" y="2"/>
                    <a:pt x="9" y="6"/>
                    <a:pt x="2" y="11"/>
                  </a:cubicBezTo>
                  <a:cubicBezTo>
                    <a:pt x="0" y="12"/>
                    <a:pt x="1" y="15"/>
                    <a:pt x="3" y="17"/>
                  </a:cubicBezTo>
                  <a:cubicBezTo>
                    <a:pt x="5" y="18"/>
                    <a:pt x="8" y="19"/>
                    <a:pt x="9" y="18"/>
                  </a:cubicBezTo>
                  <a:cubicBezTo>
                    <a:pt x="16" y="13"/>
                    <a:pt x="22" y="8"/>
                    <a:pt x="29" y="4"/>
                  </a:cubicBezTo>
                  <a:cubicBezTo>
                    <a:pt x="29" y="3"/>
                    <a:pt x="29" y="3"/>
                    <a:pt x="29"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0"/>
            <p:cNvSpPr>
              <a:spLocks/>
            </p:cNvSpPr>
            <p:nvPr/>
          </p:nvSpPr>
          <p:spPr bwMode="auto">
            <a:xfrm>
              <a:off x="9016293" y="3030090"/>
              <a:ext cx="1812" cy="1812"/>
            </a:xfrm>
            <a:custGeom>
              <a:avLst/>
              <a:gdLst>
                <a:gd name="T0" fmla="*/ 0 w 1"/>
                <a:gd name="T1" fmla="*/ 0 h 1"/>
                <a:gd name="T2" fmla="*/ 0 w 1"/>
                <a:gd name="T3" fmla="*/ 0 h 1"/>
                <a:gd name="T4" fmla="*/ 0 w 1"/>
                <a:gd name="T5" fmla="*/ 0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0"/>
                    <a:pt x="0" y="0"/>
                    <a:pt x="0" y="0"/>
                  </a:cubicBezTo>
                  <a:cubicBezTo>
                    <a:pt x="0" y="0"/>
                    <a:pt x="0" y="1"/>
                    <a:pt x="1" y="1"/>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51"/>
            <p:cNvSpPr>
              <a:spLocks/>
            </p:cNvSpPr>
            <p:nvPr/>
          </p:nvSpPr>
          <p:spPr bwMode="auto">
            <a:xfrm>
              <a:off x="9005423" y="3006538"/>
              <a:ext cx="48916" cy="38046"/>
            </a:xfrm>
            <a:custGeom>
              <a:avLst/>
              <a:gdLst>
                <a:gd name="T0" fmla="*/ 15 w 23"/>
                <a:gd name="T1" fmla="*/ 18 h 18"/>
                <a:gd name="T2" fmla="*/ 22 w 23"/>
                <a:gd name="T3" fmla="*/ 17 h 18"/>
                <a:gd name="T4" fmla="*/ 15 w 23"/>
                <a:gd name="T5" fmla="*/ 7 h 18"/>
                <a:gd name="T6" fmla="*/ 3 w 23"/>
                <a:gd name="T7" fmla="*/ 0 h 18"/>
                <a:gd name="T8" fmla="*/ 0 w 23"/>
                <a:gd name="T9" fmla="*/ 1 h 18"/>
                <a:gd name="T10" fmla="*/ 0 w 23"/>
                <a:gd name="T11" fmla="*/ 2 h 18"/>
                <a:gd name="T12" fmla="*/ 5 w 23"/>
                <a:gd name="T13" fmla="*/ 11 h 18"/>
                <a:gd name="T14" fmla="*/ 11 w 23"/>
                <a:gd name="T15" fmla="*/ 13 h 18"/>
                <a:gd name="T16" fmla="*/ 15 w 23"/>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8">
                  <a:moveTo>
                    <a:pt x="15" y="18"/>
                  </a:moveTo>
                  <a:cubicBezTo>
                    <a:pt x="17" y="17"/>
                    <a:pt x="19" y="17"/>
                    <a:pt x="22" y="17"/>
                  </a:cubicBezTo>
                  <a:cubicBezTo>
                    <a:pt x="22" y="8"/>
                    <a:pt x="23" y="10"/>
                    <a:pt x="15" y="7"/>
                  </a:cubicBezTo>
                  <a:cubicBezTo>
                    <a:pt x="11" y="5"/>
                    <a:pt x="6" y="4"/>
                    <a:pt x="3" y="0"/>
                  </a:cubicBezTo>
                  <a:cubicBezTo>
                    <a:pt x="3" y="0"/>
                    <a:pt x="1" y="0"/>
                    <a:pt x="0" y="1"/>
                  </a:cubicBezTo>
                  <a:cubicBezTo>
                    <a:pt x="0" y="1"/>
                    <a:pt x="0" y="2"/>
                    <a:pt x="0" y="2"/>
                  </a:cubicBezTo>
                  <a:cubicBezTo>
                    <a:pt x="2" y="5"/>
                    <a:pt x="3" y="8"/>
                    <a:pt x="5" y="11"/>
                  </a:cubicBezTo>
                  <a:cubicBezTo>
                    <a:pt x="7" y="12"/>
                    <a:pt x="9" y="12"/>
                    <a:pt x="11" y="13"/>
                  </a:cubicBezTo>
                  <a:cubicBezTo>
                    <a:pt x="13" y="14"/>
                    <a:pt x="15" y="15"/>
                    <a:pt x="15" y="1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Oval 52"/>
            <p:cNvSpPr>
              <a:spLocks noChangeArrowheads="1"/>
            </p:cNvSpPr>
            <p:nvPr/>
          </p:nvSpPr>
          <p:spPr bwMode="auto">
            <a:xfrm>
              <a:off x="9037128" y="3044584"/>
              <a:ext cx="906" cy="906"/>
            </a:xfrm>
            <a:prstGeom prst="ellipse">
              <a:avLst/>
            </a:pr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55"/>
            <p:cNvSpPr>
              <a:spLocks/>
            </p:cNvSpPr>
            <p:nvPr/>
          </p:nvSpPr>
          <p:spPr bwMode="auto">
            <a:xfrm>
              <a:off x="8716454" y="1261854"/>
              <a:ext cx="31705" cy="28082"/>
            </a:xfrm>
            <a:custGeom>
              <a:avLst/>
              <a:gdLst>
                <a:gd name="T0" fmla="*/ 1 w 15"/>
                <a:gd name="T1" fmla="*/ 7 h 13"/>
                <a:gd name="T2" fmla="*/ 10 w 15"/>
                <a:gd name="T3" fmla="*/ 13 h 13"/>
                <a:gd name="T4" fmla="*/ 15 w 15"/>
                <a:gd name="T5" fmla="*/ 8 h 13"/>
                <a:gd name="T6" fmla="*/ 6 w 15"/>
                <a:gd name="T7" fmla="*/ 0 h 13"/>
                <a:gd name="T8" fmla="*/ 1 w 15"/>
                <a:gd name="T9" fmla="*/ 7 h 13"/>
              </a:gdLst>
              <a:ahLst/>
              <a:cxnLst>
                <a:cxn ang="0">
                  <a:pos x="T0" y="T1"/>
                </a:cxn>
                <a:cxn ang="0">
                  <a:pos x="T2" y="T3"/>
                </a:cxn>
                <a:cxn ang="0">
                  <a:pos x="T4" y="T5"/>
                </a:cxn>
                <a:cxn ang="0">
                  <a:pos x="T6" y="T7"/>
                </a:cxn>
                <a:cxn ang="0">
                  <a:pos x="T8" y="T9"/>
                </a:cxn>
              </a:cxnLst>
              <a:rect l="0" t="0" r="r" b="b"/>
              <a:pathLst>
                <a:path w="15" h="13">
                  <a:moveTo>
                    <a:pt x="1" y="7"/>
                  </a:moveTo>
                  <a:cubicBezTo>
                    <a:pt x="3" y="10"/>
                    <a:pt x="6" y="13"/>
                    <a:pt x="10" y="13"/>
                  </a:cubicBezTo>
                  <a:cubicBezTo>
                    <a:pt x="13" y="13"/>
                    <a:pt x="15" y="11"/>
                    <a:pt x="15" y="8"/>
                  </a:cubicBezTo>
                  <a:cubicBezTo>
                    <a:pt x="14" y="4"/>
                    <a:pt x="11" y="0"/>
                    <a:pt x="6" y="0"/>
                  </a:cubicBezTo>
                  <a:cubicBezTo>
                    <a:pt x="3" y="0"/>
                    <a:pt x="0" y="4"/>
                    <a:pt x="1" y="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56"/>
            <p:cNvSpPr>
              <a:spLocks/>
            </p:cNvSpPr>
            <p:nvPr/>
          </p:nvSpPr>
          <p:spPr bwMode="auto">
            <a:xfrm>
              <a:off x="8482743" y="1176704"/>
              <a:ext cx="106891" cy="81527"/>
            </a:xfrm>
            <a:custGeom>
              <a:avLst/>
              <a:gdLst>
                <a:gd name="T0" fmla="*/ 8 w 50"/>
                <a:gd name="T1" fmla="*/ 15 h 38"/>
                <a:gd name="T2" fmla="*/ 7 w 50"/>
                <a:gd name="T3" fmla="*/ 15 h 38"/>
                <a:gd name="T4" fmla="*/ 8 w 50"/>
                <a:gd name="T5" fmla="*/ 15 h 38"/>
                <a:gd name="T6" fmla="*/ 6 w 50"/>
                <a:gd name="T7" fmla="*/ 21 h 38"/>
                <a:gd name="T8" fmla="*/ 7 w 50"/>
                <a:gd name="T9" fmla="*/ 28 h 38"/>
                <a:gd name="T10" fmla="*/ 12 w 50"/>
                <a:gd name="T11" fmla="*/ 35 h 38"/>
                <a:gd name="T12" fmla="*/ 17 w 50"/>
                <a:gd name="T13" fmla="*/ 37 h 38"/>
                <a:gd name="T14" fmla="*/ 24 w 50"/>
                <a:gd name="T15" fmla="*/ 38 h 38"/>
                <a:gd name="T16" fmla="*/ 34 w 50"/>
                <a:gd name="T17" fmla="*/ 34 h 38"/>
                <a:gd name="T18" fmla="*/ 38 w 50"/>
                <a:gd name="T19" fmla="*/ 26 h 38"/>
                <a:gd name="T20" fmla="*/ 43 w 50"/>
                <a:gd name="T21" fmla="*/ 21 h 38"/>
                <a:gd name="T22" fmla="*/ 49 w 50"/>
                <a:gd name="T23" fmla="*/ 18 h 38"/>
                <a:gd name="T24" fmla="*/ 50 w 50"/>
                <a:gd name="T25" fmla="*/ 15 h 38"/>
                <a:gd name="T26" fmla="*/ 47 w 50"/>
                <a:gd name="T27" fmla="*/ 13 h 38"/>
                <a:gd name="T28" fmla="*/ 27 w 50"/>
                <a:gd name="T29" fmla="*/ 9 h 38"/>
                <a:gd name="T30" fmla="*/ 11 w 50"/>
                <a:gd name="T31" fmla="*/ 12 h 38"/>
                <a:gd name="T32" fmla="*/ 11 w 50"/>
                <a:gd name="T33" fmla="*/ 12 h 38"/>
                <a:gd name="T34" fmla="*/ 11 w 50"/>
                <a:gd name="T35" fmla="*/ 12 h 38"/>
                <a:gd name="T36" fmla="*/ 11 w 50"/>
                <a:gd name="T37" fmla="*/ 12 h 38"/>
                <a:gd name="T38" fmla="*/ 9 w 50"/>
                <a:gd name="T39" fmla="*/ 14 h 38"/>
                <a:gd name="T40" fmla="*/ 11 w 50"/>
                <a:gd name="T41" fmla="*/ 12 h 38"/>
                <a:gd name="T42" fmla="*/ 10 w 50"/>
                <a:gd name="T43" fmla="*/ 3 h 38"/>
                <a:gd name="T44" fmla="*/ 5 w 50"/>
                <a:gd name="T45" fmla="*/ 1 h 38"/>
                <a:gd name="T46" fmla="*/ 1 w 50"/>
                <a:gd name="T47" fmla="*/ 5 h 38"/>
                <a:gd name="T48" fmla="*/ 1 w 50"/>
                <a:gd name="T49" fmla="*/ 12 h 38"/>
                <a:gd name="T50" fmla="*/ 8 w 50"/>
                <a:gd name="T51"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38">
                  <a:moveTo>
                    <a:pt x="8" y="15"/>
                  </a:moveTo>
                  <a:cubicBezTo>
                    <a:pt x="8" y="15"/>
                    <a:pt x="8" y="15"/>
                    <a:pt x="7" y="15"/>
                  </a:cubicBezTo>
                  <a:cubicBezTo>
                    <a:pt x="8" y="15"/>
                    <a:pt x="8" y="15"/>
                    <a:pt x="8" y="15"/>
                  </a:cubicBezTo>
                  <a:cubicBezTo>
                    <a:pt x="7" y="17"/>
                    <a:pt x="7" y="19"/>
                    <a:pt x="6" y="21"/>
                  </a:cubicBezTo>
                  <a:cubicBezTo>
                    <a:pt x="5" y="24"/>
                    <a:pt x="5" y="26"/>
                    <a:pt x="7" y="28"/>
                  </a:cubicBezTo>
                  <a:cubicBezTo>
                    <a:pt x="8" y="30"/>
                    <a:pt x="10" y="33"/>
                    <a:pt x="12" y="35"/>
                  </a:cubicBezTo>
                  <a:cubicBezTo>
                    <a:pt x="13" y="36"/>
                    <a:pt x="15" y="37"/>
                    <a:pt x="17" y="37"/>
                  </a:cubicBezTo>
                  <a:cubicBezTo>
                    <a:pt x="19" y="38"/>
                    <a:pt x="21" y="38"/>
                    <a:pt x="24" y="38"/>
                  </a:cubicBezTo>
                  <a:cubicBezTo>
                    <a:pt x="28" y="38"/>
                    <a:pt x="31" y="37"/>
                    <a:pt x="34" y="34"/>
                  </a:cubicBezTo>
                  <a:cubicBezTo>
                    <a:pt x="36" y="32"/>
                    <a:pt x="38" y="29"/>
                    <a:pt x="38" y="26"/>
                  </a:cubicBezTo>
                  <a:cubicBezTo>
                    <a:pt x="39" y="24"/>
                    <a:pt x="41" y="22"/>
                    <a:pt x="43" y="21"/>
                  </a:cubicBezTo>
                  <a:cubicBezTo>
                    <a:pt x="45" y="20"/>
                    <a:pt x="47" y="19"/>
                    <a:pt x="49" y="18"/>
                  </a:cubicBezTo>
                  <a:cubicBezTo>
                    <a:pt x="50" y="17"/>
                    <a:pt x="50" y="16"/>
                    <a:pt x="50" y="15"/>
                  </a:cubicBezTo>
                  <a:cubicBezTo>
                    <a:pt x="49" y="14"/>
                    <a:pt x="48" y="13"/>
                    <a:pt x="47" y="13"/>
                  </a:cubicBezTo>
                  <a:cubicBezTo>
                    <a:pt x="41" y="10"/>
                    <a:pt x="34" y="9"/>
                    <a:pt x="27" y="9"/>
                  </a:cubicBezTo>
                  <a:cubicBezTo>
                    <a:pt x="21" y="8"/>
                    <a:pt x="16" y="9"/>
                    <a:pt x="11" y="12"/>
                  </a:cubicBezTo>
                  <a:cubicBezTo>
                    <a:pt x="11" y="12"/>
                    <a:pt x="11" y="12"/>
                    <a:pt x="11" y="12"/>
                  </a:cubicBezTo>
                  <a:cubicBezTo>
                    <a:pt x="11" y="12"/>
                    <a:pt x="11" y="12"/>
                    <a:pt x="11" y="12"/>
                  </a:cubicBezTo>
                  <a:cubicBezTo>
                    <a:pt x="11" y="12"/>
                    <a:pt x="11" y="12"/>
                    <a:pt x="11" y="12"/>
                  </a:cubicBezTo>
                  <a:cubicBezTo>
                    <a:pt x="10" y="13"/>
                    <a:pt x="10" y="13"/>
                    <a:pt x="9" y="14"/>
                  </a:cubicBezTo>
                  <a:cubicBezTo>
                    <a:pt x="10" y="13"/>
                    <a:pt x="10" y="13"/>
                    <a:pt x="11" y="12"/>
                  </a:cubicBezTo>
                  <a:cubicBezTo>
                    <a:pt x="11" y="9"/>
                    <a:pt x="11" y="6"/>
                    <a:pt x="10" y="3"/>
                  </a:cubicBezTo>
                  <a:cubicBezTo>
                    <a:pt x="10" y="2"/>
                    <a:pt x="7" y="0"/>
                    <a:pt x="5" y="1"/>
                  </a:cubicBezTo>
                  <a:cubicBezTo>
                    <a:pt x="3" y="1"/>
                    <a:pt x="1" y="3"/>
                    <a:pt x="1" y="5"/>
                  </a:cubicBezTo>
                  <a:cubicBezTo>
                    <a:pt x="0" y="7"/>
                    <a:pt x="0" y="10"/>
                    <a:pt x="1" y="12"/>
                  </a:cubicBezTo>
                  <a:cubicBezTo>
                    <a:pt x="3" y="14"/>
                    <a:pt x="5" y="15"/>
                    <a:pt x="8" y="1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57"/>
            <p:cNvSpPr>
              <a:spLocks/>
            </p:cNvSpPr>
            <p:nvPr/>
          </p:nvSpPr>
          <p:spPr bwMode="auto">
            <a:xfrm>
              <a:off x="8605034" y="1564411"/>
              <a:ext cx="44387" cy="17211"/>
            </a:xfrm>
            <a:custGeom>
              <a:avLst/>
              <a:gdLst>
                <a:gd name="T0" fmla="*/ 14 w 21"/>
                <a:gd name="T1" fmla="*/ 7 h 8"/>
                <a:gd name="T2" fmla="*/ 20 w 21"/>
                <a:gd name="T3" fmla="*/ 5 h 8"/>
                <a:gd name="T4" fmla="*/ 21 w 21"/>
                <a:gd name="T5" fmla="*/ 2 h 8"/>
                <a:gd name="T6" fmla="*/ 20 w 21"/>
                <a:gd name="T7" fmla="*/ 1 h 8"/>
                <a:gd name="T8" fmla="*/ 7 w 21"/>
                <a:gd name="T9" fmla="*/ 1 h 8"/>
                <a:gd name="T10" fmla="*/ 0 w 21"/>
                <a:gd name="T11" fmla="*/ 6 h 8"/>
                <a:gd name="T12" fmla="*/ 14 w 2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21" h="8">
                  <a:moveTo>
                    <a:pt x="14" y="7"/>
                  </a:moveTo>
                  <a:cubicBezTo>
                    <a:pt x="16" y="7"/>
                    <a:pt x="18" y="6"/>
                    <a:pt x="20" y="5"/>
                  </a:cubicBezTo>
                  <a:cubicBezTo>
                    <a:pt x="21" y="4"/>
                    <a:pt x="21" y="3"/>
                    <a:pt x="21" y="2"/>
                  </a:cubicBezTo>
                  <a:cubicBezTo>
                    <a:pt x="21" y="2"/>
                    <a:pt x="20" y="1"/>
                    <a:pt x="20" y="1"/>
                  </a:cubicBezTo>
                  <a:cubicBezTo>
                    <a:pt x="15" y="0"/>
                    <a:pt x="11" y="1"/>
                    <a:pt x="7" y="1"/>
                  </a:cubicBezTo>
                  <a:cubicBezTo>
                    <a:pt x="3" y="1"/>
                    <a:pt x="1" y="3"/>
                    <a:pt x="0" y="6"/>
                  </a:cubicBezTo>
                  <a:cubicBezTo>
                    <a:pt x="5" y="8"/>
                    <a:pt x="10" y="8"/>
                    <a:pt x="14" y="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58"/>
            <p:cNvSpPr>
              <a:spLocks/>
            </p:cNvSpPr>
            <p:nvPr/>
          </p:nvSpPr>
          <p:spPr bwMode="auto">
            <a:xfrm>
              <a:off x="8545247" y="1440309"/>
              <a:ext cx="27176" cy="23552"/>
            </a:xfrm>
            <a:custGeom>
              <a:avLst/>
              <a:gdLst>
                <a:gd name="T0" fmla="*/ 4 w 13"/>
                <a:gd name="T1" fmla="*/ 11 h 11"/>
                <a:gd name="T2" fmla="*/ 11 w 13"/>
                <a:gd name="T3" fmla="*/ 8 h 11"/>
                <a:gd name="T4" fmla="*/ 11 w 13"/>
                <a:gd name="T5" fmla="*/ 1 h 11"/>
                <a:gd name="T6" fmla="*/ 9 w 13"/>
                <a:gd name="T7" fmla="*/ 0 h 11"/>
                <a:gd name="T8" fmla="*/ 1 w 13"/>
                <a:gd name="T9" fmla="*/ 7 h 11"/>
                <a:gd name="T10" fmla="*/ 4 w 13"/>
                <a:gd name="T11" fmla="*/ 11 h 11"/>
              </a:gdLst>
              <a:ahLst/>
              <a:cxnLst>
                <a:cxn ang="0">
                  <a:pos x="T0" y="T1"/>
                </a:cxn>
                <a:cxn ang="0">
                  <a:pos x="T2" y="T3"/>
                </a:cxn>
                <a:cxn ang="0">
                  <a:pos x="T4" y="T5"/>
                </a:cxn>
                <a:cxn ang="0">
                  <a:pos x="T6" y="T7"/>
                </a:cxn>
                <a:cxn ang="0">
                  <a:pos x="T8" y="T9"/>
                </a:cxn>
                <a:cxn ang="0">
                  <a:pos x="T10" y="T11"/>
                </a:cxn>
              </a:cxnLst>
              <a:rect l="0" t="0" r="r" b="b"/>
              <a:pathLst>
                <a:path w="13" h="11">
                  <a:moveTo>
                    <a:pt x="4" y="11"/>
                  </a:moveTo>
                  <a:cubicBezTo>
                    <a:pt x="7" y="11"/>
                    <a:pt x="10" y="10"/>
                    <a:pt x="11" y="8"/>
                  </a:cubicBezTo>
                  <a:cubicBezTo>
                    <a:pt x="13" y="6"/>
                    <a:pt x="13" y="3"/>
                    <a:pt x="11" y="1"/>
                  </a:cubicBezTo>
                  <a:cubicBezTo>
                    <a:pt x="11" y="0"/>
                    <a:pt x="10" y="0"/>
                    <a:pt x="9" y="0"/>
                  </a:cubicBezTo>
                  <a:cubicBezTo>
                    <a:pt x="5" y="1"/>
                    <a:pt x="2" y="4"/>
                    <a:pt x="1" y="7"/>
                  </a:cubicBezTo>
                  <a:cubicBezTo>
                    <a:pt x="0" y="8"/>
                    <a:pt x="3" y="11"/>
                    <a:pt x="4" y="1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59"/>
            <p:cNvSpPr>
              <a:spLocks/>
            </p:cNvSpPr>
            <p:nvPr/>
          </p:nvSpPr>
          <p:spPr bwMode="auto">
            <a:xfrm>
              <a:off x="6799658" y="2209382"/>
              <a:ext cx="31705" cy="23552"/>
            </a:xfrm>
            <a:custGeom>
              <a:avLst/>
              <a:gdLst>
                <a:gd name="T0" fmla="*/ 7 w 15"/>
                <a:gd name="T1" fmla="*/ 2 h 11"/>
                <a:gd name="T2" fmla="*/ 0 w 15"/>
                <a:gd name="T3" fmla="*/ 10 h 11"/>
                <a:gd name="T4" fmla="*/ 11 w 15"/>
                <a:gd name="T5" fmla="*/ 10 h 11"/>
                <a:gd name="T6" fmla="*/ 13 w 15"/>
                <a:gd name="T7" fmla="*/ 8 h 11"/>
                <a:gd name="T8" fmla="*/ 13 w 15"/>
                <a:gd name="T9" fmla="*/ 3 h 11"/>
                <a:gd name="T10" fmla="*/ 7 w 15"/>
                <a:gd name="T11" fmla="*/ 2 h 11"/>
              </a:gdLst>
              <a:ahLst/>
              <a:cxnLst>
                <a:cxn ang="0">
                  <a:pos x="T0" y="T1"/>
                </a:cxn>
                <a:cxn ang="0">
                  <a:pos x="T2" y="T3"/>
                </a:cxn>
                <a:cxn ang="0">
                  <a:pos x="T4" y="T5"/>
                </a:cxn>
                <a:cxn ang="0">
                  <a:pos x="T6" y="T7"/>
                </a:cxn>
                <a:cxn ang="0">
                  <a:pos x="T8" y="T9"/>
                </a:cxn>
                <a:cxn ang="0">
                  <a:pos x="T10" y="T11"/>
                </a:cxn>
              </a:cxnLst>
              <a:rect l="0" t="0" r="r" b="b"/>
              <a:pathLst>
                <a:path w="15" h="11">
                  <a:moveTo>
                    <a:pt x="7" y="2"/>
                  </a:moveTo>
                  <a:cubicBezTo>
                    <a:pt x="4" y="4"/>
                    <a:pt x="1" y="6"/>
                    <a:pt x="0" y="10"/>
                  </a:cubicBezTo>
                  <a:cubicBezTo>
                    <a:pt x="4" y="11"/>
                    <a:pt x="7" y="11"/>
                    <a:pt x="11" y="10"/>
                  </a:cubicBezTo>
                  <a:cubicBezTo>
                    <a:pt x="12" y="10"/>
                    <a:pt x="13" y="9"/>
                    <a:pt x="13" y="8"/>
                  </a:cubicBezTo>
                  <a:cubicBezTo>
                    <a:pt x="15" y="7"/>
                    <a:pt x="14" y="4"/>
                    <a:pt x="13" y="3"/>
                  </a:cubicBezTo>
                  <a:cubicBezTo>
                    <a:pt x="11" y="1"/>
                    <a:pt x="8" y="0"/>
                    <a:pt x="7"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60"/>
            <p:cNvSpPr>
              <a:spLocks/>
            </p:cNvSpPr>
            <p:nvPr/>
          </p:nvSpPr>
          <p:spPr bwMode="auto">
            <a:xfrm>
              <a:off x="6730813" y="2230217"/>
              <a:ext cx="81527" cy="67034"/>
            </a:xfrm>
            <a:custGeom>
              <a:avLst/>
              <a:gdLst>
                <a:gd name="T0" fmla="*/ 32 w 38"/>
                <a:gd name="T1" fmla="*/ 0 h 31"/>
                <a:gd name="T2" fmla="*/ 24 w 38"/>
                <a:gd name="T3" fmla="*/ 2 h 31"/>
                <a:gd name="T4" fmla="*/ 18 w 38"/>
                <a:gd name="T5" fmla="*/ 5 h 31"/>
                <a:gd name="T6" fmla="*/ 16 w 38"/>
                <a:gd name="T7" fmla="*/ 7 h 31"/>
                <a:gd name="T8" fmla="*/ 14 w 38"/>
                <a:gd name="T9" fmla="*/ 7 h 31"/>
                <a:gd name="T10" fmla="*/ 0 w 38"/>
                <a:gd name="T11" fmla="*/ 22 h 31"/>
                <a:gd name="T12" fmla="*/ 2 w 38"/>
                <a:gd name="T13" fmla="*/ 26 h 31"/>
                <a:gd name="T14" fmla="*/ 4 w 38"/>
                <a:gd name="T15" fmla="*/ 30 h 31"/>
                <a:gd name="T16" fmla="*/ 7 w 38"/>
                <a:gd name="T17" fmla="*/ 30 h 31"/>
                <a:gd name="T18" fmla="*/ 26 w 38"/>
                <a:gd name="T19" fmla="*/ 19 h 31"/>
                <a:gd name="T20" fmla="*/ 35 w 38"/>
                <a:gd name="T21" fmla="*/ 13 h 31"/>
                <a:gd name="T22" fmla="*/ 38 w 38"/>
                <a:gd name="T23" fmla="*/ 6 h 31"/>
                <a:gd name="T24" fmla="*/ 35 w 38"/>
                <a:gd name="T25" fmla="*/ 3 h 31"/>
                <a:gd name="T26" fmla="*/ 32 w 38"/>
                <a:gd name="T27" fmla="*/ 0 h 31"/>
                <a:gd name="T28" fmla="*/ 32 w 38"/>
                <a:gd name="T29" fmla="*/ 0 h 31"/>
                <a:gd name="T30" fmla="*/ 31 w 38"/>
                <a:gd name="T31" fmla="*/ 0 h 31"/>
                <a:gd name="T32" fmla="*/ 32 w 38"/>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31">
                  <a:moveTo>
                    <a:pt x="32" y="0"/>
                  </a:moveTo>
                  <a:cubicBezTo>
                    <a:pt x="30" y="1"/>
                    <a:pt x="27" y="3"/>
                    <a:pt x="24" y="2"/>
                  </a:cubicBezTo>
                  <a:cubicBezTo>
                    <a:pt x="21" y="2"/>
                    <a:pt x="19" y="2"/>
                    <a:pt x="18" y="5"/>
                  </a:cubicBezTo>
                  <a:cubicBezTo>
                    <a:pt x="17" y="6"/>
                    <a:pt x="16" y="7"/>
                    <a:pt x="16" y="7"/>
                  </a:cubicBezTo>
                  <a:cubicBezTo>
                    <a:pt x="15" y="7"/>
                    <a:pt x="14" y="7"/>
                    <a:pt x="14" y="7"/>
                  </a:cubicBezTo>
                  <a:cubicBezTo>
                    <a:pt x="3" y="9"/>
                    <a:pt x="0" y="11"/>
                    <a:pt x="0" y="22"/>
                  </a:cubicBezTo>
                  <a:cubicBezTo>
                    <a:pt x="0" y="24"/>
                    <a:pt x="1" y="25"/>
                    <a:pt x="2" y="26"/>
                  </a:cubicBezTo>
                  <a:cubicBezTo>
                    <a:pt x="3" y="27"/>
                    <a:pt x="3" y="29"/>
                    <a:pt x="4" y="30"/>
                  </a:cubicBezTo>
                  <a:cubicBezTo>
                    <a:pt x="5" y="30"/>
                    <a:pt x="7" y="31"/>
                    <a:pt x="7" y="30"/>
                  </a:cubicBezTo>
                  <a:cubicBezTo>
                    <a:pt x="13" y="25"/>
                    <a:pt x="19" y="21"/>
                    <a:pt x="26" y="19"/>
                  </a:cubicBezTo>
                  <a:cubicBezTo>
                    <a:pt x="30" y="18"/>
                    <a:pt x="32" y="14"/>
                    <a:pt x="35" y="13"/>
                  </a:cubicBezTo>
                  <a:cubicBezTo>
                    <a:pt x="38" y="12"/>
                    <a:pt x="38" y="9"/>
                    <a:pt x="38" y="6"/>
                  </a:cubicBezTo>
                  <a:cubicBezTo>
                    <a:pt x="38" y="4"/>
                    <a:pt x="36" y="4"/>
                    <a:pt x="35" y="3"/>
                  </a:cubicBezTo>
                  <a:cubicBezTo>
                    <a:pt x="34" y="2"/>
                    <a:pt x="33" y="1"/>
                    <a:pt x="32" y="0"/>
                  </a:cubicBezTo>
                  <a:cubicBezTo>
                    <a:pt x="32" y="0"/>
                    <a:pt x="32" y="0"/>
                    <a:pt x="32" y="0"/>
                  </a:cubicBezTo>
                  <a:cubicBezTo>
                    <a:pt x="32" y="0"/>
                    <a:pt x="32" y="0"/>
                    <a:pt x="31" y="0"/>
                  </a:cubicBezTo>
                  <a:lnTo>
                    <a:pt x="32" y="0"/>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2"/>
            <p:cNvSpPr>
              <a:spLocks/>
            </p:cNvSpPr>
            <p:nvPr/>
          </p:nvSpPr>
          <p:spPr bwMode="auto">
            <a:xfrm>
              <a:off x="8994553" y="2041798"/>
              <a:ext cx="23552" cy="19929"/>
            </a:xfrm>
            <a:custGeom>
              <a:avLst/>
              <a:gdLst>
                <a:gd name="T0" fmla="*/ 9 w 11"/>
                <a:gd name="T1" fmla="*/ 8 h 9"/>
                <a:gd name="T2" fmla="*/ 11 w 11"/>
                <a:gd name="T3" fmla="*/ 6 h 9"/>
                <a:gd name="T4" fmla="*/ 11 w 11"/>
                <a:gd name="T5" fmla="*/ 3 h 9"/>
                <a:gd name="T6" fmla="*/ 4 w 11"/>
                <a:gd name="T7" fmla="*/ 0 h 9"/>
                <a:gd name="T8" fmla="*/ 0 w 11"/>
                <a:gd name="T9" fmla="*/ 2 h 9"/>
                <a:gd name="T10" fmla="*/ 2 w 11"/>
                <a:gd name="T11" fmla="*/ 6 h 9"/>
                <a:gd name="T12" fmla="*/ 9 w 11"/>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9" y="8"/>
                  </a:moveTo>
                  <a:cubicBezTo>
                    <a:pt x="10" y="8"/>
                    <a:pt x="11" y="6"/>
                    <a:pt x="11" y="6"/>
                  </a:cubicBezTo>
                  <a:cubicBezTo>
                    <a:pt x="11" y="5"/>
                    <a:pt x="11" y="4"/>
                    <a:pt x="11" y="3"/>
                  </a:cubicBezTo>
                  <a:cubicBezTo>
                    <a:pt x="9" y="1"/>
                    <a:pt x="7" y="0"/>
                    <a:pt x="4" y="0"/>
                  </a:cubicBezTo>
                  <a:cubicBezTo>
                    <a:pt x="2" y="0"/>
                    <a:pt x="1" y="1"/>
                    <a:pt x="0" y="2"/>
                  </a:cubicBezTo>
                  <a:cubicBezTo>
                    <a:pt x="0" y="4"/>
                    <a:pt x="0" y="5"/>
                    <a:pt x="2" y="6"/>
                  </a:cubicBezTo>
                  <a:cubicBezTo>
                    <a:pt x="4" y="8"/>
                    <a:pt x="6" y="9"/>
                    <a:pt x="9" y="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66"/>
            <p:cNvSpPr>
              <a:spLocks/>
            </p:cNvSpPr>
            <p:nvPr/>
          </p:nvSpPr>
          <p:spPr bwMode="auto">
            <a:xfrm>
              <a:off x="9966539" y="1063471"/>
              <a:ext cx="21741" cy="19023"/>
            </a:xfrm>
            <a:custGeom>
              <a:avLst/>
              <a:gdLst>
                <a:gd name="T0" fmla="*/ 3 w 10"/>
                <a:gd name="T1" fmla="*/ 8 h 9"/>
                <a:gd name="T2" fmla="*/ 7 w 10"/>
                <a:gd name="T3" fmla="*/ 9 h 9"/>
                <a:gd name="T4" fmla="*/ 9 w 10"/>
                <a:gd name="T5" fmla="*/ 6 h 9"/>
                <a:gd name="T6" fmla="*/ 6 w 10"/>
                <a:gd name="T7" fmla="*/ 0 h 9"/>
                <a:gd name="T8" fmla="*/ 2 w 10"/>
                <a:gd name="T9" fmla="*/ 3 h 9"/>
                <a:gd name="T10" fmla="*/ 3 w 10"/>
                <a:gd name="T11" fmla="*/ 8 h 9"/>
              </a:gdLst>
              <a:ahLst/>
              <a:cxnLst>
                <a:cxn ang="0">
                  <a:pos x="T0" y="T1"/>
                </a:cxn>
                <a:cxn ang="0">
                  <a:pos x="T2" y="T3"/>
                </a:cxn>
                <a:cxn ang="0">
                  <a:pos x="T4" y="T5"/>
                </a:cxn>
                <a:cxn ang="0">
                  <a:pos x="T6" y="T7"/>
                </a:cxn>
                <a:cxn ang="0">
                  <a:pos x="T8" y="T9"/>
                </a:cxn>
                <a:cxn ang="0">
                  <a:pos x="T10" y="T11"/>
                </a:cxn>
              </a:cxnLst>
              <a:rect l="0" t="0" r="r" b="b"/>
              <a:pathLst>
                <a:path w="10" h="9">
                  <a:moveTo>
                    <a:pt x="3" y="8"/>
                  </a:moveTo>
                  <a:cubicBezTo>
                    <a:pt x="4" y="8"/>
                    <a:pt x="5" y="8"/>
                    <a:pt x="7" y="9"/>
                  </a:cubicBezTo>
                  <a:cubicBezTo>
                    <a:pt x="8" y="8"/>
                    <a:pt x="9" y="7"/>
                    <a:pt x="9" y="6"/>
                  </a:cubicBezTo>
                  <a:cubicBezTo>
                    <a:pt x="10" y="3"/>
                    <a:pt x="9" y="1"/>
                    <a:pt x="6" y="0"/>
                  </a:cubicBezTo>
                  <a:cubicBezTo>
                    <a:pt x="5" y="0"/>
                    <a:pt x="3" y="1"/>
                    <a:pt x="2" y="3"/>
                  </a:cubicBezTo>
                  <a:cubicBezTo>
                    <a:pt x="0" y="5"/>
                    <a:pt x="1" y="7"/>
                    <a:pt x="3" y="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68"/>
            <p:cNvSpPr>
              <a:spLocks/>
            </p:cNvSpPr>
            <p:nvPr/>
          </p:nvSpPr>
          <p:spPr bwMode="auto">
            <a:xfrm>
              <a:off x="8405745" y="1879650"/>
              <a:ext cx="21741" cy="20835"/>
            </a:xfrm>
            <a:custGeom>
              <a:avLst/>
              <a:gdLst>
                <a:gd name="T0" fmla="*/ 8 w 10"/>
                <a:gd name="T1" fmla="*/ 0 h 10"/>
                <a:gd name="T2" fmla="*/ 2 w 10"/>
                <a:gd name="T3" fmla="*/ 3 h 10"/>
                <a:gd name="T4" fmla="*/ 0 w 10"/>
                <a:gd name="T5" fmla="*/ 8 h 10"/>
                <a:gd name="T6" fmla="*/ 3 w 10"/>
                <a:gd name="T7" fmla="*/ 10 h 10"/>
                <a:gd name="T8" fmla="*/ 10 w 10"/>
                <a:gd name="T9" fmla="*/ 2 h 10"/>
                <a:gd name="T10" fmla="*/ 9 w 10"/>
                <a:gd name="T11" fmla="*/ 0 h 10"/>
                <a:gd name="T12" fmla="*/ 8 w 1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8" y="0"/>
                  </a:moveTo>
                  <a:cubicBezTo>
                    <a:pt x="6" y="1"/>
                    <a:pt x="4" y="2"/>
                    <a:pt x="2" y="3"/>
                  </a:cubicBezTo>
                  <a:cubicBezTo>
                    <a:pt x="0" y="4"/>
                    <a:pt x="0" y="6"/>
                    <a:pt x="0" y="8"/>
                  </a:cubicBezTo>
                  <a:cubicBezTo>
                    <a:pt x="1" y="9"/>
                    <a:pt x="2" y="10"/>
                    <a:pt x="3" y="10"/>
                  </a:cubicBezTo>
                  <a:cubicBezTo>
                    <a:pt x="6" y="8"/>
                    <a:pt x="9" y="5"/>
                    <a:pt x="10" y="2"/>
                  </a:cubicBezTo>
                  <a:cubicBezTo>
                    <a:pt x="9" y="1"/>
                    <a:pt x="9" y="1"/>
                    <a:pt x="9" y="0"/>
                  </a:cubicBezTo>
                  <a:cubicBezTo>
                    <a:pt x="9" y="0"/>
                    <a:pt x="8" y="0"/>
                    <a:pt x="8"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69"/>
            <p:cNvSpPr>
              <a:spLocks/>
            </p:cNvSpPr>
            <p:nvPr/>
          </p:nvSpPr>
          <p:spPr bwMode="auto">
            <a:xfrm>
              <a:off x="8682032" y="1356970"/>
              <a:ext cx="20835" cy="12682"/>
            </a:xfrm>
            <a:custGeom>
              <a:avLst/>
              <a:gdLst>
                <a:gd name="T0" fmla="*/ 10 w 10"/>
                <a:gd name="T1" fmla="*/ 1 h 6"/>
                <a:gd name="T2" fmla="*/ 9 w 10"/>
                <a:gd name="T3" fmla="*/ 0 h 6"/>
                <a:gd name="T4" fmla="*/ 0 w 10"/>
                <a:gd name="T5" fmla="*/ 2 h 6"/>
                <a:gd name="T6" fmla="*/ 0 w 10"/>
                <a:gd name="T7" fmla="*/ 4 h 6"/>
                <a:gd name="T8" fmla="*/ 4 w 10"/>
                <a:gd name="T9" fmla="*/ 6 h 6"/>
                <a:gd name="T10" fmla="*/ 10 w 10"/>
                <a:gd name="T11" fmla="*/ 3 h 6"/>
                <a:gd name="T12" fmla="*/ 10 w 10"/>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1"/>
                  </a:moveTo>
                  <a:cubicBezTo>
                    <a:pt x="10" y="1"/>
                    <a:pt x="9" y="1"/>
                    <a:pt x="9" y="0"/>
                  </a:cubicBezTo>
                  <a:cubicBezTo>
                    <a:pt x="6" y="0"/>
                    <a:pt x="3" y="0"/>
                    <a:pt x="0" y="2"/>
                  </a:cubicBezTo>
                  <a:cubicBezTo>
                    <a:pt x="0" y="2"/>
                    <a:pt x="0" y="4"/>
                    <a:pt x="0" y="4"/>
                  </a:cubicBezTo>
                  <a:cubicBezTo>
                    <a:pt x="1" y="5"/>
                    <a:pt x="3" y="6"/>
                    <a:pt x="4" y="6"/>
                  </a:cubicBezTo>
                  <a:cubicBezTo>
                    <a:pt x="6" y="5"/>
                    <a:pt x="8" y="4"/>
                    <a:pt x="10" y="3"/>
                  </a:cubicBezTo>
                  <a:cubicBezTo>
                    <a:pt x="10" y="2"/>
                    <a:pt x="10" y="2"/>
                    <a:pt x="1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70"/>
            <p:cNvSpPr>
              <a:spLocks/>
            </p:cNvSpPr>
            <p:nvPr/>
          </p:nvSpPr>
          <p:spPr bwMode="auto">
            <a:xfrm>
              <a:off x="8688373" y="1369652"/>
              <a:ext cx="1812" cy="1812"/>
            </a:xfrm>
            <a:custGeom>
              <a:avLst/>
              <a:gdLst>
                <a:gd name="T0" fmla="*/ 1 w 1"/>
                <a:gd name="T1" fmla="*/ 0 h 1"/>
                <a:gd name="T2" fmla="*/ 0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0" y="1"/>
                  </a:cubicBezTo>
                  <a:cubicBezTo>
                    <a:pt x="0" y="1"/>
                    <a:pt x="1" y="1"/>
                    <a:pt x="1" y="1"/>
                  </a:cubicBezTo>
                  <a:cubicBezTo>
                    <a:pt x="1" y="1"/>
                    <a:pt x="1" y="1"/>
                    <a:pt x="1" y="0"/>
                  </a:cubicBezTo>
                  <a:cubicBezTo>
                    <a:pt x="1"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71"/>
            <p:cNvSpPr>
              <a:spLocks/>
            </p:cNvSpPr>
            <p:nvPr/>
          </p:nvSpPr>
          <p:spPr bwMode="auto">
            <a:xfrm>
              <a:off x="8726419" y="2118796"/>
              <a:ext cx="15400" cy="21741"/>
            </a:xfrm>
            <a:custGeom>
              <a:avLst/>
              <a:gdLst>
                <a:gd name="T0" fmla="*/ 2 w 7"/>
                <a:gd name="T1" fmla="*/ 0 h 10"/>
                <a:gd name="T2" fmla="*/ 0 w 7"/>
                <a:gd name="T3" fmla="*/ 2 h 10"/>
                <a:gd name="T4" fmla="*/ 0 w 7"/>
                <a:gd name="T5" fmla="*/ 5 h 10"/>
                <a:gd name="T6" fmla="*/ 4 w 7"/>
                <a:gd name="T7" fmla="*/ 9 h 10"/>
                <a:gd name="T8" fmla="*/ 6 w 7"/>
                <a:gd name="T9" fmla="*/ 10 h 10"/>
                <a:gd name="T10" fmla="*/ 7 w 7"/>
                <a:gd name="T11" fmla="*/ 8 h 10"/>
                <a:gd name="T12" fmla="*/ 2 w 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2" y="0"/>
                  </a:moveTo>
                  <a:cubicBezTo>
                    <a:pt x="1" y="1"/>
                    <a:pt x="0" y="1"/>
                    <a:pt x="0" y="2"/>
                  </a:cubicBezTo>
                  <a:cubicBezTo>
                    <a:pt x="0" y="3"/>
                    <a:pt x="0" y="4"/>
                    <a:pt x="0" y="5"/>
                  </a:cubicBezTo>
                  <a:cubicBezTo>
                    <a:pt x="1" y="7"/>
                    <a:pt x="3" y="8"/>
                    <a:pt x="4" y="9"/>
                  </a:cubicBezTo>
                  <a:cubicBezTo>
                    <a:pt x="5" y="10"/>
                    <a:pt x="5" y="10"/>
                    <a:pt x="6" y="10"/>
                  </a:cubicBezTo>
                  <a:cubicBezTo>
                    <a:pt x="7" y="9"/>
                    <a:pt x="7" y="9"/>
                    <a:pt x="7" y="8"/>
                  </a:cubicBezTo>
                  <a:cubicBezTo>
                    <a:pt x="6" y="5"/>
                    <a:pt x="5" y="2"/>
                    <a:pt x="2"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72"/>
            <p:cNvSpPr>
              <a:spLocks/>
            </p:cNvSpPr>
            <p:nvPr/>
          </p:nvSpPr>
          <p:spPr bwMode="auto">
            <a:xfrm>
              <a:off x="8711925" y="1470202"/>
              <a:ext cx="0" cy="1812"/>
            </a:xfrm>
            <a:custGeom>
              <a:avLst/>
              <a:gdLst>
                <a:gd name="T0" fmla="*/ 1 h 1"/>
                <a:gd name="T1" fmla="*/ 0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0"/>
                  </a:cubicBezTo>
                  <a:cubicBezTo>
                    <a:pt x="0" y="0"/>
                    <a:pt x="0" y="0"/>
                    <a:pt x="0" y="0"/>
                  </a:cubicBezTo>
                  <a:cubicBezTo>
                    <a:pt x="0" y="1"/>
                    <a:pt x="0" y="1"/>
                    <a:pt x="0" y="1"/>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73"/>
            <p:cNvSpPr>
              <a:spLocks/>
            </p:cNvSpPr>
            <p:nvPr/>
          </p:nvSpPr>
          <p:spPr bwMode="auto">
            <a:xfrm>
              <a:off x="8960130" y="1964800"/>
              <a:ext cx="12682" cy="12682"/>
            </a:xfrm>
            <a:custGeom>
              <a:avLst/>
              <a:gdLst>
                <a:gd name="T0" fmla="*/ 6 w 6"/>
                <a:gd name="T1" fmla="*/ 1 h 6"/>
                <a:gd name="T2" fmla="*/ 4 w 6"/>
                <a:gd name="T3" fmla="*/ 0 h 6"/>
                <a:gd name="T4" fmla="*/ 0 w 6"/>
                <a:gd name="T5" fmla="*/ 2 h 6"/>
                <a:gd name="T6" fmla="*/ 2 w 6"/>
                <a:gd name="T7" fmla="*/ 6 h 6"/>
                <a:gd name="T8" fmla="*/ 5 w 6"/>
                <a:gd name="T9" fmla="*/ 5 h 6"/>
                <a:gd name="T10" fmla="*/ 6 w 6"/>
                <a:gd name="T11" fmla="*/ 1 h 6"/>
              </a:gdLst>
              <a:ahLst/>
              <a:cxnLst>
                <a:cxn ang="0">
                  <a:pos x="T0" y="T1"/>
                </a:cxn>
                <a:cxn ang="0">
                  <a:pos x="T2" y="T3"/>
                </a:cxn>
                <a:cxn ang="0">
                  <a:pos x="T4" y="T5"/>
                </a:cxn>
                <a:cxn ang="0">
                  <a:pos x="T6" y="T7"/>
                </a:cxn>
                <a:cxn ang="0">
                  <a:pos x="T8" y="T9"/>
                </a:cxn>
                <a:cxn ang="0">
                  <a:pos x="T10" y="T11"/>
                </a:cxn>
              </a:cxnLst>
              <a:rect l="0" t="0" r="r" b="b"/>
              <a:pathLst>
                <a:path w="6" h="6">
                  <a:moveTo>
                    <a:pt x="6" y="1"/>
                  </a:moveTo>
                  <a:cubicBezTo>
                    <a:pt x="6" y="0"/>
                    <a:pt x="4" y="0"/>
                    <a:pt x="4" y="0"/>
                  </a:cubicBezTo>
                  <a:cubicBezTo>
                    <a:pt x="2" y="0"/>
                    <a:pt x="0" y="1"/>
                    <a:pt x="0" y="2"/>
                  </a:cubicBezTo>
                  <a:cubicBezTo>
                    <a:pt x="0" y="3"/>
                    <a:pt x="1" y="5"/>
                    <a:pt x="2" y="6"/>
                  </a:cubicBezTo>
                  <a:cubicBezTo>
                    <a:pt x="3" y="5"/>
                    <a:pt x="5" y="5"/>
                    <a:pt x="5" y="5"/>
                  </a:cubicBezTo>
                  <a:cubicBezTo>
                    <a:pt x="6" y="3"/>
                    <a:pt x="6" y="2"/>
                    <a:pt x="6"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75"/>
            <p:cNvSpPr>
              <a:spLocks/>
            </p:cNvSpPr>
            <p:nvPr/>
          </p:nvSpPr>
          <p:spPr bwMode="auto">
            <a:xfrm>
              <a:off x="9911281" y="1110576"/>
              <a:ext cx="12682" cy="12682"/>
            </a:xfrm>
            <a:custGeom>
              <a:avLst/>
              <a:gdLst>
                <a:gd name="T0" fmla="*/ 4 w 6"/>
                <a:gd name="T1" fmla="*/ 6 h 6"/>
                <a:gd name="T2" fmla="*/ 5 w 6"/>
                <a:gd name="T3" fmla="*/ 5 h 6"/>
                <a:gd name="T4" fmla="*/ 2 w 6"/>
                <a:gd name="T5" fmla="*/ 0 h 6"/>
                <a:gd name="T6" fmla="*/ 1 w 6"/>
                <a:gd name="T7" fmla="*/ 1 h 6"/>
                <a:gd name="T8" fmla="*/ 1 w 6"/>
                <a:gd name="T9" fmla="*/ 5 h 6"/>
                <a:gd name="T10" fmla="*/ 4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4" y="6"/>
                  </a:moveTo>
                  <a:cubicBezTo>
                    <a:pt x="4" y="6"/>
                    <a:pt x="5" y="5"/>
                    <a:pt x="5" y="5"/>
                  </a:cubicBezTo>
                  <a:cubicBezTo>
                    <a:pt x="6" y="3"/>
                    <a:pt x="4" y="1"/>
                    <a:pt x="2" y="0"/>
                  </a:cubicBezTo>
                  <a:cubicBezTo>
                    <a:pt x="2" y="0"/>
                    <a:pt x="1" y="1"/>
                    <a:pt x="1" y="1"/>
                  </a:cubicBezTo>
                  <a:cubicBezTo>
                    <a:pt x="0" y="2"/>
                    <a:pt x="0" y="3"/>
                    <a:pt x="1" y="5"/>
                  </a:cubicBezTo>
                  <a:cubicBezTo>
                    <a:pt x="2" y="5"/>
                    <a:pt x="3" y="6"/>
                    <a:pt x="4"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76"/>
            <p:cNvSpPr>
              <a:spLocks/>
            </p:cNvSpPr>
            <p:nvPr/>
          </p:nvSpPr>
          <p:spPr bwMode="auto">
            <a:xfrm>
              <a:off x="8748159" y="1879650"/>
              <a:ext cx="19023" cy="9964"/>
            </a:xfrm>
            <a:custGeom>
              <a:avLst/>
              <a:gdLst>
                <a:gd name="T0" fmla="*/ 1 w 9"/>
                <a:gd name="T1" fmla="*/ 1 h 5"/>
                <a:gd name="T2" fmla="*/ 3 w 9"/>
                <a:gd name="T3" fmla="*/ 4 h 5"/>
                <a:gd name="T4" fmla="*/ 9 w 9"/>
                <a:gd name="T5" fmla="*/ 1 h 5"/>
                <a:gd name="T6" fmla="*/ 3 w 9"/>
                <a:gd name="T7" fmla="*/ 0 h 5"/>
                <a:gd name="T8" fmla="*/ 1 w 9"/>
                <a:gd name="T9" fmla="*/ 1 h 5"/>
              </a:gdLst>
              <a:ahLst/>
              <a:cxnLst>
                <a:cxn ang="0">
                  <a:pos x="T0" y="T1"/>
                </a:cxn>
                <a:cxn ang="0">
                  <a:pos x="T2" y="T3"/>
                </a:cxn>
                <a:cxn ang="0">
                  <a:pos x="T4" y="T5"/>
                </a:cxn>
                <a:cxn ang="0">
                  <a:pos x="T6" y="T7"/>
                </a:cxn>
                <a:cxn ang="0">
                  <a:pos x="T8" y="T9"/>
                </a:cxn>
              </a:cxnLst>
              <a:rect l="0" t="0" r="r" b="b"/>
              <a:pathLst>
                <a:path w="9" h="5">
                  <a:moveTo>
                    <a:pt x="1" y="1"/>
                  </a:moveTo>
                  <a:cubicBezTo>
                    <a:pt x="0" y="2"/>
                    <a:pt x="1" y="4"/>
                    <a:pt x="3" y="4"/>
                  </a:cubicBezTo>
                  <a:cubicBezTo>
                    <a:pt x="6" y="5"/>
                    <a:pt x="8" y="4"/>
                    <a:pt x="9" y="1"/>
                  </a:cubicBezTo>
                  <a:cubicBezTo>
                    <a:pt x="7" y="1"/>
                    <a:pt x="5" y="0"/>
                    <a:pt x="3" y="0"/>
                  </a:cubicBezTo>
                  <a:cubicBezTo>
                    <a:pt x="3" y="0"/>
                    <a:pt x="1" y="0"/>
                    <a:pt x="1"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77"/>
            <p:cNvSpPr>
              <a:spLocks/>
            </p:cNvSpPr>
            <p:nvPr/>
          </p:nvSpPr>
          <p:spPr bwMode="auto">
            <a:xfrm>
              <a:off x="8767182" y="1881462"/>
              <a:ext cx="2718"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1" y="0"/>
                    <a:pt x="1" y="0"/>
                  </a:cubicBezTo>
                  <a:cubicBezTo>
                    <a:pt x="1" y="0"/>
                    <a:pt x="1" y="0"/>
                    <a:pt x="1" y="0"/>
                  </a:cubicBezTo>
                  <a:cubicBezTo>
                    <a:pt x="1" y="0"/>
                    <a:pt x="0" y="0"/>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78"/>
            <p:cNvSpPr>
              <a:spLocks/>
            </p:cNvSpPr>
            <p:nvPr/>
          </p:nvSpPr>
          <p:spPr bwMode="auto">
            <a:xfrm>
              <a:off x="9294392" y="1448461"/>
              <a:ext cx="12682" cy="10870"/>
            </a:xfrm>
            <a:custGeom>
              <a:avLst/>
              <a:gdLst>
                <a:gd name="T0" fmla="*/ 6 w 6"/>
                <a:gd name="T1" fmla="*/ 2 h 5"/>
                <a:gd name="T2" fmla="*/ 2 w 6"/>
                <a:gd name="T3" fmla="*/ 1 h 5"/>
                <a:gd name="T4" fmla="*/ 0 w 6"/>
                <a:gd name="T5" fmla="*/ 2 h 5"/>
                <a:gd name="T6" fmla="*/ 0 w 6"/>
                <a:gd name="T7" fmla="*/ 3 h 5"/>
                <a:gd name="T8" fmla="*/ 4 w 6"/>
                <a:gd name="T9" fmla="*/ 5 h 5"/>
                <a:gd name="T10" fmla="*/ 6 w 6"/>
                <a:gd name="T11" fmla="*/ 4 h 5"/>
                <a:gd name="T12" fmla="*/ 6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6" y="2"/>
                  </a:moveTo>
                  <a:cubicBezTo>
                    <a:pt x="5" y="1"/>
                    <a:pt x="3" y="0"/>
                    <a:pt x="2" y="1"/>
                  </a:cubicBezTo>
                  <a:cubicBezTo>
                    <a:pt x="1" y="1"/>
                    <a:pt x="1" y="1"/>
                    <a:pt x="0" y="2"/>
                  </a:cubicBezTo>
                  <a:cubicBezTo>
                    <a:pt x="0" y="2"/>
                    <a:pt x="0" y="3"/>
                    <a:pt x="0" y="3"/>
                  </a:cubicBezTo>
                  <a:cubicBezTo>
                    <a:pt x="1" y="5"/>
                    <a:pt x="2" y="5"/>
                    <a:pt x="4" y="5"/>
                  </a:cubicBezTo>
                  <a:cubicBezTo>
                    <a:pt x="5" y="5"/>
                    <a:pt x="6" y="4"/>
                    <a:pt x="6" y="4"/>
                  </a:cubicBezTo>
                  <a:cubicBezTo>
                    <a:pt x="6" y="3"/>
                    <a:pt x="6" y="2"/>
                    <a:pt x="6"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80"/>
            <p:cNvSpPr>
              <a:spLocks/>
            </p:cNvSpPr>
            <p:nvPr/>
          </p:nvSpPr>
          <p:spPr bwMode="auto">
            <a:xfrm>
              <a:off x="9107785" y="1523647"/>
              <a:ext cx="0" cy="1812"/>
            </a:xfrm>
            <a:custGeom>
              <a:avLst/>
              <a:gdLst>
                <a:gd name="T0" fmla="*/ 1 h 1"/>
                <a:gd name="T1" fmla="*/ 1 h 1"/>
                <a:gd name="T2" fmla="*/ 0 h 1"/>
                <a:gd name="T3" fmla="*/ 0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1"/>
                  </a:cubicBezTo>
                  <a:cubicBezTo>
                    <a:pt x="0" y="1"/>
                    <a:pt x="0" y="1"/>
                    <a:pt x="0" y="0"/>
                  </a:cubicBezTo>
                  <a:cubicBezTo>
                    <a:pt x="0" y="0"/>
                    <a:pt x="0" y="0"/>
                    <a:pt x="0" y="0"/>
                  </a:cubicBezTo>
                  <a:cubicBezTo>
                    <a:pt x="0" y="1"/>
                    <a:pt x="0" y="1"/>
                    <a:pt x="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81"/>
            <p:cNvSpPr>
              <a:spLocks/>
            </p:cNvSpPr>
            <p:nvPr/>
          </p:nvSpPr>
          <p:spPr bwMode="auto">
            <a:xfrm>
              <a:off x="9096915" y="1523647"/>
              <a:ext cx="10870" cy="12682"/>
            </a:xfrm>
            <a:custGeom>
              <a:avLst/>
              <a:gdLst>
                <a:gd name="T0" fmla="*/ 1 w 5"/>
                <a:gd name="T1" fmla="*/ 6 h 6"/>
                <a:gd name="T2" fmla="*/ 4 w 5"/>
                <a:gd name="T3" fmla="*/ 5 h 6"/>
                <a:gd name="T4" fmla="*/ 5 w 5"/>
                <a:gd name="T5" fmla="*/ 1 h 6"/>
                <a:gd name="T6" fmla="*/ 1 w 5"/>
                <a:gd name="T7" fmla="*/ 2 h 6"/>
                <a:gd name="T8" fmla="*/ 1 w 5"/>
                <a:gd name="T9" fmla="*/ 6 h 6"/>
              </a:gdLst>
              <a:ahLst/>
              <a:cxnLst>
                <a:cxn ang="0">
                  <a:pos x="T0" y="T1"/>
                </a:cxn>
                <a:cxn ang="0">
                  <a:pos x="T2" y="T3"/>
                </a:cxn>
                <a:cxn ang="0">
                  <a:pos x="T4" y="T5"/>
                </a:cxn>
                <a:cxn ang="0">
                  <a:pos x="T6" y="T7"/>
                </a:cxn>
                <a:cxn ang="0">
                  <a:pos x="T8" y="T9"/>
                </a:cxn>
              </a:cxnLst>
              <a:rect l="0" t="0" r="r" b="b"/>
              <a:pathLst>
                <a:path w="5" h="6">
                  <a:moveTo>
                    <a:pt x="1" y="6"/>
                  </a:moveTo>
                  <a:cubicBezTo>
                    <a:pt x="2" y="6"/>
                    <a:pt x="4" y="5"/>
                    <a:pt x="4" y="5"/>
                  </a:cubicBezTo>
                  <a:cubicBezTo>
                    <a:pt x="5" y="4"/>
                    <a:pt x="5" y="2"/>
                    <a:pt x="5" y="1"/>
                  </a:cubicBezTo>
                  <a:cubicBezTo>
                    <a:pt x="3" y="0"/>
                    <a:pt x="2" y="1"/>
                    <a:pt x="1" y="2"/>
                  </a:cubicBezTo>
                  <a:cubicBezTo>
                    <a:pt x="0" y="3"/>
                    <a:pt x="0" y="6"/>
                    <a:pt x="1"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82"/>
            <p:cNvSpPr>
              <a:spLocks/>
            </p:cNvSpPr>
            <p:nvPr/>
          </p:nvSpPr>
          <p:spPr bwMode="auto">
            <a:xfrm>
              <a:off x="9566149" y="2010093"/>
              <a:ext cx="9059" cy="12682"/>
            </a:xfrm>
            <a:custGeom>
              <a:avLst/>
              <a:gdLst>
                <a:gd name="T0" fmla="*/ 4 w 4"/>
                <a:gd name="T1" fmla="*/ 2 h 6"/>
                <a:gd name="T2" fmla="*/ 1 w 4"/>
                <a:gd name="T3" fmla="*/ 0 h 6"/>
                <a:gd name="T4" fmla="*/ 0 w 4"/>
                <a:gd name="T5" fmla="*/ 1 h 6"/>
                <a:gd name="T6" fmla="*/ 0 w 4"/>
                <a:gd name="T7" fmla="*/ 4 h 6"/>
                <a:gd name="T8" fmla="*/ 4 w 4"/>
                <a:gd name="T9" fmla="*/ 6 h 6"/>
                <a:gd name="T10" fmla="*/ 4 w 4"/>
                <a:gd name="T11" fmla="*/ 3 h 6"/>
                <a:gd name="T12" fmla="*/ 4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2"/>
                  </a:moveTo>
                  <a:cubicBezTo>
                    <a:pt x="3" y="0"/>
                    <a:pt x="3" y="0"/>
                    <a:pt x="1" y="0"/>
                  </a:cubicBezTo>
                  <a:cubicBezTo>
                    <a:pt x="1" y="1"/>
                    <a:pt x="0" y="1"/>
                    <a:pt x="0" y="1"/>
                  </a:cubicBezTo>
                  <a:cubicBezTo>
                    <a:pt x="0" y="2"/>
                    <a:pt x="0" y="4"/>
                    <a:pt x="0" y="4"/>
                  </a:cubicBezTo>
                  <a:cubicBezTo>
                    <a:pt x="2" y="5"/>
                    <a:pt x="3" y="5"/>
                    <a:pt x="4" y="6"/>
                  </a:cubicBezTo>
                  <a:cubicBezTo>
                    <a:pt x="4" y="5"/>
                    <a:pt x="4" y="4"/>
                    <a:pt x="4" y="3"/>
                  </a:cubicBezTo>
                  <a:cubicBezTo>
                    <a:pt x="4" y="3"/>
                    <a:pt x="4" y="2"/>
                    <a:pt x="4"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85"/>
            <p:cNvSpPr>
              <a:spLocks/>
            </p:cNvSpPr>
            <p:nvPr/>
          </p:nvSpPr>
          <p:spPr bwMode="auto">
            <a:xfrm>
              <a:off x="9934834" y="1069812"/>
              <a:ext cx="10870" cy="8153"/>
            </a:xfrm>
            <a:custGeom>
              <a:avLst/>
              <a:gdLst>
                <a:gd name="T0" fmla="*/ 3 w 5"/>
                <a:gd name="T1" fmla="*/ 4 h 4"/>
                <a:gd name="T2" fmla="*/ 5 w 5"/>
                <a:gd name="T3" fmla="*/ 2 h 4"/>
                <a:gd name="T4" fmla="*/ 3 w 5"/>
                <a:gd name="T5" fmla="*/ 0 h 4"/>
                <a:gd name="T6" fmla="*/ 1 w 5"/>
                <a:gd name="T7" fmla="*/ 0 h 4"/>
                <a:gd name="T8" fmla="*/ 1 w 5"/>
                <a:gd name="T9" fmla="*/ 3 h 4"/>
                <a:gd name="T10" fmla="*/ 3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3" y="4"/>
                  </a:moveTo>
                  <a:cubicBezTo>
                    <a:pt x="4" y="4"/>
                    <a:pt x="5" y="3"/>
                    <a:pt x="5" y="2"/>
                  </a:cubicBezTo>
                  <a:cubicBezTo>
                    <a:pt x="4" y="1"/>
                    <a:pt x="3" y="1"/>
                    <a:pt x="3" y="0"/>
                  </a:cubicBezTo>
                  <a:cubicBezTo>
                    <a:pt x="2" y="0"/>
                    <a:pt x="1" y="0"/>
                    <a:pt x="1" y="0"/>
                  </a:cubicBezTo>
                  <a:cubicBezTo>
                    <a:pt x="0" y="1"/>
                    <a:pt x="0" y="2"/>
                    <a:pt x="1" y="3"/>
                  </a:cubicBezTo>
                  <a:cubicBezTo>
                    <a:pt x="1" y="3"/>
                    <a:pt x="2" y="4"/>
                    <a:pt x="3" y="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87"/>
            <p:cNvSpPr>
              <a:spLocks/>
            </p:cNvSpPr>
            <p:nvPr/>
          </p:nvSpPr>
          <p:spPr bwMode="auto">
            <a:xfrm>
              <a:off x="8354111" y="1896861"/>
              <a:ext cx="9059" cy="6341"/>
            </a:xfrm>
            <a:custGeom>
              <a:avLst/>
              <a:gdLst>
                <a:gd name="T0" fmla="*/ 1 w 4"/>
                <a:gd name="T1" fmla="*/ 2 h 3"/>
                <a:gd name="T2" fmla="*/ 2 w 4"/>
                <a:gd name="T3" fmla="*/ 3 h 3"/>
                <a:gd name="T4" fmla="*/ 4 w 4"/>
                <a:gd name="T5" fmla="*/ 1 h 3"/>
                <a:gd name="T6" fmla="*/ 2 w 4"/>
                <a:gd name="T7" fmla="*/ 0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1" y="2"/>
                    <a:pt x="1" y="3"/>
                    <a:pt x="2" y="3"/>
                  </a:cubicBezTo>
                  <a:cubicBezTo>
                    <a:pt x="3" y="3"/>
                    <a:pt x="4" y="3"/>
                    <a:pt x="4" y="1"/>
                  </a:cubicBezTo>
                  <a:cubicBezTo>
                    <a:pt x="4" y="0"/>
                    <a:pt x="3" y="0"/>
                    <a:pt x="2" y="0"/>
                  </a:cubicBezTo>
                  <a:cubicBezTo>
                    <a:pt x="1" y="0"/>
                    <a:pt x="0" y="1"/>
                    <a:pt x="1"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88"/>
            <p:cNvSpPr>
              <a:spLocks/>
            </p:cNvSpPr>
            <p:nvPr/>
          </p:nvSpPr>
          <p:spPr bwMode="auto">
            <a:xfrm>
              <a:off x="9529915" y="1924037"/>
              <a:ext cx="8153" cy="9059"/>
            </a:xfrm>
            <a:custGeom>
              <a:avLst/>
              <a:gdLst>
                <a:gd name="T0" fmla="*/ 4 w 4"/>
                <a:gd name="T1" fmla="*/ 3 h 4"/>
                <a:gd name="T2" fmla="*/ 3 w 4"/>
                <a:gd name="T3" fmla="*/ 0 h 4"/>
                <a:gd name="T4" fmla="*/ 1 w 4"/>
                <a:gd name="T5" fmla="*/ 1 h 4"/>
                <a:gd name="T6" fmla="*/ 2 w 4"/>
                <a:gd name="T7" fmla="*/ 4 h 4"/>
                <a:gd name="T8" fmla="*/ 4 w 4"/>
                <a:gd name="T9" fmla="*/ 3 h 4"/>
              </a:gdLst>
              <a:ahLst/>
              <a:cxnLst>
                <a:cxn ang="0">
                  <a:pos x="T0" y="T1"/>
                </a:cxn>
                <a:cxn ang="0">
                  <a:pos x="T2" y="T3"/>
                </a:cxn>
                <a:cxn ang="0">
                  <a:pos x="T4" y="T5"/>
                </a:cxn>
                <a:cxn ang="0">
                  <a:pos x="T6" y="T7"/>
                </a:cxn>
                <a:cxn ang="0">
                  <a:pos x="T8" y="T9"/>
                </a:cxn>
              </a:cxnLst>
              <a:rect l="0" t="0" r="r" b="b"/>
              <a:pathLst>
                <a:path w="4" h="4">
                  <a:moveTo>
                    <a:pt x="4" y="3"/>
                  </a:moveTo>
                  <a:cubicBezTo>
                    <a:pt x="4" y="2"/>
                    <a:pt x="4" y="1"/>
                    <a:pt x="3" y="0"/>
                  </a:cubicBezTo>
                  <a:cubicBezTo>
                    <a:pt x="3" y="0"/>
                    <a:pt x="2" y="1"/>
                    <a:pt x="1" y="1"/>
                  </a:cubicBezTo>
                  <a:cubicBezTo>
                    <a:pt x="0" y="2"/>
                    <a:pt x="1" y="3"/>
                    <a:pt x="2" y="4"/>
                  </a:cubicBezTo>
                  <a:cubicBezTo>
                    <a:pt x="3" y="4"/>
                    <a:pt x="4" y="4"/>
                    <a:pt x="4"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89"/>
            <p:cNvSpPr>
              <a:spLocks/>
            </p:cNvSpPr>
            <p:nvPr/>
          </p:nvSpPr>
          <p:spPr bwMode="auto">
            <a:xfrm>
              <a:off x="8363169" y="3826339"/>
              <a:ext cx="8153" cy="10870"/>
            </a:xfrm>
            <a:custGeom>
              <a:avLst/>
              <a:gdLst>
                <a:gd name="T0" fmla="*/ 0 w 4"/>
                <a:gd name="T1" fmla="*/ 2 h 5"/>
                <a:gd name="T2" fmla="*/ 1 w 4"/>
                <a:gd name="T3" fmla="*/ 5 h 5"/>
                <a:gd name="T4" fmla="*/ 4 w 4"/>
                <a:gd name="T5" fmla="*/ 4 h 5"/>
                <a:gd name="T6" fmla="*/ 3 w 4"/>
                <a:gd name="T7" fmla="*/ 1 h 5"/>
                <a:gd name="T8" fmla="*/ 0 w 4"/>
                <a:gd name="T9" fmla="*/ 2 h 5"/>
              </a:gdLst>
              <a:ahLst/>
              <a:cxnLst>
                <a:cxn ang="0">
                  <a:pos x="T0" y="T1"/>
                </a:cxn>
                <a:cxn ang="0">
                  <a:pos x="T2" y="T3"/>
                </a:cxn>
                <a:cxn ang="0">
                  <a:pos x="T4" y="T5"/>
                </a:cxn>
                <a:cxn ang="0">
                  <a:pos x="T6" y="T7"/>
                </a:cxn>
                <a:cxn ang="0">
                  <a:pos x="T8" y="T9"/>
                </a:cxn>
              </a:cxnLst>
              <a:rect l="0" t="0" r="r" b="b"/>
              <a:pathLst>
                <a:path w="4" h="5">
                  <a:moveTo>
                    <a:pt x="0" y="2"/>
                  </a:moveTo>
                  <a:cubicBezTo>
                    <a:pt x="0" y="3"/>
                    <a:pt x="0" y="4"/>
                    <a:pt x="1" y="5"/>
                  </a:cubicBezTo>
                  <a:cubicBezTo>
                    <a:pt x="3" y="5"/>
                    <a:pt x="3" y="5"/>
                    <a:pt x="4" y="4"/>
                  </a:cubicBezTo>
                  <a:cubicBezTo>
                    <a:pt x="4" y="3"/>
                    <a:pt x="4" y="1"/>
                    <a:pt x="3" y="1"/>
                  </a:cubicBezTo>
                  <a:cubicBezTo>
                    <a:pt x="2" y="0"/>
                    <a:pt x="1" y="1"/>
                    <a:pt x="0"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90"/>
            <p:cNvSpPr>
              <a:spLocks/>
            </p:cNvSpPr>
            <p:nvPr/>
          </p:nvSpPr>
          <p:spPr bwMode="auto">
            <a:xfrm>
              <a:off x="8942919" y="1939436"/>
              <a:ext cx="9059" cy="6341"/>
            </a:xfrm>
            <a:custGeom>
              <a:avLst/>
              <a:gdLst>
                <a:gd name="T0" fmla="*/ 3 w 4"/>
                <a:gd name="T1" fmla="*/ 1 h 3"/>
                <a:gd name="T2" fmla="*/ 1 w 4"/>
                <a:gd name="T3" fmla="*/ 1 h 3"/>
                <a:gd name="T4" fmla="*/ 0 w 4"/>
                <a:gd name="T5" fmla="*/ 2 h 3"/>
                <a:gd name="T6" fmla="*/ 2 w 4"/>
                <a:gd name="T7" fmla="*/ 3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2" y="0"/>
                    <a:pt x="1" y="1"/>
                    <a:pt x="1" y="1"/>
                  </a:cubicBezTo>
                  <a:cubicBezTo>
                    <a:pt x="0" y="2"/>
                    <a:pt x="0" y="2"/>
                    <a:pt x="0" y="2"/>
                  </a:cubicBezTo>
                  <a:cubicBezTo>
                    <a:pt x="0" y="3"/>
                    <a:pt x="1" y="3"/>
                    <a:pt x="2" y="3"/>
                  </a:cubicBezTo>
                  <a:cubicBezTo>
                    <a:pt x="3" y="3"/>
                    <a:pt x="4" y="2"/>
                    <a:pt x="3"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91"/>
            <p:cNvSpPr>
              <a:spLocks/>
            </p:cNvSpPr>
            <p:nvPr/>
          </p:nvSpPr>
          <p:spPr bwMode="auto">
            <a:xfrm>
              <a:off x="8625868" y="1639597"/>
              <a:ext cx="10870" cy="10870"/>
            </a:xfrm>
            <a:custGeom>
              <a:avLst/>
              <a:gdLst>
                <a:gd name="T0" fmla="*/ 3 w 5"/>
                <a:gd name="T1" fmla="*/ 0 h 5"/>
                <a:gd name="T2" fmla="*/ 0 w 5"/>
                <a:gd name="T3" fmla="*/ 2 h 5"/>
                <a:gd name="T4" fmla="*/ 1 w 5"/>
                <a:gd name="T5" fmla="*/ 4 h 5"/>
                <a:gd name="T6" fmla="*/ 4 w 5"/>
                <a:gd name="T7" fmla="*/ 2 h 5"/>
                <a:gd name="T8" fmla="*/ 3 w 5"/>
                <a:gd name="T9" fmla="*/ 0 h 5"/>
              </a:gdLst>
              <a:ahLst/>
              <a:cxnLst>
                <a:cxn ang="0">
                  <a:pos x="T0" y="T1"/>
                </a:cxn>
                <a:cxn ang="0">
                  <a:pos x="T2" y="T3"/>
                </a:cxn>
                <a:cxn ang="0">
                  <a:pos x="T4" y="T5"/>
                </a:cxn>
                <a:cxn ang="0">
                  <a:pos x="T6" y="T7"/>
                </a:cxn>
                <a:cxn ang="0">
                  <a:pos x="T8" y="T9"/>
                </a:cxn>
              </a:cxnLst>
              <a:rect l="0" t="0" r="r" b="b"/>
              <a:pathLst>
                <a:path w="5" h="5">
                  <a:moveTo>
                    <a:pt x="3" y="0"/>
                  </a:moveTo>
                  <a:cubicBezTo>
                    <a:pt x="2" y="1"/>
                    <a:pt x="1" y="1"/>
                    <a:pt x="0" y="2"/>
                  </a:cubicBezTo>
                  <a:cubicBezTo>
                    <a:pt x="0" y="2"/>
                    <a:pt x="1" y="4"/>
                    <a:pt x="1" y="4"/>
                  </a:cubicBezTo>
                  <a:cubicBezTo>
                    <a:pt x="2" y="5"/>
                    <a:pt x="5" y="4"/>
                    <a:pt x="4" y="2"/>
                  </a:cubicBezTo>
                  <a:cubicBezTo>
                    <a:pt x="4" y="1"/>
                    <a:pt x="3" y="1"/>
                    <a:pt x="3"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93"/>
            <p:cNvSpPr>
              <a:spLocks/>
            </p:cNvSpPr>
            <p:nvPr/>
          </p:nvSpPr>
          <p:spPr bwMode="auto">
            <a:xfrm>
              <a:off x="8999082" y="2324426"/>
              <a:ext cx="9964" cy="9059"/>
            </a:xfrm>
            <a:custGeom>
              <a:avLst/>
              <a:gdLst>
                <a:gd name="T0" fmla="*/ 2 w 5"/>
                <a:gd name="T1" fmla="*/ 0 h 4"/>
                <a:gd name="T2" fmla="*/ 0 w 5"/>
                <a:gd name="T3" fmla="*/ 2 h 4"/>
                <a:gd name="T4" fmla="*/ 2 w 5"/>
                <a:gd name="T5" fmla="*/ 4 h 4"/>
                <a:gd name="T6" fmla="*/ 4 w 5"/>
                <a:gd name="T7" fmla="*/ 3 h 4"/>
                <a:gd name="T8" fmla="*/ 5 w 5"/>
                <a:gd name="T9" fmla="*/ 0 h 4"/>
                <a:gd name="T10" fmla="*/ 2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2" y="0"/>
                  </a:moveTo>
                  <a:cubicBezTo>
                    <a:pt x="1" y="0"/>
                    <a:pt x="0" y="1"/>
                    <a:pt x="0" y="2"/>
                  </a:cubicBezTo>
                  <a:cubicBezTo>
                    <a:pt x="0" y="2"/>
                    <a:pt x="1" y="3"/>
                    <a:pt x="2" y="4"/>
                  </a:cubicBezTo>
                  <a:cubicBezTo>
                    <a:pt x="3" y="4"/>
                    <a:pt x="4" y="4"/>
                    <a:pt x="4" y="3"/>
                  </a:cubicBezTo>
                  <a:cubicBezTo>
                    <a:pt x="5" y="2"/>
                    <a:pt x="5" y="1"/>
                    <a:pt x="5" y="0"/>
                  </a:cubicBezTo>
                  <a:cubicBezTo>
                    <a:pt x="4" y="0"/>
                    <a:pt x="3" y="0"/>
                    <a:pt x="2"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98"/>
            <p:cNvSpPr>
              <a:spLocks/>
            </p:cNvSpPr>
            <p:nvPr/>
          </p:nvSpPr>
          <p:spPr bwMode="auto">
            <a:xfrm>
              <a:off x="8735477" y="1230149"/>
              <a:ext cx="4529" cy="6341"/>
            </a:xfrm>
            <a:custGeom>
              <a:avLst/>
              <a:gdLst>
                <a:gd name="T0" fmla="*/ 0 w 2"/>
                <a:gd name="T1" fmla="*/ 2 h 3"/>
                <a:gd name="T2" fmla="*/ 2 w 2"/>
                <a:gd name="T3" fmla="*/ 0 h 3"/>
                <a:gd name="T4" fmla="*/ 0 w 2"/>
                <a:gd name="T5" fmla="*/ 1 h 3"/>
                <a:gd name="T6" fmla="*/ 0 w 2"/>
                <a:gd name="T7" fmla="*/ 2 h 3"/>
              </a:gdLst>
              <a:ahLst/>
              <a:cxnLst>
                <a:cxn ang="0">
                  <a:pos x="T0" y="T1"/>
                </a:cxn>
                <a:cxn ang="0">
                  <a:pos x="T2" y="T3"/>
                </a:cxn>
                <a:cxn ang="0">
                  <a:pos x="T4" y="T5"/>
                </a:cxn>
                <a:cxn ang="0">
                  <a:pos x="T6" y="T7"/>
                </a:cxn>
              </a:cxnLst>
              <a:rect l="0" t="0" r="r" b="b"/>
              <a:pathLst>
                <a:path w="2" h="3">
                  <a:moveTo>
                    <a:pt x="0" y="2"/>
                  </a:moveTo>
                  <a:cubicBezTo>
                    <a:pt x="2" y="2"/>
                    <a:pt x="2" y="1"/>
                    <a:pt x="2" y="0"/>
                  </a:cubicBezTo>
                  <a:cubicBezTo>
                    <a:pt x="1" y="0"/>
                    <a:pt x="1" y="1"/>
                    <a:pt x="0" y="1"/>
                  </a:cubicBezTo>
                  <a:cubicBezTo>
                    <a:pt x="0" y="2"/>
                    <a:pt x="0" y="3"/>
                    <a:pt x="0"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99"/>
            <p:cNvSpPr>
              <a:spLocks/>
            </p:cNvSpPr>
            <p:nvPr/>
          </p:nvSpPr>
          <p:spPr bwMode="auto">
            <a:xfrm>
              <a:off x="8895814" y="1283595"/>
              <a:ext cx="4529" cy="9059"/>
            </a:xfrm>
            <a:custGeom>
              <a:avLst/>
              <a:gdLst>
                <a:gd name="T0" fmla="*/ 2 w 2"/>
                <a:gd name="T1" fmla="*/ 3 h 4"/>
                <a:gd name="T2" fmla="*/ 2 w 2"/>
                <a:gd name="T3" fmla="*/ 1 h 4"/>
                <a:gd name="T4" fmla="*/ 0 w 2"/>
                <a:gd name="T5" fmla="*/ 0 h 4"/>
                <a:gd name="T6" fmla="*/ 0 w 2"/>
                <a:gd name="T7" fmla="*/ 2 h 4"/>
                <a:gd name="T8" fmla="*/ 2 w 2"/>
                <a:gd name="T9" fmla="*/ 3 h 4"/>
              </a:gdLst>
              <a:ahLst/>
              <a:cxnLst>
                <a:cxn ang="0">
                  <a:pos x="T0" y="T1"/>
                </a:cxn>
                <a:cxn ang="0">
                  <a:pos x="T2" y="T3"/>
                </a:cxn>
                <a:cxn ang="0">
                  <a:pos x="T4" y="T5"/>
                </a:cxn>
                <a:cxn ang="0">
                  <a:pos x="T6" y="T7"/>
                </a:cxn>
                <a:cxn ang="0">
                  <a:pos x="T8" y="T9"/>
                </a:cxn>
              </a:cxnLst>
              <a:rect l="0" t="0" r="r" b="b"/>
              <a:pathLst>
                <a:path w="2" h="4">
                  <a:moveTo>
                    <a:pt x="2" y="3"/>
                  </a:moveTo>
                  <a:cubicBezTo>
                    <a:pt x="2" y="3"/>
                    <a:pt x="2" y="2"/>
                    <a:pt x="2" y="1"/>
                  </a:cubicBezTo>
                  <a:cubicBezTo>
                    <a:pt x="2" y="1"/>
                    <a:pt x="1" y="0"/>
                    <a:pt x="0" y="0"/>
                  </a:cubicBezTo>
                  <a:cubicBezTo>
                    <a:pt x="0" y="1"/>
                    <a:pt x="0" y="1"/>
                    <a:pt x="0" y="2"/>
                  </a:cubicBezTo>
                  <a:cubicBezTo>
                    <a:pt x="0" y="4"/>
                    <a:pt x="1" y="4"/>
                    <a:pt x="2"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100"/>
            <p:cNvSpPr>
              <a:spLocks/>
            </p:cNvSpPr>
            <p:nvPr/>
          </p:nvSpPr>
          <p:spPr bwMode="auto">
            <a:xfrm>
              <a:off x="9016293" y="1311677"/>
              <a:ext cx="3623" cy="4529"/>
            </a:xfrm>
            <a:custGeom>
              <a:avLst/>
              <a:gdLst>
                <a:gd name="T0" fmla="*/ 2 w 2"/>
                <a:gd name="T1" fmla="*/ 2 h 2"/>
                <a:gd name="T2" fmla="*/ 2 w 2"/>
                <a:gd name="T3" fmla="*/ 1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cubicBezTo>
                    <a:pt x="2" y="2"/>
                    <a:pt x="2" y="1"/>
                    <a:pt x="2" y="1"/>
                  </a:cubicBezTo>
                  <a:cubicBezTo>
                    <a:pt x="2" y="1"/>
                    <a:pt x="1" y="0"/>
                    <a:pt x="0" y="0"/>
                  </a:cubicBezTo>
                  <a:cubicBezTo>
                    <a:pt x="1" y="1"/>
                    <a:pt x="0" y="2"/>
                    <a:pt x="2"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101"/>
            <p:cNvSpPr>
              <a:spLocks/>
            </p:cNvSpPr>
            <p:nvPr/>
          </p:nvSpPr>
          <p:spPr bwMode="auto">
            <a:xfrm>
              <a:off x="8412086" y="1847039"/>
              <a:ext cx="1812"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1" y="0"/>
                  </a:cubicBezTo>
                  <a:cubicBezTo>
                    <a:pt x="1" y="0"/>
                    <a:pt x="1" y="0"/>
                    <a:pt x="0" y="0"/>
                  </a:cubicBezTo>
                  <a:cubicBezTo>
                    <a:pt x="0"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102"/>
            <p:cNvSpPr>
              <a:spLocks/>
            </p:cNvSpPr>
            <p:nvPr/>
          </p:nvSpPr>
          <p:spPr bwMode="auto">
            <a:xfrm>
              <a:off x="8407557" y="1847039"/>
              <a:ext cx="6341" cy="9059"/>
            </a:xfrm>
            <a:custGeom>
              <a:avLst/>
              <a:gdLst>
                <a:gd name="T0" fmla="*/ 2 w 3"/>
                <a:gd name="T1" fmla="*/ 4 h 4"/>
                <a:gd name="T2" fmla="*/ 3 w 3"/>
                <a:gd name="T3" fmla="*/ 3 h 4"/>
                <a:gd name="T4" fmla="*/ 3 w 3"/>
                <a:gd name="T5" fmla="*/ 0 h 4"/>
                <a:gd name="T6" fmla="*/ 1 w 3"/>
                <a:gd name="T7" fmla="*/ 2 h 4"/>
                <a:gd name="T8" fmla="*/ 2 w 3"/>
                <a:gd name="T9" fmla="*/ 4 h 4"/>
              </a:gdLst>
              <a:ahLst/>
              <a:cxnLst>
                <a:cxn ang="0">
                  <a:pos x="T0" y="T1"/>
                </a:cxn>
                <a:cxn ang="0">
                  <a:pos x="T2" y="T3"/>
                </a:cxn>
                <a:cxn ang="0">
                  <a:pos x="T4" y="T5"/>
                </a:cxn>
                <a:cxn ang="0">
                  <a:pos x="T6" y="T7"/>
                </a:cxn>
                <a:cxn ang="0">
                  <a:pos x="T8" y="T9"/>
                </a:cxn>
              </a:cxnLst>
              <a:rect l="0" t="0" r="r" b="b"/>
              <a:pathLst>
                <a:path w="3" h="4">
                  <a:moveTo>
                    <a:pt x="2" y="4"/>
                  </a:moveTo>
                  <a:cubicBezTo>
                    <a:pt x="3" y="4"/>
                    <a:pt x="3" y="3"/>
                    <a:pt x="3" y="3"/>
                  </a:cubicBezTo>
                  <a:cubicBezTo>
                    <a:pt x="3" y="2"/>
                    <a:pt x="3" y="1"/>
                    <a:pt x="3" y="0"/>
                  </a:cubicBezTo>
                  <a:cubicBezTo>
                    <a:pt x="2" y="1"/>
                    <a:pt x="1" y="2"/>
                    <a:pt x="1" y="2"/>
                  </a:cubicBezTo>
                  <a:cubicBezTo>
                    <a:pt x="0" y="4"/>
                    <a:pt x="1" y="4"/>
                    <a:pt x="2" y="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103"/>
            <p:cNvSpPr>
              <a:spLocks/>
            </p:cNvSpPr>
            <p:nvPr/>
          </p:nvSpPr>
          <p:spPr bwMode="auto">
            <a:xfrm>
              <a:off x="9561620" y="1906826"/>
              <a:ext cx="0" cy="2718"/>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1"/>
                    <a:pt x="0" y="1"/>
                  </a:cubicBezTo>
                  <a:cubicBezTo>
                    <a:pt x="0" y="1"/>
                    <a:pt x="0" y="1"/>
                    <a:pt x="0" y="1"/>
                  </a:cubicBezTo>
                  <a:cubicBezTo>
                    <a:pt x="0" y="0"/>
                    <a:pt x="0" y="0"/>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104"/>
            <p:cNvSpPr>
              <a:spLocks/>
            </p:cNvSpPr>
            <p:nvPr/>
          </p:nvSpPr>
          <p:spPr bwMode="auto">
            <a:xfrm>
              <a:off x="9551656" y="1900485"/>
              <a:ext cx="9964" cy="9059"/>
            </a:xfrm>
            <a:custGeom>
              <a:avLst/>
              <a:gdLst>
                <a:gd name="T0" fmla="*/ 2 w 5"/>
                <a:gd name="T1" fmla="*/ 1 h 4"/>
                <a:gd name="T2" fmla="*/ 0 w 5"/>
                <a:gd name="T3" fmla="*/ 2 h 4"/>
                <a:gd name="T4" fmla="*/ 2 w 5"/>
                <a:gd name="T5" fmla="*/ 3 h 4"/>
                <a:gd name="T6" fmla="*/ 5 w 5"/>
                <a:gd name="T7" fmla="*/ 3 h 4"/>
                <a:gd name="T8" fmla="*/ 5 w 5"/>
                <a:gd name="T9" fmla="*/ 0 h 4"/>
                <a:gd name="T10" fmla="*/ 2 w 5"/>
                <a:gd name="T11" fmla="*/ 1 h 4"/>
              </a:gdLst>
              <a:ahLst/>
              <a:cxnLst>
                <a:cxn ang="0">
                  <a:pos x="T0" y="T1"/>
                </a:cxn>
                <a:cxn ang="0">
                  <a:pos x="T2" y="T3"/>
                </a:cxn>
                <a:cxn ang="0">
                  <a:pos x="T4" y="T5"/>
                </a:cxn>
                <a:cxn ang="0">
                  <a:pos x="T6" y="T7"/>
                </a:cxn>
                <a:cxn ang="0">
                  <a:pos x="T8" y="T9"/>
                </a:cxn>
                <a:cxn ang="0">
                  <a:pos x="T10" y="T11"/>
                </a:cxn>
              </a:cxnLst>
              <a:rect l="0" t="0" r="r" b="b"/>
              <a:pathLst>
                <a:path w="5" h="4">
                  <a:moveTo>
                    <a:pt x="2" y="1"/>
                  </a:moveTo>
                  <a:cubicBezTo>
                    <a:pt x="1" y="1"/>
                    <a:pt x="0" y="1"/>
                    <a:pt x="0" y="2"/>
                  </a:cubicBezTo>
                  <a:cubicBezTo>
                    <a:pt x="0" y="2"/>
                    <a:pt x="1" y="3"/>
                    <a:pt x="2" y="3"/>
                  </a:cubicBezTo>
                  <a:cubicBezTo>
                    <a:pt x="3" y="4"/>
                    <a:pt x="4" y="3"/>
                    <a:pt x="5" y="3"/>
                  </a:cubicBezTo>
                  <a:cubicBezTo>
                    <a:pt x="5" y="2"/>
                    <a:pt x="5" y="1"/>
                    <a:pt x="5" y="0"/>
                  </a:cubicBezTo>
                  <a:cubicBezTo>
                    <a:pt x="4" y="0"/>
                    <a:pt x="3" y="0"/>
                    <a:pt x="2"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105"/>
            <p:cNvSpPr>
              <a:spLocks/>
            </p:cNvSpPr>
            <p:nvPr/>
          </p:nvSpPr>
          <p:spPr bwMode="auto">
            <a:xfrm>
              <a:off x="9324285" y="1451179"/>
              <a:ext cx="6341" cy="6341"/>
            </a:xfrm>
            <a:custGeom>
              <a:avLst/>
              <a:gdLst>
                <a:gd name="T0" fmla="*/ 3 w 3"/>
                <a:gd name="T1" fmla="*/ 2 h 3"/>
                <a:gd name="T2" fmla="*/ 1 w 3"/>
                <a:gd name="T3" fmla="*/ 1 h 3"/>
                <a:gd name="T4" fmla="*/ 0 w 3"/>
                <a:gd name="T5" fmla="*/ 1 h 3"/>
                <a:gd name="T6" fmla="*/ 2 w 3"/>
                <a:gd name="T7" fmla="*/ 3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1"/>
                    <a:pt x="1" y="1"/>
                    <a:pt x="1" y="1"/>
                  </a:cubicBezTo>
                  <a:cubicBezTo>
                    <a:pt x="0" y="0"/>
                    <a:pt x="0" y="1"/>
                    <a:pt x="0" y="1"/>
                  </a:cubicBezTo>
                  <a:cubicBezTo>
                    <a:pt x="0" y="3"/>
                    <a:pt x="1" y="3"/>
                    <a:pt x="2" y="3"/>
                  </a:cubicBezTo>
                  <a:cubicBezTo>
                    <a:pt x="2" y="2"/>
                    <a:pt x="3" y="2"/>
                    <a:pt x="3"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10"/>
            <p:cNvSpPr>
              <a:spLocks/>
            </p:cNvSpPr>
            <p:nvPr/>
          </p:nvSpPr>
          <p:spPr bwMode="auto">
            <a:xfrm>
              <a:off x="9508174" y="1862439"/>
              <a:ext cx="4529" cy="3623"/>
            </a:xfrm>
            <a:custGeom>
              <a:avLst/>
              <a:gdLst>
                <a:gd name="T0" fmla="*/ 1 w 2"/>
                <a:gd name="T1" fmla="*/ 0 h 2"/>
                <a:gd name="T2" fmla="*/ 2 w 2"/>
                <a:gd name="T3" fmla="*/ 2 h 2"/>
                <a:gd name="T4" fmla="*/ 2 w 2"/>
                <a:gd name="T5" fmla="*/ 0 h 2"/>
                <a:gd name="T6" fmla="*/ 1 w 2"/>
                <a:gd name="T7" fmla="*/ 0 h 2"/>
              </a:gdLst>
              <a:ahLst/>
              <a:cxnLst>
                <a:cxn ang="0">
                  <a:pos x="T0" y="T1"/>
                </a:cxn>
                <a:cxn ang="0">
                  <a:pos x="T2" y="T3"/>
                </a:cxn>
                <a:cxn ang="0">
                  <a:pos x="T4" y="T5"/>
                </a:cxn>
                <a:cxn ang="0">
                  <a:pos x="T6" y="T7"/>
                </a:cxn>
              </a:cxnLst>
              <a:rect l="0" t="0" r="r" b="b"/>
              <a:pathLst>
                <a:path w="2" h="2">
                  <a:moveTo>
                    <a:pt x="1" y="0"/>
                  </a:moveTo>
                  <a:cubicBezTo>
                    <a:pt x="0" y="1"/>
                    <a:pt x="1" y="2"/>
                    <a:pt x="2" y="2"/>
                  </a:cubicBezTo>
                  <a:cubicBezTo>
                    <a:pt x="2" y="1"/>
                    <a:pt x="2" y="1"/>
                    <a:pt x="2" y="0"/>
                  </a:cubicBezTo>
                  <a:cubicBezTo>
                    <a:pt x="1"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11"/>
            <p:cNvSpPr>
              <a:spLocks/>
            </p:cNvSpPr>
            <p:nvPr/>
          </p:nvSpPr>
          <p:spPr bwMode="auto">
            <a:xfrm>
              <a:off x="8859580" y="1947589"/>
              <a:ext cx="1812" cy="2718"/>
            </a:xfrm>
            <a:custGeom>
              <a:avLst/>
              <a:gdLst>
                <a:gd name="T0" fmla="*/ 1 w 1"/>
                <a:gd name="T1" fmla="*/ 0 h 1"/>
                <a:gd name="T2" fmla="*/ 0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0" y="0"/>
                    <a:pt x="0" y="1"/>
                    <a:pt x="0" y="1"/>
                  </a:cubicBezTo>
                  <a:cubicBezTo>
                    <a:pt x="0" y="1"/>
                    <a:pt x="1" y="1"/>
                    <a:pt x="1" y="1"/>
                  </a:cubicBezTo>
                  <a:lnTo>
                    <a:pt x="1" y="0"/>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115"/>
            <p:cNvSpPr>
              <a:spLocks/>
            </p:cNvSpPr>
            <p:nvPr/>
          </p:nvSpPr>
          <p:spPr bwMode="auto">
            <a:xfrm>
              <a:off x="9523574" y="1214750"/>
              <a:ext cx="4529" cy="0"/>
            </a:xfrm>
            <a:custGeom>
              <a:avLst/>
              <a:gdLst>
                <a:gd name="T0" fmla="*/ 0 w 2"/>
                <a:gd name="T1" fmla="*/ 1 w 2"/>
                <a:gd name="T2" fmla="*/ 1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1" y="0"/>
                    <a:pt x="1" y="0"/>
                    <a:pt x="1" y="0"/>
                  </a:cubicBezTo>
                  <a:cubicBezTo>
                    <a:pt x="1" y="0"/>
                    <a:pt x="1" y="0"/>
                    <a:pt x="1" y="0"/>
                  </a:cubicBezTo>
                  <a:cubicBezTo>
                    <a:pt x="2" y="0"/>
                    <a:pt x="2" y="0"/>
                    <a:pt x="2" y="0"/>
                  </a:cubicBezTo>
                  <a:cubicBezTo>
                    <a:pt x="1" y="0"/>
                    <a:pt x="1"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116"/>
            <p:cNvSpPr>
              <a:spLocks/>
            </p:cNvSpPr>
            <p:nvPr/>
          </p:nvSpPr>
          <p:spPr bwMode="auto">
            <a:xfrm>
              <a:off x="8718266" y="1369652"/>
              <a:ext cx="1812" cy="1812"/>
            </a:xfrm>
            <a:custGeom>
              <a:avLst/>
              <a:gdLst>
                <a:gd name="T0" fmla="*/ 1 w 1"/>
                <a:gd name="T1" fmla="*/ 0 h 1"/>
                <a:gd name="T2" fmla="*/ 0 w 1"/>
                <a:gd name="T3" fmla="*/ 0 h 1"/>
                <a:gd name="T4" fmla="*/ 0 w 1"/>
                <a:gd name="T5" fmla="*/ 1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0" y="0"/>
                    <a:pt x="0" y="0"/>
                    <a:pt x="0" y="1"/>
                  </a:cubicBezTo>
                  <a:cubicBezTo>
                    <a:pt x="0" y="1"/>
                    <a:pt x="0" y="1"/>
                    <a:pt x="0" y="1"/>
                  </a:cubicBezTo>
                  <a:lnTo>
                    <a:pt x="1" y="0"/>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120"/>
            <p:cNvSpPr>
              <a:spLocks/>
            </p:cNvSpPr>
            <p:nvPr/>
          </p:nvSpPr>
          <p:spPr bwMode="auto">
            <a:xfrm>
              <a:off x="9258158" y="2123326"/>
              <a:ext cx="1812" cy="6341"/>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1" y="2"/>
                    <a:pt x="1" y="1"/>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121"/>
            <p:cNvSpPr>
              <a:spLocks/>
            </p:cNvSpPr>
            <p:nvPr/>
          </p:nvSpPr>
          <p:spPr bwMode="auto">
            <a:xfrm>
              <a:off x="9107785" y="1521836"/>
              <a:ext cx="4529" cy="1812"/>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0" y="1"/>
                    <a:pt x="0" y="1"/>
                  </a:cubicBezTo>
                  <a:cubicBezTo>
                    <a:pt x="1" y="1"/>
                    <a:pt x="2" y="1"/>
                    <a:pt x="2" y="0"/>
                  </a:cubicBezTo>
                  <a:cubicBezTo>
                    <a:pt x="2" y="0"/>
                    <a:pt x="2"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129"/>
            <p:cNvSpPr>
              <a:spLocks/>
            </p:cNvSpPr>
            <p:nvPr/>
          </p:nvSpPr>
          <p:spPr bwMode="auto">
            <a:xfrm>
              <a:off x="5430906" y="4664258"/>
              <a:ext cx="572502" cy="299839"/>
            </a:xfrm>
            <a:custGeom>
              <a:avLst/>
              <a:gdLst>
                <a:gd name="T0" fmla="*/ 250 w 267"/>
                <a:gd name="T1" fmla="*/ 119 h 140"/>
                <a:gd name="T2" fmla="*/ 236 w 267"/>
                <a:gd name="T3" fmla="*/ 106 h 140"/>
                <a:gd name="T4" fmla="*/ 225 w 267"/>
                <a:gd name="T5" fmla="*/ 93 h 140"/>
                <a:gd name="T6" fmla="*/ 230 w 267"/>
                <a:gd name="T7" fmla="*/ 86 h 140"/>
                <a:gd name="T8" fmla="*/ 225 w 267"/>
                <a:gd name="T9" fmla="*/ 75 h 140"/>
                <a:gd name="T10" fmla="*/ 205 w 267"/>
                <a:gd name="T11" fmla="*/ 62 h 140"/>
                <a:gd name="T12" fmla="*/ 166 w 267"/>
                <a:gd name="T13" fmla="*/ 40 h 140"/>
                <a:gd name="T14" fmla="*/ 131 w 267"/>
                <a:gd name="T15" fmla="*/ 27 h 140"/>
                <a:gd name="T16" fmla="*/ 84 w 267"/>
                <a:gd name="T17" fmla="*/ 22 h 140"/>
                <a:gd name="T18" fmla="*/ 65 w 267"/>
                <a:gd name="T19" fmla="*/ 38 h 140"/>
                <a:gd name="T20" fmla="*/ 49 w 267"/>
                <a:gd name="T21" fmla="*/ 30 h 140"/>
                <a:gd name="T22" fmla="*/ 48 w 267"/>
                <a:gd name="T23" fmla="*/ 18 h 140"/>
                <a:gd name="T24" fmla="*/ 38 w 267"/>
                <a:gd name="T25" fmla="*/ 5 h 140"/>
                <a:gd name="T26" fmla="*/ 19 w 267"/>
                <a:gd name="T27" fmla="*/ 2 h 140"/>
                <a:gd name="T28" fmla="*/ 0 w 267"/>
                <a:gd name="T29" fmla="*/ 12 h 140"/>
                <a:gd name="T30" fmla="*/ 7 w 267"/>
                <a:gd name="T31" fmla="*/ 17 h 140"/>
                <a:gd name="T32" fmla="*/ 26 w 267"/>
                <a:gd name="T33" fmla="*/ 28 h 140"/>
                <a:gd name="T34" fmla="*/ 38 w 267"/>
                <a:gd name="T35" fmla="*/ 29 h 140"/>
                <a:gd name="T36" fmla="*/ 20 w 267"/>
                <a:gd name="T37" fmla="*/ 34 h 140"/>
                <a:gd name="T38" fmla="*/ 26 w 267"/>
                <a:gd name="T39" fmla="*/ 49 h 140"/>
                <a:gd name="T40" fmla="*/ 36 w 267"/>
                <a:gd name="T41" fmla="*/ 47 h 140"/>
                <a:gd name="T42" fmla="*/ 53 w 267"/>
                <a:gd name="T43" fmla="*/ 53 h 140"/>
                <a:gd name="T44" fmla="*/ 78 w 267"/>
                <a:gd name="T45" fmla="*/ 61 h 140"/>
                <a:gd name="T46" fmla="*/ 100 w 267"/>
                <a:gd name="T47" fmla="*/ 78 h 140"/>
                <a:gd name="T48" fmla="*/ 106 w 267"/>
                <a:gd name="T49" fmla="*/ 90 h 140"/>
                <a:gd name="T50" fmla="*/ 94 w 267"/>
                <a:gd name="T51" fmla="*/ 103 h 140"/>
                <a:gd name="T52" fmla="*/ 112 w 267"/>
                <a:gd name="T53" fmla="*/ 107 h 140"/>
                <a:gd name="T54" fmla="*/ 129 w 267"/>
                <a:gd name="T55" fmla="*/ 115 h 140"/>
                <a:gd name="T56" fmla="*/ 158 w 267"/>
                <a:gd name="T57" fmla="*/ 122 h 140"/>
                <a:gd name="T58" fmla="*/ 169 w 267"/>
                <a:gd name="T59" fmla="*/ 113 h 140"/>
                <a:gd name="T60" fmla="*/ 180 w 267"/>
                <a:gd name="T61" fmla="*/ 101 h 140"/>
                <a:gd name="T62" fmla="*/ 201 w 267"/>
                <a:gd name="T63" fmla="*/ 105 h 140"/>
                <a:gd name="T64" fmla="*/ 223 w 267"/>
                <a:gd name="T65" fmla="*/ 128 h 140"/>
                <a:gd name="T66" fmla="*/ 261 w 267"/>
                <a:gd name="T67" fmla="*/ 140 h 140"/>
                <a:gd name="T68" fmla="*/ 266 w 267"/>
                <a:gd name="T69" fmla="*/ 139 h 140"/>
                <a:gd name="T70" fmla="*/ 263 w 267"/>
                <a:gd name="T71" fmla="*/ 131 h 140"/>
                <a:gd name="T72" fmla="*/ 251 w 267"/>
                <a:gd name="T73" fmla="*/ 12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140">
                  <a:moveTo>
                    <a:pt x="251" y="121"/>
                  </a:moveTo>
                  <a:cubicBezTo>
                    <a:pt x="250" y="120"/>
                    <a:pt x="250" y="120"/>
                    <a:pt x="250" y="119"/>
                  </a:cubicBezTo>
                  <a:cubicBezTo>
                    <a:pt x="247" y="117"/>
                    <a:pt x="244" y="116"/>
                    <a:pt x="242" y="114"/>
                  </a:cubicBezTo>
                  <a:cubicBezTo>
                    <a:pt x="240" y="111"/>
                    <a:pt x="238" y="108"/>
                    <a:pt x="236" y="106"/>
                  </a:cubicBezTo>
                  <a:cubicBezTo>
                    <a:pt x="235" y="104"/>
                    <a:pt x="232" y="103"/>
                    <a:pt x="231" y="101"/>
                  </a:cubicBezTo>
                  <a:cubicBezTo>
                    <a:pt x="228" y="98"/>
                    <a:pt x="226" y="96"/>
                    <a:pt x="225" y="93"/>
                  </a:cubicBezTo>
                  <a:cubicBezTo>
                    <a:pt x="223" y="91"/>
                    <a:pt x="224" y="89"/>
                    <a:pt x="226" y="88"/>
                  </a:cubicBezTo>
                  <a:cubicBezTo>
                    <a:pt x="227" y="87"/>
                    <a:pt x="229" y="87"/>
                    <a:pt x="230" y="86"/>
                  </a:cubicBezTo>
                  <a:cubicBezTo>
                    <a:pt x="232" y="83"/>
                    <a:pt x="232" y="79"/>
                    <a:pt x="229" y="77"/>
                  </a:cubicBezTo>
                  <a:cubicBezTo>
                    <a:pt x="228" y="77"/>
                    <a:pt x="226" y="76"/>
                    <a:pt x="225" y="75"/>
                  </a:cubicBezTo>
                  <a:cubicBezTo>
                    <a:pt x="221" y="74"/>
                    <a:pt x="218" y="72"/>
                    <a:pt x="214" y="71"/>
                  </a:cubicBezTo>
                  <a:cubicBezTo>
                    <a:pt x="209" y="70"/>
                    <a:pt x="205" y="67"/>
                    <a:pt x="205" y="62"/>
                  </a:cubicBezTo>
                  <a:cubicBezTo>
                    <a:pt x="205" y="60"/>
                    <a:pt x="203" y="58"/>
                    <a:pt x="201" y="57"/>
                  </a:cubicBezTo>
                  <a:cubicBezTo>
                    <a:pt x="191" y="49"/>
                    <a:pt x="179" y="43"/>
                    <a:pt x="166" y="40"/>
                  </a:cubicBezTo>
                  <a:cubicBezTo>
                    <a:pt x="160" y="38"/>
                    <a:pt x="155" y="36"/>
                    <a:pt x="149" y="34"/>
                  </a:cubicBezTo>
                  <a:cubicBezTo>
                    <a:pt x="143" y="32"/>
                    <a:pt x="137" y="29"/>
                    <a:pt x="131" y="27"/>
                  </a:cubicBezTo>
                  <a:cubicBezTo>
                    <a:pt x="121" y="25"/>
                    <a:pt x="113" y="22"/>
                    <a:pt x="104" y="19"/>
                  </a:cubicBezTo>
                  <a:cubicBezTo>
                    <a:pt x="96" y="16"/>
                    <a:pt x="90" y="14"/>
                    <a:pt x="84" y="22"/>
                  </a:cubicBezTo>
                  <a:cubicBezTo>
                    <a:pt x="84" y="23"/>
                    <a:pt x="84" y="23"/>
                    <a:pt x="83" y="23"/>
                  </a:cubicBezTo>
                  <a:cubicBezTo>
                    <a:pt x="76" y="27"/>
                    <a:pt x="70" y="32"/>
                    <a:pt x="65" y="38"/>
                  </a:cubicBezTo>
                  <a:cubicBezTo>
                    <a:pt x="64" y="40"/>
                    <a:pt x="60" y="40"/>
                    <a:pt x="59" y="39"/>
                  </a:cubicBezTo>
                  <a:cubicBezTo>
                    <a:pt x="55" y="36"/>
                    <a:pt x="52" y="33"/>
                    <a:pt x="49" y="30"/>
                  </a:cubicBezTo>
                  <a:cubicBezTo>
                    <a:pt x="47" y="28"/>
                    <a:pt x="47" y="26"/>
                    <a:pt x="47" y="24"/>
                  </a:cubicBezTo>
                  <a:cubicBezTo>
                    <a:pt x="47" y="22"/>
                    <a:pt x="47" y="20"/>
                    <a:pt x="48" y="18"/>
                  </a:cubicBezTo>
                  <a:cubicBezTo>
                    <a:pt x="48" y="14"/>
                    <a:pt x="47" y="11"/>
                    <a:pt x="45" y="8"/>
                  </a:cubicBezTo>
                  <a:cubicBezTo>
                    <a:pt x="44" y="5"/>
                    <a:pt x="40" y="5"/>
                    <a:pt x="38" y="5"/>
                  </a:cubicBezTo>
                  <a:cubicBezTo>
                    <a:pt x="35" y="4"/>
                    <a:pt x="32" y="3"/>
                    <a:pt x="28" y="2"/>
                  </a:cubicBezTo>
                  <a:cubicBezTo>
                    <a:pt x="25" y="0"/>
                    <a:pt x="22" y="0"/>
                    <a:pt x="19" y="2"/>
                  </a:cubicBezTo>
                  <a:cubicBezTo>
                    <a:pt x="13" y="5"/>
                    <a:pt x="8" y="8"/>
                    <a:pt x="1" y="10"/>
                  </a:cubicBezTo>
                  <a:cubicBezTo>
                    <a:pt x="0" y="10"/>
                    <a:pt x="0" y="11"/>
                    <a:pt x="0" y="12"/>
                  </a:cubicBezTo>
                  <a:cubicBezTo>
                    <a:pt x="0" y="13"/>
                    <a:pt x="0" y="14"/>
                    <a:pt x="1" y="15"/>
                  </a:cubicBezTo>
                  <a:cubicBezTo>
                    <a:pt x="3" y="16"/>
                    <a:pt x="5" y="17"/>
                    <a:pt x="7" y="17"/>
                  </a:cubicBezTo>
                  <a:cubicBezTo>
                    <a:pt x="10" y="18"/>
                    <a:pt x="13" y="19"/>
                    <a:pt x="14" y="21"/>
                  </a:cubicBezTo>
                  <a:cubicBezTo>
                    <a:pt x="16" y="26"/>
                    <a:pt x="21" y="28"/>
                    <a:pt x="26" y="28"/>
                  </a:cubicBezTo>
                  <a:cubicBezTo>
                    <a:pt x="29" y="28"/>
                    <a:pt x="33" y="27"/>
                    <a:pt x="36" y="28"/>
                  </a:cubicBezTo>
                  <a:cubicBezTo>
                    <a:pt x="37" y="28"/>
                    <a:pt x="37" y="28"/>
                    <a:pt x="38" y="29"/>
                  </a:cubicBezTo>
                  <a:cubicBezTo>
                    <a:pt x="38" y="29"/>
                    <a:pt x="37" y="30"/>
                    <a:pt x="37" y="30"/>
                  </a:cubicBezTo>
                  <a:cubicBezTo>
                    <a:pt x="31" y="29"/>
                    <a:pt x="26" y="34"/>
                    <a:pt x="20" y="34"/>
                  </a:cubicBezTo>
                  <a:cubicBezTo>
                    <a:pt x="18" y="34"/>
                    <a:pt x="18" y="35"/>
                    <a:pt x="18" y="36"/>
                  </a:cubicBezTo>
                  <a:cubicBezTo>
                    <a:pt x="22" y="40"/>
                    <a:pt x="25" y="44"/>
                    <a:pt x="26" y="49"/>
                  </a:cubicBezTo>
                  <a:cubicBezTo>
                    <a:pt x="27" y="52"/>
                    <a:pt x="31" y="53"/>
                    <a:pt x="33" y="51"/>
                  </a:cubicBezTo>
                  <a:cubicBezTo>
                    <a:pt x="34" y="50"/>
                    <a:pt x="35" y="48"/>
                    <a:pt x="36" y="47"/>
                  </a:cubicBezTo>
                  <a:cubicBezTo>
                    <a:pt x="37" y="46"/>
                    <a:pt x="39" y="45"/>
                    <a:pt x="40" y="46"/>
                  </a:cubicBezTo>
                  <a:cubicBezTo>
                    <a:pt x="45" y="48"/>
                    <a:pt x="49" y="50"/>
                    <a:pt x="53" y="53"/>
                  </a:cubicBezTo>
                  <a:cubicBezTo>
                    <a:pt x="56" y="55"/>
                    <a:pt x="59" y="56"/>
                    <a:pt x="62" y="57"/>
                  </a:cubicBezTo>
                  <a:cubicBezTo>
                    <a:pt x="67" y="58"/>
                    <a:pt x="72" y="60"/>
                    <a:pt x="78" y="61"/>
                  </a:cubicBezTo>
                  <a:cubicBezTo>
                    <a:pt x="81" y="62"/>
                    <a:pt x="84" y="63"/>
                    <a:pt x="87" y="65"/>
                  </a:cubicBezTo>
                  <a:cubicBezTo>
                    <a:pt x="93" y="67"/>
                    <a:pt x="98" y="71"/>
                    <a:pt x="100" y="78"/>
                  </a:cubicBezTo>
                  <a:cubicBezTo>
                    <a:pt x="101" y="80"/>
                    <a:pt x="102" y="82"/>
                    <a:pt x="104" y="85"/>
                  </a:cubicBezTo>
                  <a:cubicBezTo>
                    <a:pt x="104" y="87"/>
                    <a:pt x="105" y="89"/>
                    <a:pt x="106" y="90"/>
                  </a:cubicBezTo>
                  <a:cubicBezTo>
                    <a:pt x="107" y="92"/>
                    <a:pt x="107" y="94"/>
                    <a:pt x="105" y="94"/>
                  </a:cubicBezTo>
                  <a:cubicBezTo>
                    <a:pt x="99" y="95"/>
                    <a:pt x="97" y="99"/>
                    <a:pt x="94" y="103"/>
                  </a:cubicBezTo>
                  <a:cubicBezTo>
                    <a:pt x="93" y="106"/>
                    <a:pt x="94" y="108"/>
                    <a:pt x="97" y="109"/>
                  </a:cubicBezTo>
                  <a:cubicBezTo>
                    <a:pt x="102" y="109"/>
                    <a:pt x="107" y="108"/>
                    <a:pt x="112" y="107"/>
                  </a:cubicBezTo>
                  <a:cubicBezTo>
                    <a:pt x="117" y="106"/>
                    <a:pt x="123" y="106"/>
                    <a:pt x="126" y="111"/>
                  </a:cubicBezTo>
                  <a:cubicBezTo>
                    <a:pt x="127" y="113"/>
                    <a:pt x="128" y="114"/>
                    <a:pt x="129" y="115"/>
                  </a:cubicBezTo>
                  <a:cubicBezTo>
                    <a:pt x="132" y="118"/>
                    <a:pt x="135" y="119"/>
                    <a:pt x="138" y="119"/>
                  </a:cubicBezTo>
                  <a:cubicBezTo>
                    <a:pt x="145" y="120"/>
                    <a:pt x="151" y="120"/>
                    <a:pt x="158" y="122"/>
                  </a:cubicBezTo>
                  <a:cubicBezTo>
                    <a:pt x="160" y="123"/>
                    <a:pt x="163" y="122"/>
                    <a:pt x="165" y="120"/>
                  </a:cubicBezTo>
                  <a:cubicBezTo>
                    <a:pt x="169" y="119"/>
                    <a:pt x="170" y="117"/>
                    <a:pt x="169" y="113"/>
                  </a:cubicBezTo>
                  <a:cubicBezTo>
                    <a:pt x="168" y="112"/>
                    <a:pt x="168" y="110"/>
                    <a:pt x="168" y="110"/>
                  </a:cubicBezTo>
                  <a:cubicBezTo>
                    <a:pt x="172" y="107"/>
                    <a:pt x="176" y="104"/>
                    <a:pt x="180" y="101"/>
                  </a:cubicBezTo>
                  <a:cubicBezTo>
                    <a:pt x="183" y="99"/>
                    <a:pt x="187" y="99"/>
                    <a:pt x="191" y="100"/>
                  </a:cubicBezTo>
                  <a:cubicBezTo>
                    <a:pt x="194" y="102"/>
                    <a:pt x="198" y="104"/>
                    <a:pt x="201" y="105"/>
                  </a:cubicBezTo>
                  <a:cubicBezTo>
                    <a:pt x="204" y="106"/>
                    <a:pt x="207" y="108"/>
                    <a:pt x="209" y="111"/>
                  </a:cubicBezTo>
                  <a:cubicBezTo>
                    <a:pt x="213" y="117"/>
                    <a:pt x="218" y="122"/>
                    <a:pt x="223" y="128"/>
                  </a:cubicBezTo>
                  <a:cubicBezTo>
                    <a:pt x="226" y="132"/>
                    <a:pt x="231" y="134"/>
                    <a:pt x="236" y="134"/>
                  </a:cubicBezTo>
                  <a:cubicBezTo>
                    <a:pt x="245" y="134"/>
                    <a:pt x="253" y="136"/>
                    <a:pt x="261" y="140"/>
                  </a:cubicBezTo>
                  <a:cubicBezTo>
                    <a:pt x="262" y="140"/>
                    <a:pt x="262" y="140"/>
                    <a:pt x="263" y="140"/>
                  </a:cubicBezTo>
                  <a:cubicBezTo>
                    <a:pt x="264" y="140"/>
                    <a:pt x="265" y="140"/>
                    <a:pt x="266" y="139"/>
                  </a:cubicBezTo>
                  <a:cubicBezTo>
                    <a:pt x="266" y="138"/>
                    <a:pt x="267" y="137"/>
                    <a:pt x="267" y="136"/>
                  </a:cubicBezTo>
                  <a:cubicBezTo>
                    <a:pt x="266" y="134"/>
                    <a:pt x="265" y="132"/>
                    <a:pt x="263" y="131"/>
                  </a:cubicBezTo>
                  <a:cubicBezTo>
                    <a:pt x="259" y="130"/>
                    <a:pt x="259" y="127"/>
                    <a:pt x="260" y="124"/>
                  </a:cubicBezTo>
                  <a:cubicBezTo>
                    <a:pt x="256" y="125"/>
                    <a:pt x="252" y="125"/>
                    <a:pt x="251" y="12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130"/>
            <p:cNvSpPr>
              <a:spLocks/>
            </p:cNvSpPr>
            <p:nvPr/>
          </p:nvSpPr>
          <p:spPr bwMode="auto">
            <a:xfrm>
              <a:off x="4786841" y="4456817"/>
              <a:ext cx="297122" cy="320674"/>
            </a:xfrm>
            <a:custGeom>
              <a:avLst/>
              <a:gdLst>
                <a:gd name="T0" fmla="*/ 2 w 139"/>
                <a:gd name="T1" fmla="*/ 89 h 150"/>
                <a:gd name="T2" fmla="*/ 7 w 139"/>
                <a:gd name="T3" fmla="*/ 106 h 150"/>
                <a:gd name="T4" fmla="*/ 14 w 139"/>
                <a:gd name="T5" fmla="*/ 114 h 150"/>
                <a:gd name="T6" fmla="*/ 15 w 139"/>
                <a:gd name="T7" fmla="*/ 116 h 150"/>
                <a:gd name="T8" fmla="*/ 18 w 139"/>
                <a:gd name="T9" fmla="*/ 128 h 150"/>
                <a:gd name="T10" fmla="*/ 26 w 139"/>
                <a:gd name="T11" fmla="*/ 135 h 150"/>
                <a:gd name="T12" fmla="*/ 34 w 139"/>
                <a:gd name="T13" fmla="*/ 135 h 150"/>
                <a:gd name="T14" fmla="*/ 41 w 139"/>
                <a:gd name="T15" fmla="*/ 139 h 150"/>
                <a:gd name="T16" fmla="*/ 47 w 139"/>
                <a:gd name="T17" fmla="*/ 141 h 150"/>
                <a:gd name="T18" fmla="*/ 57 w 139"/>
                <a:gd name="T19" fmla="*/ 138 h 150"/>
                <a:gd name="T20" fmla="*/ 60 w 139"/>
                <a:gd name="T21" fmla="*/ 138 h 150"/>
                <a:gd name="T22" fmla="*/ 74 w 139"/>
                <a:gd name="T23" fmla="*/ 143 h 150"/>
                <a:gd name="T24" fmla="*/ 77 w 139"/>
                <a:gd name="T25" fmla="*/ 147 h 150"/>
                <a:gd name="T26" fmla="*/ 82 w 139"/>
                <a:gd name="T27" fmla="*/ 149 h 150"/>
                <a:gd name="T28" fmla="*/ 92 w 139"/>
                <a:gd name="T29" fmla="*/ 146 h 150"/>
                <a:gd name="T30" fmla="*/ 96 w 139"/>
                <a:gd name="T31" fmla="*/ 147 h 150"/>
                <a:gd name="T32" fmla="*/ 101 w 139"/>
                <a:gd name="T33" fmla="*/ 144 h 150"/>
                <a:gd name="T34" fmla="*/ 101 w 139"/>
                <a:gd name="T35" fmla="*/ 142 h 150"/>
                <a:gd name="T36" fmla="*/ 102 w 139"/>
                <a:gd name="T37" fmla="*/ 132 h 150"/>
                <a:gd name="T38" fmla="*/ 103 w 139"/>
                <a:gd name="T39" fmla="*/ 125 h 150"/>
                <a:gd name="T40" fmla="*/ 107 w 139"/>
                <a:gd name="T41" fmla="*/ 113 h 150"/>
                <a:gd name="T42" fmla="*/ 117 w 139"/>
                <a:gd name="T43" fmla="*/ 97 h 150"/>
                <a:gd name="T44" fmla="*/ 120 w 139"/>
                <a:gd name="T45" fmla="*/ 88 h 150"/>
                <a:gd name="T46" fmla="*/ 125 w 139"/>
                <a:gd name="T47" fmla="*/ 84 h 150"/>
                <a:gd name="T48" fmla="*/ 130 w 139"/>
                <a:gd name="T49" fmla="*/ 84 h 150"/>
                <a:gd name="T50" fmla="*/ 133 w 139"/>
                <a:gd name="T51" fmla="*/ 83 h 150"/>
                <a:gd name="T52" fmla="*/ 134 w 139"/>
                <a:gd name="T53" fmla="*/ 79 h 150"/>
                <a:gd name="T54" fmla="*/ 125 w 139"/>
                <a:gd name="T55" fmla="*/ 70 h 150"/>
                <a:gd name="T56" fmla="*/ 124 w 139"/>
                <a:gd name="T57" fmla="*/ 65 h 150"/>
                <a:gd name="T58" fmla="*/ 123 w 139"/>
                <a:gd name="T59" fmla="*/ 59 h 150"/>
                <a:gd name="T60" fmla="*/ 121 w 139"/>
                <a:gd name="T61" fmla="*/ 42 h 150"/>
                <a:gd name="T62" fmla="*/ 126 w 139"/>
                <a:gd name="T63" fmla="*/ 37 h 150"/>
                <a:gd name="T64" fmla="*/ 129 w 139"/>
                <a:gd name="T65" fmla="*/ 32 h 150"/>
                <a:gd name="T66" fmla="*/ 133 w 139"/>
                <a:gd name="T67" fmla="*/ 28 h 150"/>
                <a:gd name="T68" fmla="*/ 139 w 139"/>
                <a:gd name="T69" fmla="*/ 25 h 150"/>
                <a:gd name="T70" fmla="*/ 139 w 139"/>
                <a:gd name="T71" fmla="*/ 23 h 150"/>
                <a:gd name="T72" fmla="*/ 139 w 139"/>
                <a:gd name="T73" fmla="*/ 22 h 150"/>
                <a:gd name="T74" fmla="*/ 128 w 139"/>
                <a:gd name="T75" fmla="*/ 16 h 150"/>
                <a:gd name="T76" fmla="*/ 119 w 139"/>
                <a:gd name="T77" fmla="*/ 8 h 150"/>
                <a:gd name="T78" fmla="*/ 112 w 139"/>
                <a:gd name="T79" fmla="*/ 1 h 150"/>
                <a:gd name="T80" fmla="*/ 108 w 139"/>
                <a:gd name="T81" fmla="*/ 1 h 150"/>
                <a:gd name="T82" fmla="*/ 101 w 139"/>
                <a:gd name="T83" fmla="*/ 5 h 150"/>
                <a:gd name="T84" fmla="*/ 97 w 139"/>
                <a:gd name="T85" fmla="*/ 13 h 150"/>
                <a:gd name="T86" fmla="*/ 93 w 139"/>
                <a:gd name="T87" fmla="*/ 18 h 150"/>
                <a:gd name="T88" fmla="*/ 81 w 139"/>
                <a:gd name="T89" fmla="*/ 26 h 150"/>
                <a:gd name="T90" fmla="*/ 66 w 139"/>
                <a:gd name="T91" fmla="*/ 38 h 150"/>
                <a:gd name="T92" fmla="*/ 60 w 139"/>
                <a:gd name="T93" fmla="*/ 46 h 150"/>
                <a:gd name="T94" fmla="*/ 46 w 139"/>
                <a:gd name="T95" fmla="*/ 55 h 150"/>
                <a:gd name="T96" fmla="*/ 34 w 139"/>
                <a:gd name="T97" fmla="*/ 65 h 150"/>
                <a:gd name="T98" fmla="*/ 32 w 139"/>
                <a:gd name="T99" fmla="*/ 71 h 150"/>
                <a:gd name="T100" fmla="*/ 26 w 139"/>
                <a:gd name="T101" fmla="*/ 73 h 150"/>
                <a:gd name="T102" fmla="*/ 15 w 139"/>
                <a:gd name="T103" fmla="*/ 69 h 150"/>
                <a:gd name="T104" fmla="*/ 7 w 139"/>
                <a:gd name="T105" fmla="*/ 72 h 150"/>
                <a:gd name="T106" fmla="*/ 4 w 139"/>
                <a:gd name="T107" fmla="*/ 76 h 150"/>
                <a:gd name="T108" fmla="*/ 2 w 139"/>
                <a:gd name="T109" fmla="*/ 8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9" h="150">
                  <a:moveTo>
                    <a:pt x="2" y="89"/>
                  </a:moveTo>
                  <a:cubicBezTo>
                    <a:pt x="4" y="95"/>
                    <a:pt x="5" y="100"/>
                    <a:pt x="7" y="106"/>
                  </a:cubicBezTo>
                  <a:cubicBezTo>
                    <a:pt x="8" y="109"/>
                    <a:pt x="9" y="113"/>
                    <a:pt x="14" y="114"/>
                  </a:cubicBezTo>
                  <a:cubicBezTo>
                    <a:pt x="14" y="114"/>
                    <a:pt x="15" y="115"/>
                    <a:pt x="15" y="116"/>
                  </a:cubicBezTo>
                  <a:cubicBezTo>
                    <a:pt x="15" y="120"/>
                    <a:pt x="17" y="124"/>
                    <a:pt x="18" y="128"/>
                  </a:cubicBezTo>
                  <a:cubicBezTo>
                    <a:pt x="19" y="132"/>
                    <a:pt x="21" y="134"/>
                    <a:pt x="26" y="135"/>
                  </a:cubicBezTo>
                  <a:cubicBezTo>
                    <a:pt x="28" y="135"/>
                    <a:pt x="31" y="135"/>
                    <a:pt x="34" y="135"/>
                  </a:cubicBezTo>
                  <a:cubicBezTo>
                    <a:pt x="37" y="135"/>
                    <a:pt x="39" y="136"/>
                    <a:pt x="41" y="139"/>
                  </a:cubicBezTo>
                  <a:cubicBezTo>
                    <a:pt x="42" y="142"/>
                    <a:pt x="44" y="142"/>
                    <a:pt x="47" y="141"/>
                  </a:cubicBezTo>
                  <a:cubicBezTo>
                    <a:pt x="50" y="140"/>
                    <a:pt x="54" y="139"/>
                    <a:pt x="57" y="138"/>
                  </a:cubicBezTo>
                  <a:cubicBezTo>
                    <a:pt x="58" y="138"/>
                    <a:pt x="59" y="138"/>
                    <a:pt x="60" y="138"/>
                  </a:cubicBezTo>
                  <a:cubicBezTo>
                    <a:pt x="65" y="140"/>
                    <a:pt x="69" y="141"/>
                    <a:pt x="74" y="143"/>
                  </a:cubicBezTo>
                  <a:cubicBezTo>
                    <a:pt x="75" y="144"/>
                    <a:pt x="75" y="146"/>
                    <a:pt x="77" y="147"/>
                  </a:cubicBezTo>
                  <a:cubicBezTo>
                    <a:pt x="78" y="148"/>
                    <a:pt x="80" y="150"/>
                    <a:pt x="82" y="149"/>
                  </a:cubicBezTo>
                  <a:cubicBezTo>
                    <a:pt x="85" y="148"/>
                    <a:pt x="88" y="147"/>
                    <a:pt x="92" y="146"/>
                  </a:cubicBezTo>
                  <a:cubicBezTo>
                    <a:pt x="93" y="146"/>
                    <a:pt x="95" y="147"/>
                    <a:pt x="96" y="147"/>
                  </a:cubicBezTo>
                  <a:cubicBezTo>
                    <a:pt x="98" y="147"/>
                    <a:pt x="101" y="146"/>
                    <a:pt x="101" y="144"/>
                  </a:cubicBezTo>
                  <a:cubicBezTo>
                    <a:pt x="101" y="143"/>
                    <a:pt x="101" y="143"/>
                    <a:pt x="101" y="142"/>
                  </a:cubicBezTo>
                  <a:cubicBezTo>
                    <a:pt x="100" y="139"/>
                    <a:pt x="99" y="136"/>
                    <a:pt x="102" y="132"/>
                  </a:cubicBezTo>
                  <a:cubicBezTo>
                    <a:pt x="103" y="130"/>
                    <a:pt x="104" y="127"/>
                    <a:pt x="103" y="125"/>
                  </a:cubicBezTo>
                  <a:cubicBezTo>
                    <a:pt x="103" y="120"/>
                    <a:pt x="104" y="116"/>
                    <a:pt x="107" y="113"/>
                  </a:cubicBezTo>
                  <a:cubicBezTo>
                    <a:pt x="112" y="108"/>
                    <a:pt x="114" y="102"/>
                    <a:pt x="117" y="97"/>
                  </a:cubicBezTo>
                  <a:cubicBezTo>
                    <a:pt x="118" y="94"/>
                    <a:pt x="119" y="91"/>
                    <a:pt x="120" y="88"/>
                  </a:cubicBezTo>
                  <a:cubicBezTo>
                    <a:pt x="121" y="86"/>
                    <a:pt x="123" y="85"/>
                    <a:pt x="125" y="84"/>
                  </a:cubicBezTo>
                  <a:cubicBezTo>
                    <a:pt x="127" y="84"/>
                    <a:pt x="128" y="84"/>
                    <a:pt x="130" y="84"/>
                  </a:cubicBezTo>
                  <a:cubicBezTo>
                    <a:pt x="131" y="84"/>
                    <a:pt x="132" y="83"/>
                    <a:pt x="133" y="83"/>
                  </a:cubicBezTo>
                  <a:cubicBezTo>
                    <a:pt x="134" y="83"/>
                    <a:pt x="135" y="80"/>
                    <a:pt x="134" y="79"/>
                  </a:cubicBezTo>
                  <a:cubicBezTo>
                    <a:pt x="132" y="75"/>
                    <a:pt x="128" y="74"/>
                    <a:pt x="125" y="70"/>
                  </a:cubicBezTo>
                  <a:cubicBezTo>
                    <a:pt x="123" y="69"/>
                    <a:pt x="123" y="67"/>
                    <a:pt x="124" y="65"/>
                  </a:cubicBezTo>
                  <a:cubicBezTo>
                    <a:pt x="125" y="63"/>
                    <a:pt x="125" y="61"/>
                    <a:pt x="123" y="59"/>
                  </a:cubicBezTo>
                  <a:cubicBezTo>
                    <a:pt x="117" y="53"/>
                    <a:pt x="119" y="48"/>
                    <a:pt x="121" y="42"/>
                  </a:cubicBezTo>
                  <a:cubicBezTo>
                    <a:pt x="122" y="40"/>
                    <a:pt x="124" y="38"/>
                    <a:pt x="126" y="37"/>
                  </a:cubicBezTo>
                  <a:cubicBezTo>
                    <a:pt x="128" y="36"/>
                    <a:pt x="129" y="34"/>
                    <a:pt x="129" y="32"/>
                  </a:cubicBezTo>
                  <a:cubicBezTo>
                    <a:pt x="130" y="30"/>
                    <a:pt x="131" y="28"/>
                    <a:pt x="133" y="28"/>
                  </a:cubicBezTo>
                  <a:cubicBezTo>
                    <a:pt x="135" y="27"/>
                    <a:pt x="138" y="27"/>
                    <a:pt x="139" y="25"/>
                  </a:cubicBezTo>
                  <a:cubicBezTo>
                    <a:pt x="139" y="24"/>
                    <a:pt x="139" y="24"/>
                    <a:pt x="139" y="23"/>
                  </a:cubicBezTo>
                  <a:cubicBezTo>
                    <a:pt x="139" y="23"/>
                    <a:pt x="139" y="22"/>
                    <a:pt x="139" y="22"/>
                  </a:cubicBezTo>
                  <a:cubicBezTo>
                    <a:pt x="135" y="20"/>
                    <a:pt x="132" y="18"/>
                    <a:pt x="128" y="16"/>
                  </a:cubicBezTo>
                  <a:cubicBezTo>
                    <a:pt x="124" y="14"/>
                    <a:pt x="120" y="13"/>
                    <a:pt x="119" y="8"/>
                  </a:cubicBezTo>
                  <a:cubicBezTo>
                    <a:pt x="117" y="5"/>
                    <a:pt x="115" y="3"/>
                    <a:pt x="112" y="1"/>
                  </a:cubicBezTo>
                  <a:cubicBezTo>
                    <a:pt x="111" y="0"/>
                    <a:pt x="109" y="0"/>
                    <a:pt x="108" y="1"/>
                  </a:cubicBezTo>
                  <a:cubicBezTo>
                    <a:pt x="105" y="1"/>
                    <a:pt x="103" y="3"/>
                    <a:pt x="101" y="5"/>
                  </a:cubicBezTo>
                  <a:cubicBezTo>
                    <a:pt x="100" y="8"/>
                    <a:pt x="98" y="11"/>
                    <a:pt x="97" y="13"/>
                  </a:cubicBezTo>
                  <a:cubicBezTo>
                    <a:pt x="96" y="15"/>
                    <a:pt x="94" y="17"/>
                    <a:pt x="93" y="18"/>
                  </a:cubicBezTo>
                  <a:cubicBezTo>
                    <a:pt x="89" y="21"/>
                    <a:pt x="85" y="24"/>
                    <a:pt x="81" y="26"/>
                  </a:cubicBezTo>
                  <a:cubicBezTo>
                    <a:pt x="74" y="28"/>
                    <a:pt x="69" y="32"/>
                    <a:pt x="66" y="38"/>
                  </a:cubicBezTo>
                  <a:cubicBezTo>
                    <a:pt x="65" y="41"/>
                    <a:pt x="62" y="43"/>
                    <a:pt x="60" y="46"/>
                  </a:cubicBezTo>
                  <a:cubicBezTo>
                    <a:pt x="57" y="51"/>
                    <a:pt x="52" y="54"/>
                    <a:pt x="46" y="55"/>
                  </a:cubicBezTo>
                  <a:cubicBezTo>
                    <a:pt x="40" y="56"/>
                    <a:pt x="36" y="60"/>
                    <a:pt x="34" y="65"/>
                  </a:cubicBezTo>
                  <a:cubicBezTo>
                    <a:pt x="33" y="67"/>
                    <a:pt x="33" y="69"/>
                    <a:pt x="32" y="71"/>
                  </a:cubicBezTo>
                  <a:cubicBezTo>
                    <a:pt x="31" y="72"/>
                    <a:pt x="28" y="74"/>
                    <a:pt x="26" y="73"/>
                  </a:cubicBezTo>
                  <a:cubicBezTo>
                    <a:pt x="22" y="72"/>
                    <a:pt x="19" y="70"/>
                    <a:pt x="15" y="69"/>
                  </a:cubicBezTo>
                  <a:cubicBezTo>
                    <a:pt x="12" y="68"/>
                    <a:pt x="9" y="69"/>
                    <a:pt x="7" y="72"/>
                  </a:cubicBezTo>
                  <a:cubicBezTo>
                    <a:pt x="6" y="73"/>
                    <a:pt x="5" y="74"/>
                    <a:pt x="4" y="76"/>
                  </a:cubicBezTo>
                  <a:cubicBezTo>
                    <a:pt x="2" y="80"/>
                    <a:pt x="0" y="85"/>
                    <a:pt x="2" y="8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131"/>
            <p:cNvSpPr>
              <a:spLocks/>
            </p:cNvSpPr>
            <p:nvPr/>
          </p:nvSpPr>
          <p:spPr bwMode="auto">
            <a:xfrm>
              <a:off x="2827469" y="4989461"/>
              <a:ext cx="226465" cy="392237"/>
            </a:xfrm>
            <a:custGeom>
              <a:avLst/>
              <a:gdLst>
                <a:gd name="T0" fmla="*/ 94 w 106"/>
                <a:gd name="T1" fmla="*/ 1 h 183"/>
                <a:gd name="T2" fmla="*/ 91 w 106"/>
                <a:gd name="T3" fmla="*/ 1 h 183"/>
                <a:gd name="T4" fmla="*/ 87 w 106"/>
                <a:gd name="T5" fmla="*/ 9 h 183"/>
                <a:gd name="T6" fmla="*/ 82 w 106"/>
                <a:gd name="T7" fmla="*/ 16 h 183"/>
                <a:gd name="T8" fmla="*/ 80 w 106"/>
                <a:gd name="T9" fmla="*/ 19 h 183"/>
                <a:gd name="T10" fmla="*/ 73 w 106"/>
                <a:gd name="T11" fmla="*/ 27 h 183"/>
                <a:gd name="T12" fmla="*/ 64 w 106"/>
                <a:gd name="T13" fmla="*/ 37 h 183"/>
                <a:gd name="T14" fmla="*/ 53 w 106"/>
                <a:gd name="T15" fmla="*/ 46 h 183"/>
                <a:gd name="T16" fmla="*/ 39 w 106"/>
                <a:gd name="T17" fmla="*/ 50 h 183"/>
                <a:gd name="T18" fmla="*/ 37 w 106"/>
                <a:gd name="T19" fmla="*/ 50 h 183"/>
                <a:gd name="T20" fmla="*/ 23 w 106"/>
                <a:gd name="T21" fmla="*/ 56 h 183"/>
                <a:gd name="T22" fmla="*/ 18 w 106"/>
                <a:gd name="T23" fmla="*/ 65 h 183"/>
                <a:gd name="T24" fmla="*/ 17 w 106"/>
                <a:gd name="T25" fmla="*/ 85 h 183"/>
                <a:gd name="T26" fmla="*/ 19 w 106"/>
                <a:gd name="T27" fmla="*/ 91 h 183"/>
                <a:gd name="T28" fmla="*/ 17 w 106"/>
                <a:gd name="T29" fmla="*/ 107 h 183"/>
                <a:gd name="T30" fmla="*/ 6 w 106"/>
                <a:gd name="T31" fmla="*/ 123 h 183"/>
                <a:gd name="T32" fmla="*/ 3 w 106"/>
                <a:gd name="T33" fmla="*/ 143 h 183"/>
                <a:gd name="T34" fmla="*/ 5 w 106"/>
                <a:gd name="T35" fmla="*/ 154 h 183"/>
                <a:gd name="T36" fmla="*/ 5 w 106"/>
                <a:gd name="T37" fmla="*/ 164 h 183"/>
                <a:gd name="T38" fmla="*/ 7 w 106"/>
                <a:gd name="T39" fmla="*/ 169 h 183"/>
                <a:gd name="T40" fmla="*/ 24 w 106"/>
                <a:gd name="T41" fmla="*/ 181 h 183"/>
                <a:gd name="T42" fmla="*/ 35 w 106"/>
                <a:gd name="T43" fmla="*/ 178 h 183"/>
                <a:gd name="T44" fmla="*/ 43 w 106"/>
                <a:gd name="T45" fmla="*/ 177 h 183"/>
                <a:gd name="T46" fmla="*/ 56 w 106"/>
                <a:gd name="T47" fmla="*/ 168 h 183"/>
                <a:gd name="T48" fmla="*/ 61 w 106"/>
                <a:gd name="T49" fmla="*/ 157 h 183"/>
                <a:gd name="T50" fmla="*/ 72 w 106"/>
                <a:gd name="T51" fmla="*/ 129 h 183"/>
                <a:gd name="T52" fmla="*/ 88 w 106"/>
                <a:gd name="T53" fmla="*/ 88 h 183"/>
                <a:gd name="T54" fmla="*/ 92 w 106"/>
                <a:gd name="T55" fmla="*/ 76 h 183"/>
                <a:gd name="T56" fmla="*/ 96 w 106"/>
                <a:gd name="T57" fmla="*/ 61 h 183"/>
                <a:gd name="T58" fmla="*/ 103 w 106"/>
                <a:gd name="T59" fmla="*/ 50 h 183"/>
                <a:gd name="T60" fmla="*/ 106 w 106"/>
                <a:gd name="T61" fmla="*/ 42 h 183"/>
                <a:gd name="T62" fmla="*/ 104 w 106"/>
                <a:gd name="T63" fmla="*/ 28 h 183"/>
                <a:gd name="T64" fmla="*/ 94 w 106"/>
                <a:gd name="T65" fmla="*/ 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83">
                  <a:moveTo>
                    <a:pt x="94" y="1"/>
                  </a:moveTo>
                  <a:cubicBezTo>
                    <a:pt x="93" y="0"/>
                    <a:pt x="92" y="0"/>
                    <a:pt x="91" y="1"/>
                  </a:cubicBezTo>
                  <a:cubicBezTo>
                    <a:pt x="88" y="3"/>
                    <a:pt x="87" y="6"/>
                    <a:pt x="87" y="9"/>
                  </a:cubicBezTo>
                  <a:cubicBezTo>
                    <a:pt x="86" y="12"/>
                    <a:pt x="85" y="15"/>
                    <a:pt x="82" y="16"/>
                  </a:cubicBezTo>
                  <a:cubicBezTo>
                    <a:pt x="81" y="17"/>
                    <a:pt x="81" y="19"/>
                    <a:pt x="80" y="19"/>
                  </a:cubicBezTo>
                  <a:cubicBezTo>
                    <a:pt x="77" y="21"/>
                    <a:pt x="74" y="22"/>
                    <a:pt x="73" y="27"/>
                  </a:cubicBezTo>
                  <a:cubicBezTo>
                    <a:pt x="73" y="31"/>
                    <a:pt x="69" y="35"/>
                    <a:pt x="64" y="37"/>
                  </a:cubicBezTo>
                  <a:cubicBezTo>
                    <a:pt x="60" y="39"/>
                    <a:pt x="57" y="43"/>
                    <a:pt x="53" y="46"/>
                  </a:cubicBezTo>
                  <a:cubicBezTo>
                    <a:pt x="48" y="48"/>
                    <a:pt x="43" y="48"/>
                    <a:pt x="39" y="50"/>
                  </a:cubicBezTo>
                  <a:cubicBezTo>
                    <a:pt x="38" y="50"/>
                    <a:pt x="37" y="50"/>
                    <a:pt x="37" y="50"/>
                  </a:cubicBezTo>
                  <a:cubicBezTo>
                    <a:pt x="32" y="52"/>
                    <a:pt x="28" y="54"/>
                    <a:pt x="23" y="56"/>
                  </a:cubicBezTo>
                  <a:cubicBezTo>
                    <a:pt x="22" y="59"/>
                    <a:pt x="20" y="62"/>
                    <a:pt x="18" y="65"/>
                  </a:cubicBezTo>
                  <a:cubicBezTo>
                    <a:pt x="14" y="72"/>
                    <a:pt x="14" y="78"/>
                    <a:pt x="17" y="85"/>
                  </a:cubicBezTo>
                  <a:cubicBezTo>
                    <a:pt x="17" y="87"/>
                    <a:pt x="18" y="89"/>
                    <a:pt x="19" y="91"/>
                  </a:cubicBezTo>
                  <a:cubicBezTo>
                    <a:pt x="22" y="97"/>
                    <a:pt x="21" y="102"/>
                    <a:pt x="17" y="107"/>
                  </a:cubicBezTo>
                  <a:cubicBezTo>
                    <a:pt x="13" y="112"/>
                    <a:pt x="10" y="118"/>
                    <a:pt x="6" y="123"/>
                  </a:cubicBezTo>
                  <a:cubicBezTo>
                    <a:pt x="2" y="129"/>
                    <a:pt x="0" y="136"/>
                    <a:pt x="3" y="143"/>
                  </a:cubicBezTo>
                  <a:cubicBezTo>
                    <a:pt x="4" y="147"/>
                    <a:pt x="5" y="150"/>
                    <a:pt x="5" y="154"/>
                  </a:cubicBezTo>
                  <a:cubicBezTo>
                    <a:pt x="5" y="157"/>
                    <a:pt x="4" y="160"/>
                    <a:pt x="5" y="164"/>
                  </a:cubicBezTo>
                  <a:cubicBezTo>
                    <a:pt x="5" y="165"/>
                    <a:pt x="6" y="168"/>
                    <a:pt x="7" y="169"/>
                  </a:cubicBezTo>
                  <a:cubicBezTo>
                    <a:pt x="11" y="175"/>
                    <a:pt x="18" y="179"/>
                    <a:pt x="24" y="181"/>
                  </a:cubicBezTo>
                  <a:cubicBezTo>
                    <a:pt x="28" y="183"/>
                    <a:pt x="31" y="180"/>
                    <a:pt x="35" y="178"/>
                  </a:cubicBezTo>
                  <a:cubicBezTo>
                    <a:pt x="37" y="177"/>
                    <a:pt x="40" y="177"/>
                    <a:pt x="43" y="177"/>
                  </a:cubicBezTo>
                  <a:cubicBezTo>
                    <a:pt x="49" y="176"/>
                    <a:pt x="53" y="173"/>
                    <a:pt x="56" y="168"/>
                  </a:cubicBezTo>
                  <a:cubicBezTo>
                    <a:pt x="58" y="164"/>
                    <a:pt x="59" y="161"/>
                    <a:pt x="61" y="157"/>
                  </a:cubicBezTo>
                  <a:cubicBezTo>
                    <a:pt x="65" y="147"/>
                    <a:pt x="68" y="138"/>
                    <a:pt x="72" y="129"/>
                  </a:cubicBezTo>
                  <a:cubicBezTo>
                    <a:pt x="78" y="116"/>
                    <a:pt x="82" y="101"/>
                    <a:pt x="88" y="88"/>
                  </a:cubicBezTo>
                  <a:cubicBezTo>
                    <a:pt x="90" y="84"/>
                    <a:pt x="91" y="80"/>
                    <a:pt x="92" y="76"/>
                  </a:cubicBezTo>
                  <a:cubicBezTo>
                    <a:pt x="93" y="71"/>
                    <a:pt x="94" y="66"/>
                    <a:pt x="96" y="61"/>
                  </a:cubicBezTo>
                  <a:cubicBezTo>
                    <a:pt x="98" y="57"/>
                    <a:pt x="97" y="51"/>
                    <a:pt x="103" y="50"/>
                  </a:cubicBezTo>
                  <a:cubicBezTo>
                    <a:pt x="105" y="47"/>
                    <a:pt x="106" y="45"/>
                    <a:pt x="106" y="42"/>
                  </a:cubicBezTo>
                  <a:cubicBezTo>
                    <a:pt x="105" y="38"/>
                    <a:pt x="104" y="33"/>
                    <a:pt x="104" y="28"/>
                  </a:cubicBezTo>
                  <a:cubicBezTo>
                    <a:pt x="104" y="18"/>
                    <a:pt x="101" y="9"/>
                    <a:pt x="94"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132"/>
            <p:cNvSpPr>
              <a:spLocks/>
            </p:cNvSpPr>
            <p:nvPr/>
          </p:nvSpPr>
          <p:spPr bwMode="auto">
            <a:xfrm>
              <a:off x="2716049" y="1697572"/>
              <a:ext cx="265416" cy="466517"/>
            </a:xfrm>
            <a:custGeom>
              <a:avLst/>
              <a:gdLst>
                <a:gd name="T0" fmla="*/ 12 w 124"/>
                <a:gd name="T1" fmla="*/ 139 h 218"/>
                <a:gd name="T2" fmla="*/ 5 w 124"/>
                <a:gd name="T3" fmla="*/ 155 h 218"/>
                <a:gd name="T4" fmla="*/ 6 w 124"/>
                <a:gd name="T5" fmla="*/ 162 h 218"/>
                <a:gd name="T6" fmla="*/ 9 w 124"/>
                <a:gd name="T7" fmla="*/ 166 h 218"/>
                <a:gd name="T8" fmla="*/ 7 w 124"/>
                <a:gd name="T9" fmla="*/ 175 h 218"/>
                <a:gd name="T10" fmla="*/ 1 w 124"/>
                <a:gd name="T11" fmla="*/ 180 h 218"/>
                <a:gd name="T12" fmla="*/ 2 w 124"/>
                <a:gd name="T13" fmla="*/ 189 h 218"/>
                <a:gd name="T14" fmla="*/ 8 w 124"/>
                <a:gd name="T15" fmla="*/ 196 h 218"/>
                <a:gd name="T16" fmla="*/ 13 w 124"/>
                <a:gd name="T17" fmla="*/ 197 h 218"/>
                <a:gd name="T18" fmla="*/ 19 w 124"/>
                <a:gd name="T19" fmla="*/ 196 h 218"/>
                <a:gd name="T20" fmla="*/ 28 w 124"/>
                <a:gd name="T21" fmla="*/ 200 h 218"/>
                <a:gd name="T22" fmla="*/ 30 w 124"/>
                <a:gd name="T23" fmla="*/ 205 h 218"/>
                <a:gd name="T24" fmla="*/ 39 w 124"/>
                <a:gd name="T25" fmla="*/ 213 h 218"/>
                <a:gd name="T26" fmla="*/ 46 w 124"/>
                <a:gd name="T27" fmla="*/ 216 h 218"/>
                <a:gd name="T28" fmla="*/ 54 w 124"/>
                <a:gd name="T29" fmla="*/ 217 h 218"/>
                <a:gd name="T30" fmla="*/ 61 w 124"/>
                <a:gd name="T31" fmla="*/ 217 h 218"/>
                <a:gd name="T32" fmla="*/ 61 w 124"/>
                <a:gd name="T33" fmla="*/ 218 h 218"/>
                <a:gd name="T34" fmla="*/ 71 w 124"/>
                <a:gd name="T35" fmla="*/ 217 h 218"/>
                <a:gd name="T36" fmla="*/ 73 w 124"/>
                <a:gd name="T37" fmla="*/ 216 h 218"/>
                <a:gd name="T38" fmla="*/ 75 w 124"/>
                <a:gd name="T39" fmla="*/ 211 h 218"/>
                <a:gd name="T40" fmla="*/ 73 w 124"/>
                <a:gd name="T41" fmla="*/ 206 h 218"/>
                <a:gd name="T42" fmla="*/ 63 w 124"/>
                <a:gd name="T43" fmla="*/ 200 h 218"/>
                <a:gd name="T44" fmla="*/ 45 w 124"/>
                <a:gd name="T45" fmla="*/ 177 h 218"/>
                <a:gd name="T46" fmla="*/ 41 w 124"/>
                <a:gd name="T47" fmla="*/ 163 h 218"/>
                <a:gd name="T48" fmla="*/ 41 w 124"/>
                <a:gd name="T49" fmla="*/ 143 h 218"/>
                <a:gd name="T50" fmla="*/ 45 w 124"/>
                <a:gd name="T51" fmla="*/ 134 h 218"/>
                <a:gd name="T52" fmla="*/ 47 w 124"/>
                <a:gd name="T53" fmla="*/ 128 h 218"/>
                <a:gd name="T54" fmla="*/ 51 w 124"/>
                <a:gd name="T55" fmla="*/ 102 h 218"/>
                <a:gd name="T56" fmla="*/ 56 w 124"/>
                <a:gd name="T57" fmla="*/ 93 h 218"/>
                <a:gd name="T58" fmla="*/ 66 w 124"/>
                <a:gd name="T59" fmla="*/ 81 h 218"/>
                <a:gd name="T60" fmla="*/ 77 w 124"/>
                <a:gd name="T61" fmla="*/ 64 h 218"/>
                <a:gd name="T62" fmla="*/ 90 w 124"/>
                <a:gd name="T63" fmla="*/ 49 h 218"/>
                <a:gd name="T64" fmla="*/ 108 w 124"/>
                <a:gd name="T65" fmla="*/ 36 h 218"/>
                <a:gd name="T66" fmla="*/ 116 w 124"/>
                <a:gd name="T67" fmla="*/ 30 h 218"/>
                <a:gd name="T68" fmla="*/ 121 w 124"/>
                <a:gd name="T69" fmla="*/ 16 h 218"/>
                <a:gd name="T70" fmla="*/ 120 w 124"/>
                <a:gd name="T71" fmla="*/ 11 h 218"/>
                <a:gd name="T72" fmla="*/ 116 w 124"/>
                <a:gd name="T73" fmla="*/ 6 h 218"/>
                <a:gd name="T74" fmla="*/ 112 w 124"/>
                <a:gd name="T75" fmla="*/ 3 h 218"/>
                <a:gd name="T76" fmla="*/ 100 w 124"/>
                <a:gd name="T77" fmla="*/ 2 h 218"/>
                <a:gd name="T78" fmla="*/ 88 w 124"/>
                <a:gd name="T79" fmla="*/ 16 h 218"/>
                <a:gd name="T80" fmla="*/ 80 w 124"/>
                <a:gd name="T81" fmla="*/ 26 h 218"/>
                <a:gd name="T82" fmla="*/ 64 w 124"/>
                <a:gd name="T83" fmla="*/ 32 h 218"/>
                <a:gd name="T84" fmla="*/ 42 w 124"/>
                <a:gd name="T85" fmla="*/ 45 h 218"/>
                <a:gd name="T86" fmla="*/ 42 w 124"/>
                <a:gd name="T87" fmla="*/ 46 h 218"/>
                <a:gd name="T88" fmla="*/ 35 w 124"/>
                <a:gd name="T89" fmla="*/ 51 h 218"/>
                <a:gd name="T90" fmla="*/ 31 w 124"/>
                <a:gd name="T91" fmla="*/ 55 h 218"/>
                <a:gd name="T92" fmla="*/ 28 w 124"/>
                <a:gd name="T93" fmla="*/ 63 h 218"/>
                <a:gd name="T94" fmla="*/ 27 w 124"/>
                <a:gd name="T95" fmla="*/ 70 h 218"/>
                <a:gd name="T96" fmla="*/ 26 w 124"/>
                <a:gd name="T97" fmla="*/ 72 h 218"/>
                <a:gd name="T98" fmla="*/ 25 w 124"/>
                <a:gd name="T99" fmla="*/ 73 h 218"/>
                <a:gd name="T100" fmla="*/ 19 w 124"/>
                <a:gd name="T101" fmla="*/ 78 h 218"/>
                <a:gd name="T102" fmla="*/ 13 w 124"/>
                <a:gd name="T103" fmla="*/ 81 h 218"/>
                <a:gd name="T104" fmla="*/ 11 w 124"/>
                <a:gd name="T105" fmla="*/ 84 h 218"/>
                <a:gd name="T106" fmla="*/ 17 w 124"/>
                <a:gd name="T107" fmla="*/ 94 h 218"/>
                <a:gd name="T108" fmla="*/ 16 w 124"/>
                <a:gd name="T109" fmla="*/ 106 h 218"/>
                <a:gd name="T110" fmla="*/ 14 w 124"/>
                <a:gd name="T111" fmla="*/ 113 h 218"/>
                <a:gd name="T112" fmla="*/ 8 w 124"/>
                <a:gd name="T113" fmla="*/ 123 h 218"/>
                <a:gd name="T114" fmla="*/ 10 w 124"/>
                <a:gd name="T115" fmla="*/ 130 h 218"/>
                <a:gd name="T116" fmla="*/ 12 w 124"/>
                <a:gd name="T117"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4" h="218">
                  <a:moveTo>
                    <a:pt x="12" y="139"/>
                  </a:moveTo>
                  <a:cubicBezTo>
                    <a:pt x="7" y="144"/>
                    <a:pt x="8" y="150"/>
                    <a:pt x="5" y="155"/>
                  </a:cubicBezTo>
                  <a:cubicBezTo>
                    <a:pt x="3" y="157"/>
                    <a:pt x="4" y="160"/>
                    <a:pt x="6" y="162"/>
                  </a:cubicBezTo>
                  <a:cubicBezTo>
                    <a:pt x="7" y="163"/>
                    <a:pt x="8" y="164"/>
                    <a:pt x="9" y="166"/>
                  </a:cubicBezTo>
                  <a:cubicBezTo>
                    <a:pt x="11" y="169"/>
                    <a:pt x="10" y="173"/>
                    <a:pt x="7" y="175"/>
                  </a:cubicBezTo>
                  <a:cubicBezTo>
                    <a:pt x="4" y="176"/>
                    <a:pt x="2" y="177"/>
                    <a:pt x="1" y="180"/>
                  </a:cubicBezTo>
                  <a:cubicBezTo>
                    <a:pt x="0" y="183"/>
                    <a:pt x="0" y="186"/>
                    <a:pt x="2" y="189"/>
                  </a:cubicBezTo>
                  <a:cubicBezTo>
                    <a:pt x="3" y="192"/>
                    <a:pt x="5" y="195"/>
                    <a:pt x="8" y="196"/>
                  </a:cubicBezTo>
                  <a:cubicBezTo>
                    <a:pt x="9" y="197"/>
                    <a:pt x="11" y="198"/>
                    <a:pt x="13" y="197"/>
                  </a:cubicBezTo>
                  <a:cubicBezTo>
                    <a:pt x="15" y="197"/>
                    <a:pt x="17" y="196"/>
                    <a:pt x="19" y="196"/>
                  </a:cubicBezTo>
                  <a:cubicBezTo>
                    <a:pt x="23" y="195"/>
                    <a:pt x="25" y="197"/>
                    <a:pt x="28" y="200"/>
                  </a:cubicBezTo>
                  <a:cubicBezTo>
                    <a:pt x="29" y="201"/>
                    <a:pt x="30" y="203"/>
                    <a:pt x="30" y="205"/>
                  </a:cubicBezTo>
                  <a:cubicBezTo>
                    <a:pt x="31" y="210"/>
                    <a:pt x="34" y="212"/>
                    <a:pt x="39" y="213"/>
                  </a:cubicBezTo>
                  <a:cubicBezTo>
                    <a:pt x="41" y="214"/>
                    <a:pt x="44" y="215"/>
                    <a:pt x="46" y="216"/>
                  </a:cubicBezTo>
                  <a:cubicBezTo>
                    <a:pt x="49" y="217"/>
                    <a:pt x="51" y="218"/>
                    <a:pt x="54" y="217"/>
                  </a:cubicBezTo>
                  <a:cubicBezTo>
                    <a:pt x="57" y="217"/>
                    <a:pt x="59" y="217"/>
                    <a:pt x="61" y="217"/>
                  </a:cubicBezTo>
                  <a:cubicBezTo>
                    <a:pt x="61" y="217"/>
                    <a:pt x="61" y="217"/>
                    <a:pt x="61" y="218"/>
                  </a:cubicBezTo>
                  <a:cubicBezTo>
                    <a:pt x="64" y="218"/>
                    <a:pt x="68" y="218"/>
                    <a:pt x="71" y="217"/>
                  </a:cubicBezTo>
                  <a:cubicBezTo>
                    <a:pt x="72" y="217"/>
                    <a:pt x="73" y="217"/>
                    <a:pt x="73" y="216"/>
                  </a:cubicBezTo>
                  <a:cubicBezTo>
                    <a:pt x="74" y="214"/>
                    <a:pt x="74" y="213"/>
                    <a:pt x="75" y="211"/>
                  </a:cubicBezTo>
                  <a:cubicBezTo>
                    <a:pt x="75" y="209"/>
                    <a:pt x="74" y="207"/>
                    <a:pt x="73" y="206"/>
                  </a:cubicBezTo>
                  <a:cubicBezTo>
                    <a:pt x="69" y="204"/>
                    <a:pt x="66" y="202"/>
                    <a:pt x="63" y="200"/>
                  </a:cubicBezTo>
                  <a:cubicBezTo>
                    <a:pt x="54" y="194"/>
                    <a:pt x="48" y="186"/>
                    <a:pt x="45" y="177"/>
                  </a:cubicBezTo>
                  <a:cubicBezTo>
                    <a:pt x="43" y="172"/>
                    <a:pt x="42" y="168"/>
                    <a:pt x="41" y="163"/>
                  </a:cubicBezTo>
                  <a:cubicBezTo>
                    <a:pt x="39" y="156"/>
                    <a:pt x="41" y="149"/>
                    <a:pt x="41" y="143"/>
                  </a:cubicBezTo>
                  <a:cubicBezTo>
                    <a:pt x="41" y="139"/>
                    <a:pt x="44" y="137"/>
                    <a:pt x="45" y="134"/>
                  </a:cubicBezTo>
                  <a:cubicBezTo>
                    <a:pt x="46" y="133"/>
                    <a:pt x="47" y="130"/>
                    <a:pt x="47" y="128"/>
                  </a:cubicBezTo>
                  <a:cubicBezTo>
                    <a:pt x="49" y="120"/>
                    <a:pt x="50" y="111"/>
                    <a:pt x="51" y="102"/>
                  </a:cubicBezTo>
                  <a:cubicBezTo>
                    <a:pt x="52" y="98"/>
                    <a:pt x="53" y="95"/>
                    <a:pt x="56" y="93"/>
                  </a:cubicBezTo>
                  <a:cubicBezTo>
                    <a:pt x="61" y="90"/>
                    <a:pt x="64" y="86"/>
                    <a:pt x="66" y="81"/>
                  </a:cubicBezTo>
                  <a:cubicBezTo>
                    <a:pt x="69" y="75"/>
                    <a:pt x="74" y="69"/>
                    <a:pt x="77" y="64"/>
                  </a:cubicBezTo>
                  <a:cubicBezTo>
                    <a:pt x="81" y="58"/>
                    <a:pt x="85" y="54"/>
                    <a:pt x="90" y="49"/>
                  </a:cubicBezTo>
                  <a:cubicBezTo>
                    <a:pt x="96" y="45"/>
                    <a:pt x="101" y="40"/>
                    <a:pt x="108" y="36"/>
                  </a:cubicBezTo>
                  <a:cubicBezTo>
                    <a:pt x="111" y="35"/>
                    <a:pt x="113" y="32"/>
                    <a:pt x="116" y="30"/>
                  </a:cubicBezTo>
                  <a:cubicBezTo>
                    <a:pt x="122" y="27"/>
                    <a:pt x="124" y="22"/>
                    <a:pt x="121" y="16"/>
                  </a:cubicBezTo>
                  <a:cubicBezTo>
                    <a:pt x="121" y="14"/>
                    <a:pt x="120" y="13"/>
                    <a:pt x="120" y="11"/>
                  </a:cubicBezTo>
                  <a:cubicBezTo>
                    <a:pt x="119" y="9"/>
                    <a:pt x="118" y="7"/>
                    <a:pt x="116" y="6"/>
                  </a:cubicBezTo>
                  <a:cubicBezTo>
                    <a:pt x="115" y="5"/>
                    <a:pt x="114" y="4"/>
                    <a:pt x="112" y="3"/>
                  </a:cubicBezTo>
                  <a:cubicBezTo>
                    <a:pt x="108" y="0"/>
                    <a:pt x="104" y="0"/>
                    <a:pt x="100" y="2"/>
                  </a:cubicBezTo>
                  <a:cubicBezTo>
                    <a:pt x="94" y="5"/>
                    <a:pt x="89" y="9"/>
                    <a:pt x="88" y="16"/>
                  </a:cubicBezTo>
                  <a:cubicBezTo>
                    <a:pt x="87" y="21"/>
                    <a:pt x="84" y="24"/>
                    <a:pt x="80" y="26"/>
                  </a:cubicBezTo>
                  <a:cubicBezTo>
                    <a:pt x="75" y="29"/>
                    <a:pt x="70" y="32"/>
                    <a:pt x="64" y="32"/>
                  </a:cubicBezTo>
                  <a:cubicBezTo>
                    <a:pt x="54" y="32"/>
                    <a:pt x="48" y="38"/>
                    <a:pt x="42" y="45"/>
                  </a:cubicBezTo>
                  <a:cubicBezTo>
                    <a:pt x="42" y="45"/>
                    <a:pt x="42" y="46"/>
                    <a:pt x="42" y="46"/>
                  </a:cubicBezTo>
                  <a:cubicBezTo>
                    <a:pt x="40" y="49"/>
                    <a:pt x="38" y="50"/>
                    <a:pt x="35" y="51"/>
                  </a:cubicBezTo>
                  <a:cubicBezTo>
                    <a:pt x="33" y="52"/>
                    <a:pt x="32" y="53"/>
                    <a:pt x="31" y="55"/>
                  </a:cubicBezTo>
                  <a:cubicBezTo>
                    <a:pt x="31" y="58"/>
                    <a:pt x="30" y="60"/>
                    <a:pt x="28" y="63"/>
                  </a:cubicBezTo>
                  <a:cubicBezTo>
                    <a:pt x="27" y="65"/>
                    <a:pt x="26" y="67"/>
                    <a:pt x="27" y="70"/>
                  </a:cubicBezTo>
                  <a:cubicBezTo>
                    <a:pt x="27" y="71"/>
                    <a:pt x="26" y="72"/>
                    <a:pt x="26" y="72"/>
                  </a:cubicBezTo>
                  <a:cubicBezTo>
                    <a:pt x="26" y="73"/>
                    <a:pt x="25" y="73"/>
                    <a:pt x="25" y="73"/>
                  </a:cubicBezTo>
                  <a:cubicBezTo>
                    <a:pt x="22" y="74"/>
                    <a:pt x="20" y="76"/>
                    <a:pt x="19" y="78"/>
                  </a:cubicBezTo>
                  <a:cubicBezTo>
                    <a:pt x="17" y="80"/>
                    <a:pt x="15" y="81"/>
                    <a:pt x="13" y="81"/>
                  </a:cubicBezTo>
                  <a:cubicBezTo>
                    <a:pt x="11" y="81"/>
                    <a:pt x="10" y="83"/>
                    <a:pt x="11" y="84"/>
                  </a:cubicBezTo>
                  <a:cubicBezTo>
                    <a:pt x="13" y="87"/>
                    <a:pt x="16" y="90"/>
                    <a:pt x="17" y="94"/>
                  </a:cubicBezTo>
                  <a:cubicBezTo>
                    <a:pt x="17" y="98"/>
                    <a:pt x="16" y="102"/>
                    <a:pt x="16" y="106"/>
                  </a:cubicBezTo>
                  <a:cubicBezTo>
                    <a:pt x="16" y="109"/>
                    <a:pt x="15" y="111"/>
                    <a:pt x="14" y="113"/>
                  </a:cubicBezTo>
                  <a:cubicBezTo>
                    <a:pt x="12" y="117"/>
                    <a:pt x="10" y="120"/>
                    <a:pt x="8" y="123"/>
                  </a:cubicBezTo>
                  <a:cubicBezTo>
                    <a:pt x="7" y="125"/>
                    <a:pt x="7" y="128"/>
                    <a:pt x="10" y="130"/>
                  </a:cubicBezTo>
                  <a:cubicBezTo>
                    <a:pt x="14" y="134"/>
                    <a:pt x="15" y="136"/>
                    <a:pt x="12" y="13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133"/>
            <p:cNvSpPr>
              <a:spLocks noEditPoints="1"/>
            </p:cNvSpPr>
            <p:nvPr/>
          </p:nvSpPr>
          <p:spPr bwMode="auto">
            <a:xfrm>
              <a:off x="5287781" y="3261084"/>
              <a:ext cx="299839" cy="423942"/>
            </a:xfrm>
            <a:custGeom>
              <a:avLst/>
              <a:gdLst>
                <a:gd name="T0" fmla="*/ 25 w 140"/>
                <a:gd name="T1" fmla="*/ 196 h 198"/>
                <a:gd name="T2" fmla="*/ 32 w 140"/>
                <a:gd name="T3" fmla="*/ 164 h 198"/>
                <a:gd name="T4" fmla="*/ 20 w 140"/>
                <a:gd name="T5" fmla="*/ 149 h 198"/>
                <a:gd name="T6" fmla="*/ 23 w 140"/>
                <a:gd name="T7" fmla="*/ 147 h 198"/>
                <a:gd name="T8" fmla="*/ 36 w 140"/>
                <a:gd name="T9" fmla="*/ 141 h 198"/>
                <a:gd name="T10" fmla="*/ 50 w 140"/>
                <a:gd name="T11" fmla="*/ 140 h 198"/>
                <a:gd name="T12" fmla="*/ 50 w 140"/>
                <a:gd name="T13" fmla="*/ 140 h 198"/>
                <a:gd name="T14" fmla="*/ 42 w 140"/>
                <a:gd name="T15" fmla="*/ 145 h 198"/>
                <a:gd name="T16" fmla="*/ 34 w 140"/>
                <a:gd name="T17" fmla="*/ 154 h 198"/>
                <a:gd name="T18" fmla="*/ 38 w 140"/>
                <a:gd name="T19" fmla="*/ 162 h 198"/>
                <a:gd name="T20" fmla="*/ 50 w 140"/>
                <a:gd name="T21" fmla="*/ 155 h 198"/>
                <a:gd name="T22" fmla="*/ 59 w 140"/>
                <a:gd name="T23" fmla="*/ 154 h 198"/>
                <a:gd name="T24" fmla="*/ 58 w 140"/>
                <a:gd name="T25" fmla="*/ 137 h 198"/>
                <a:gd name="T26" fmla="*/ 63 w 140"/>
                <a:gd name="T27" fmla="*/ 131 h 198"/>
                <a:gd name="T28" fmla="*/ 65 w 140"/>
                <a:gd name="T29" fmla="*/ 134 h 198"/>
                <a:gd name="T30" fmla="*/ 69 w 140"/>
                <a:gd name="T31" fmla="*/ 146 h 198"/>
                <a:gd name="T32" fmla="*/ 81 w 140"/>
                <a:gd name="T33" fmla="*/ 150 h 198"/>
                <a:gd name="T34" fmla="*/ 95 w 140"/>
                <a:gd name="T35" fmla="*/ 131 h 198"/>
                <a:gd name="T36" fmla="*/ 111 w 140"/>
                <a:gd name="T37" fmla="*/ 126 h 198"/>
                <a:gd name="T38" fmla="*/ 118 w 140"/>
                <a:gd name="T39" fmla="*/ 126 h 198"/>
                <a:gd name="T40" fmla="*/ 124 w 140"/>
                <a:gd name="T41" fmla="*/ 115 h 198"/>
                <a:gd name="T42" fmla="*/ 126 w 140"/>
                <a:gd name="T43" fmla="*/ 121 h 198"/>
                <a:gd name="T44" fmla="*/ 137 w 140"/>
                <a:gd name="T45" fmla="*/ 106 h 198"/>
                <a:gd name="T46" fmla="*/ 130 w 140"/>
                <a:gd name="T47" fmla="*/ 68 h 198"/>
                <a:gd name="T48" fmla="*/ 136 w 140"/>
                <a:gd name="T49" fmla="*/ 54 h 198"/>
                <a:gd name="T50" fmla="*/ 129 w 140"/>
                <a:gd name="T51" fmla="*/ 24 h 198"/>
                <a:gd name="T52" fmla="*/ 109 w 140"/>
                <a:gd name="T53" fmla="*/ 1 h 198"/>
                <a:gd name="T54" fmla="*/ 105 w 140"/>
                <a:gd name="T55" fmla="*/ 34 h 198"/>
                <a:gd name="T56" fmla="*/ 101 w 140"/>
                <a:gd name="T57" fmla="*/ 71 h 198"/>
                <a:gd name="T58" fmla="*/ 85 w 140"/>
                <a:gd name="T59" fmla="*/ 89 h 198"/>
                <a:gd name="T60" fmla="*/ 81 w 140"/>
                <a:gd name="T61" fmla="*/ 84 h 198"/>
                <a:gd name="T62" fmla="*/ 75 w 140"/>
                <a:gd name="T63" fmla="*/ 83 h 198"/>
                <a:gd name="T64" fmla="*/ 74 w 140"/>
                <a:gd name="T65" fmla="*/ 95 h 198"/>
                <a:gd name="T66" fmla="*/ 66 w 140"/>
                <a:gd name="T67" fmla="*/ 113 h 198"/>
                <a:gd name="T68" fmla="*/ 37 w 140"/>
                <a:gd name="T69" fmla="*/ 118 h 198"/>
                <a:gd name="T70" fmla="*/ 13 w 140"/>
                <a:gd name="T71" fmla="*/ 140 h 198"/>
                <a:gd name="T72" fmla="*/ 10 w 140"/>
                <a:gd name="T73" fmla="*/ 149 h 198"/>
                <a:gd name="T74" fmla="*/ 0 w 140"/>
                <a:gd name="T75" fmla="*/ 164 h 198"/>
                <a:gd name="T76" fmla="*/ 3 w 140"/>
                <a:gd name="T77" fmla="*/ 171 h 198"/>
                <a:gd name="T78" fmla="*/ 4 w 140"/>
                <a:gd name="T79" fmla="*/ 171 h 198"/>
                <a:gd name="T80" fmla="*/ 9 w 140"/>
                <a:gd name="T81" fmla="*/ 172 h 198"/>
                <a:gd name="T82" fmla="*/ 7 w 140"/>
                <a:gd name="T83" fmla="*/ 177 h 198"/>
                <a:gd name="T84" fmla="*/ 7 w 140"/>
                <a:gd name="T85" fmla="*/ 177 h 198"/>
                <a:gd name="T86" fmla="*/ 24 w 140"/>
                <a:gd name="T87" fmla="*/ 197 h 198"/>
                <a:gd name="T88" fmla="*/ 110 w 140"/>
                <a:gd name="T89" fmla="*/ 7 h 198"/>
                <a:gd name="T90" fmla="*/ 109 w 140"/>
                <a:gd name="T91" fmla="*/ 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 h="198">
                  <a:moveTo>
                    <a:pt x="24" y="197"/>
                  </a:moveTo>
                  <a:cubicBezTo>
                    <a:pt x="24" y="196"/>
                    <a:pt x="25" y="196"/>
                    <a:pt x="25" y="196"/>
                  </a:cubicBezTo>
                  <a:cubicBezTo>
                    <a:pt x="26" y="194"/>
                    <a:pt x="29" y="191"/>
                    <a:pt x="29" y="189"/>
                  </a:cubicBezTo>
                  <a:cubicBezTo>
                    <a:pt x="30" y="181"/>
                    <a:pt x="31" y="173"/>
                    <a:pt x="32" y="164"/>
                  </a:cubicBezTo>
                  <a:cubicBezTo>
                    <a:pt x="29" y="159"/>
                    <a:pt x="28" y="152"/>
                    <a:pt x="20" y="151"/>
                  </a:cubicBezTo>
                  <a:cubicBezTo>
                    <a:pt x="20" y="151"/>
                    <a:pt x="20" y="150"/>
                    <a:pt x="20" y="149"/>
                  </a:cubicBezTo>
                  <a:cubicBezTo>
                    <a:pt x="20" y="149"/>
                    <a:pt x="20" y="148"/>
                    <a:pt x="21" y="148"/>
                  </a:cubicBezTo>
                  <a:cubicBezTo>
                    <a:pt x="21" y="148"/>
                    <a:pt x="23" y="147"/>
                    <a:pt x="23" y="147"/>
                  </a:cubicBezTo>
                  <a:cubicBezTo>
                    <a:pt x="27" y="147"/>
                    <a:pt x="30" y="147"/>
                    <a:pt x="32" y="144"/>
                  </a:cubicBezTo>
                  <a:cubicBezTo>
                    <a:pt x="32" y="142"/>
                    <a:pt x="34" y="141"/>
                    <a:pt x="36" y="141"/>
                  </a:cubicBezTo>
                  <a:cubicBezTo>
                    <a:pt x="40" y="140"/>
                    <a:pt x="45" y="139"/>
                    <a:pt x="50" y="140"/>
                  </a:cubicBezTo>
                  <a:cubicBezTo>
                    <a:pt x="50" y="140"/>
                    <a:pt x="50" y="140"/>
                    <a:pt x="50" y="140"/>
                  </a:cubicBezTo>
                  <a:cubicBezTo>
                    <a:pt x="51" y="139"/>
                    <a:pt x="51" y="139"/>
                    <a:pt x="51" y="139"/>
                  </a:cubicBezTo>
                  <a:cubicBezTo>
                    <a:pt x="50" y="140"/>
                    <a:pt x="50" y="140"/>
                    <a:pt x="50" y="140"/>
                  </a:cubicBezTo>
                  <a:cubicBezTo>
                    <a:pt x="50" y="140"/>
                    <a:pt x="50" y="140"/>
                    <a:pt x="50" y="140"/>
                  </a:cubicBezTo>
                  <a:cubicBezTo>
                    <a:pt x="48" y="143"/>
                    <a:pt x="46" y="145"/>
                    <a:pt x="42" y="145"/>
                  </a:cubicBezTo>
                  <a:cubicBezTo>
                    <a:pt x="41" y="145"/>
                    <a:pt x="40" y="145"/>
                    <a:pt x="39" y="145"/>
                  </a:cubicBezTo>
                  <a:cubicBezTo>
                    <a:pt x="36" y="146"/>
                    <a:pt x="33" y="151"/>
                    <a:pt x="34" y="154"/>
                  </a:cubicBezTo>
                  <a:cubicBezTo>
                    <a:pt x="35" y="157"/>
                    <a:pt x="36" y="159"/>
                    <a:pt x="37" y="161"/>
                  </a:cubicBezTo>
                  <a:cubicBezTo>
                    <a:pt x="38" y="162"/>
                    <a:pt x="38" y="162"/>
                    <a:pt x="38" y="162"/>
                  </a:cubicBezTo>
                  <a:cubicBezTo>
                    <a:pt x="41" y="165"/>
                    <a:pt x="45" y="165"/>
                    <a:pt x="46" y="161"/>
                  </a:cubicBezTo>
                  <a:cubicBezTo>
                    <a:pt x="47" y="159"/>
                    <a:pt x="47" y="156"/>
                    <a:pt x="50" y="155"/>
                  </a:cubicBezTo>
                  <a:cubicBezTo>
                    <a:pt x="52" y="153"/>
                    <a:pt x="55" y="154"/>
                    <a:pt x="58" y="154"/>
                  </a:cubicBezTo>
                  <a:cubicBezTo>
                    <a:pt x="58" y="154"/>
                    <a:pt x="59" y="154"/>
                    <a:pt x="59" y="154"/>
                  </a:cubicBezTo>
                  <a:cubicBezTo>
                    <a:pt x="63" y="153"/>
                    <a:pt x="65" y="147"/>
                    <a:pt x="63" y="144"/>
                  </a:cubicBezTo>
                  <a:cubicBezTo>
                    <a:pt x="61" y="141"/>
                    <a:pt x="59" y="140"/>
                    <a:pt x="58" y="137"/>
                  </a:cubicBezTo>
                  <a:cubicBezTo>
                    <a:pt x="57" y="136"/>
                    <a:pt x="58" y="134"/>
                    <a:pt x="59" y="133"/>
                  </a:cubicBezTo>
                  <a:cubicBezTo>
                    <a:pt x="60" y="132"/>
                    <a:pt x="62" y="132"/>
                    <a:pt x="63" y="131"/>
                  </a:cubicBezTo>
                  <a:cubicBezTo>
                    <a:pt x="64" y="131"/>
                    <a:pt x="65" y="131"/>
                    <a:pt x="65" y="131"/>
                  </a:cubicBezTo>
                  <a:cubicBezTo>
                    <a:pt x="66" y="132"/>
                    <a:pt x="66" y="133"/>
                    <a:pt x="65" y="134"/>
                  </a:cubicBezTo>
                  <a:cubicBezTo>
                    <a:pt x="65" y="135"/>
                    <a:pt x="64" y="137"/>
                    <a:pt x="64" y="138"/>
                  </a:cubicBezTo>
                  <a:cubicBezTo>
                    <a:pt x="65" y="141"/>
                    <a:pt x="67" y="144"/>
                    <a:pt x="69" y="146"/>
                  </a:cubicBezTo>
                  <a:cubicBezTo>
                    <a:pt x="70" y="148"/>
                    <a:pt x="73" y="150"/>
                    <a:pt x="75" y="151"/>
                  </a:cubicBezTo>
                  <a:cubicBezTo>
                    <a:pt x="77" y="152"/>
                    <a:pt x="80" y="152"/>
                    <a:pt x="81" y="150"/>
                  </a:cubicBezTo>
                  <a:cubicBezTo>
                    <a:pt x="84" y="145"/>
                    <a:pt x="88" y="139"/>
                    <a:pt x="91" y="134"/>
                  </a:cubicBezTo>
                  <a:cubicBezTo>
                    <a:pt x="92" y="132"/>
                    <a:pt x="93" y="131"/>
                    <a:pt x="95" y="131"/>
                  </a:cubicBezTo>
                  <a:cubicBezTo>
                    <a:pt x="97" y="131"/>
                    <a:pt x="100" y="130"/>
                    <a:pt x="103" y="131"/>
                  </a:cubicBezTo>
                  <a:cubicBezTo>
                    <a:pt x="106" y="131"/>
                    <a:pt x="108" y="128"/>
                    <a:pt x="111" y="126"/>
                  </a:cubicBezTo>
                  <a:cubicBezTo>
                    <a:pt x="112" y="126"/>
                    <a:pt x="113" y="127"/>
                    <a:pt x="114" y="127"/>
                  </a:cubicBezTo>
                  <a:cubicBezTo>
                    <a:pt x="116" y="128"/>
                    <a:pt x="118" y="127"/>
                    <a:pt x="118" y="126"/>
                  </a:cubicBezTo>
                  <a:cubicBezTo>
                    <a:pt x="119" y="123"/>
                    <a:pt x="119" y="119"/>
                    <a:pt x="123" y="116"/>
                  </a:cubicBezTo>
                  <a:cubicBezTo>
                    <a:pt x="123" y="116"/>
                    <a:pt x="124" y="116"/>
                    <a:pt x="124" y="115"/>
                  </a:cubicBezTo>
                  <a:cubicBezTo>
                    <a:pt x="124" y="116"/>
                    <a:pt x="125" y="116"/>
                    <a:pt x="125" y="116"/>
                  </a:cubicBezTo>
                  <a:cubicBezTo>
                    <a:pt x="125" y="118"/>
                    <a:pt x="125" y="119"/>
                    <a:pt x="126" y="121"/>
                  </a:cubicBezTo>
                  <a:cubicBezTo>
                    <a:pt x="127" y="122"/>
                    <a:pt x="128" y="123"/>
                    <a:pt x="130" y="123"/>
                  </a:cubicBezTo>
                  <a:cubicBezTo>
                    <a:pt x="137" y="119"/>
                    <a:pt x="140" y="112"/>
                    <a:pt x="137" y="106"/>
                  </a:cubicBezTo>
                  <a:cubicBezTo>
                    <a:pt x="134" y="101"/>
                    <a:pt x="133" y="96"/>
                    <a:pt x="133" y="91"/>
                  </a:cubicBezTo>
                  <a:cubicBezTo>
                    <a:pt x="134" y="83"/>
                    <a:pt x="133" y="75"/>
                    <a:pt x="130" y="68"/>
                  </a:cubicBezTo>
                  <a:cubicBezTo>
                    <a:pt x="129" y="65"/>
                    <a:pt x="130" y="63"/>
                    <a:pt x="132" y="61"/>
                  </a:cubicBezTo>
                  <a:cubicBezTo>
                    <a:pt x="135" y="59"/>
                    <a:pt x="136" y="57"/>
                    <a:pt x="136" y="54"/>
                  </a:cubicBezTo>
                  <a:cubicBezTo>
                    <a:pt x="135" y="52"/>
                    <a:pt x="135" y="49"/>
                    <a:pt x="135" y="47"/>
                  </a:cubicBezTo>
                  <a:cubicBezTo>
                    <a:pt x="136" y="39"/>
                    <a:pt x="134" y="31"/>
                    <a:pt x="129" y="24"/>
                  </a:cubicBezTo>
                  <a:cubicBezTo>
                    <a:pt x="125" y="17"/>
                    <a:pt x="118" y="10"/>
                    <a:pt x="115" y="2"/>
                  </a:cubicBezTo>
                  <a:cubicBezTo>
                    <a:pt x="114" y="0"/>
                    <a:pt x="110" y="0"/>
                    <a:pt x="109" y="1"/>
                  </a:cubicBezTo>
                  <a:cubicBezTo>
                    <a:pt x="102" y="7"/>
                    <a:pt x="98" y="14"/>
                    <a:pt x="102" y="23"/>
                  </a:cubicBezTo>
                  <a:cubicBezTo>
                    <a:pt x="101" y="27"/>
                    <a:pt x="99" y="32"/>
                    <a:pt x="105" y="34"/>
                  </a:cubicBezTo>
                  <a:cubicBezTo>
                    <a:pt x="105" y="35"/>
                    <a:pt x="106" y="36"/>
                    <a:pt x="106" y="37"/>
                  </a:cubicBezTo>
                  <a:cubicBezTo>
                    <a:pt x="106" y="49"/>
                    <a:pt x="108" y="60"/>
                    <a:pt x="101" y="71"/>
                  </a:cubicBezTo>
                  <a:cubicBezTo>
                    <a:pt x="100" y="72"/>
                    <a:pt x="99" y="75"/>
                    <a:pt x="99" y="77"/>
                  </a:cubicBezTo>
                  <a:cubicBezTo>
                    <a:pt x="97" y="84"/>
                    <a:pt x="92" y="87"/>
                    <a:pt x="85" y="89"/>
                  </a:cubicBezTo>
                  <a:cubicBezTo>
                    <a:pt x="84" y="89"/>
                    <a:pt x="82" y="88"/>
                    <a:pt x="81" y="87"/>
                  </a:cubicBezTo>
                  <a:cubicBezTo>
                    <a:pt x="81" y="86"/>
                    <a:pt x="81" y="85"/>
                    <a:pt x="81" y="84"/>
                  </a:cubicBezTo>
                  <a:cubicBezTo>
                    <a:pt x="80" y="81"/>
                    <a:pt x="79" y="80"/>
                    <a:pt x="78" y="81"/>
                  </a:cubicBezTo>
                  <a:cubicBezTo>
                    <a:pt x="77" y="81"/>
                    <a:pt x="75" y="82"/>
                    <a:pt x="75" y="83"/>
                  </a:cubicBezTo>
                  <a:cubicBezTo>
                    <a:pt x="73" y="85"/>
                    <a:pt x="74" y="87"/>
                    <a:pt x="74" y="89"/>
                  </a:cubicBezTo>
                  <a:cubicBezTo>
                    <a:pt x="75" y="91"/>
                    <a:pt x="75" y="94"/>
                    <a:pt x="74" y="95"/>
                  </a:cubicBezTo>
                  <a:cubicBezTo>
                    <a:pt x="71" y="101"/>
                    <a:pt x="70" y="106"/>
                    <a:pt x="69" y="112"/>
                  </a:cubicBezTo>
                  <a:cubicBezTo>
                    <a:pt x="69" y="113"/>
                    <a:pt x="68" y="113"/>
                    <a:pt x="66" y="113"/>
                  </a:cubicBezTo>
                  <a:cubicBezTo>
                    <a:pt x="62" y="113"/>
                    <a:pt x="58" y="113"/>
                    <a:pt x="53" y="114"/>
                  </a:cubicBezTo>
                  <a:cubicBezTo>
                    <a:pt x="48" y="116"/>
                    <a:pt x="43" y="117"/>
                    <a:pt x="37" y="118"/>
                  </a:cubicBezTo>
                  <a:cubicBezTo>
                    <a:pt x="35" y="118"/>
                    <a:pt x="32" y="119"/>
                    <a:pt x="30" y="122"/>
                  </a:cubicBezTo>
                  <a:cubicBezTo>
                    <a:pt x="25" y="128"/>
                    <a:pt x="19" y="134"/>
                    <a:pt x="13" y="140"/>
                  </a:cubicBezTo>
                  <a:cubicBezTo>
                    <a:pt x="12" y="141"/>
                    <a:pt x="12" y="143"/>
                    <a:pt x="12" y="145"/>
                  </a:cubicBezTo>
                  <a:cubicBezTo>
                    <a:pt x="12" y="146"/>
                    <a:pt x="11" y="148"/>
                    <a:pt x="10" y="149"/>
                  </a:cubicBezTo>
                  <a:cubicBezTo>
                    <a:pt x="8" y="151"/>
                    <a:pt x="5" y="154"/>
                    <a:pt x="2" y="157"/>
                  </a:cubicBezTo>
                  <a:cubicBezTo>
                    <a:pt x="0" y="159"/>
                    <a:pt x="0" y="161"/>
                    <a:pt x="0" y="164"/>
                  </a:cubicBezTo>
                  <a:cubicBezTo>
                    <a:pt x="0" y="167"/>
                    <a:pt x="1" y="169"/>
                    <a:pt x="4" y="171"/>
                  </a:cubicBezTo>
                  <a:cubicBezTo>
                    <a:pt x="3" y="171"/>
                    <a:pt x="3" y="171"/>
                    <a:pt x="3" y="171"/>
                  </a:cubicBezTo>
                  <a:cubicBezTo>
                    <a:pt x="4" y="171"/>
                    <a:pt x="4" y="171"/>
                    <a:pt x="4" y="171"/>
                  </a:cubicBezTo>
                  <a:cubicBezTo>
                    <a:pt x="4" y="171"/>
                    <a:pt x="4" y="171"/>
                    <a:pt x="4" y="171"/>
                  </a:cubicBezTo>
                  <a:cubicBezTo>
                    <a:pt x="4" y="171"/>
                    <a:pt x="4" y="170"/>
                    <a:pt x="5" y="170"/>
                  </a:cubicBezTo>
                  <a:cubicBezTo>
                    <a:pt x="7" y="169"/>
                    <a:pt x="9" y="170"/>
                    <a:pt x="9" y="172"/>
                  </a:cubicBezTo>
                  <a:cubicBezTo>
                    <a:pt x="9" y="174"/>
                    <a:pt x="8" y="176"/>
                    <a:pt x="7" y="177"/>
                  </a:cubicBezTo>
                  <a:cubicBezTo>
                    <a:pt x="7" y="177"/>
                    <a:pt x="7" y="177"/>
                    <a:pt x="7" y="177"/>
                  </a:cubicBezTo>
                  <a:cubicBezTo>
                    <a:pt x="7" y="177"/>
                    <a:pt x="7" y="177"/>
                    <a:pt x="7" y="178"/>
                  </a:cubicBezTo>
                  <a:cubicBezTo>
                    <a:pt x="7" y="177"/>
                    <a:pt x="7" y="177"/>
                    <a:pt x="7" y="177"/>
                  </a:cubicBezTo>
                  <a:cubicBezTo>
                    <a:pt x="9" y="183"/>
                    <a:pt x="11" y="188"/>
                    <a:pt x="13" y="194"/>
                  </a:cubicBezTo>
                  <a:cubicBezTo>
                    <a:pt x="14" y="196"/>
                    <a:pt x="21" y="198"/>
                    <a:pt x="24" y="197"/>
                  </a:cubicBezTo>
                  <a:close/>
                  <a:moveTo>
                    <a:pt x="110" y="8"/>
                  </a:moveTo>
                  <a:cubicBezTo>
                    <a:pt x="110" y="7"/>
                    <a:pt x="110" y="7"/>
                    <a:pt x="110" y="7"/>
                  </a:cubicBezTo>
                  <a:cubicBezTo>
                    <a:pt x="110" y="8"/>
                    <a:pt x="110" y="8"/>
                    <a:pt x="110" y="8"/>
                  </a:cubicBezTo>
                  <a:cubicBezTo>
                    <a:pt x="109" y="8"/>
                    <a:pt x="109" y="8"/>
                    <a:pt x="109" y="8"/>
                  </a:cubicBezTo>
                  <a:lnTo>
                    <a:pt x="110" y="8"/>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36"/>
            <p:cNvSpPr>
              <a:spLocks/>
            </p:cNvSpPr>
            <p:nvPr/>
          </p:nvSpPr>
          <p:spPr bwMode="auto">
            <a:xfrm>
              <a:off x="1420671" y="2800908"/>
              <a:ext cx="220124" cy="331544"/>
            </a:xfrm>
            <a:custGeom>
              <a:avLst/>
              <a:gdLst>
                <a:gd name="T0" fmla="*/ 7 w 103"/>
                <a:gd name="T1" fmla="*/ 37 h 155"/>
                <a:gd name="T2" fmla="*/ 10 w 103"/>
                <a:gd name="T3" fmla="*/ 47 h 155"/>
                <a:gd name="T4" fmla="*/ 9 w 103"/>
                <a:gd name="T5" fmla="*/ 52 h 155"/>
                <a:gd name="T6" fmla="*/ 18 w 103"/>
                <a:gd name="T7" fmla="*/ 56 h 155"/>
                <a:gd name="T8" fmla="*/ 19 w 103"/>
                <a:gd name="T9" fmla="*/ 57 h 155"/>
                <a:gd name="T10" fmla="*/ 23 w 103"/>
                <a:gd name="T11" fmla="*/ 70 h 155"/>
                <a:gd name="T12" fmla="*/ 33 w 103"/>
                <a:gd name="T13" fmla="*/ 70 h 155"/>
                <a:gd name="T14" fmla="*/ 39 w 103"/>
                <a:gd name="T15" fmla="*/ 81 h 155"/>
                <a:gd name="T16" fmla="*/ 29 w 103"/>
                <a:gd name="T17" fmla="*/ 95 h 155"/>
                <a:gd name="T18" fmla="*/ 25 w 103"/>
                <a:gd name="T19" fmla="*/ 97 h 155"/>
                <a:gd name="T20" fmla="*/ 27 w 103"/>
                <a:gd name="T21" fmla="*/ 114 h 155"/>
                <a:gd name="T22" fmla="*/ 18 w 103"/>
                <a:gd name="T23" fmla="*/ 121 h 155"/>
                <a:gd name="T24" fmla="*/ 20 w 103"/>
                <a:gd name="T25" fmla="*/ 126 h 155"/>
                <a:gd name="T26" fmla="*/ 39 w 103"/>
                <a:gd name="T27" fmla="*/ 133 h 155"/>
                <a:gd name="T28" fmla="*/ 24 w 103"/>
                <a:gd name="T29" fmla="*/ 139 h 155"/>
                <a:gd name="T30" fmla="*/ 13 w 103"/>
                <a:gd name="T31" fmla="*/ 154 h 155"/>
                <a:gd name="T32" fmla="*/ 18 w 103"/>
                <a:gd name="T33" fmla="*/ 154 h 155"/>
                <a:gd name="T34" fmla="*/ 40 w 103"/>
                <a:gd name="T35" fmla="*/ 147 h 155"/>
                <a:gd name="T36" fmla="*/ 63 w 103"/>
                <a:gd name="T37" fmla="*/ 144 h 155"/>
                <a:gd name="T38" fmla="*/ 98 w 103"/>
                <a:gd name="T39" fmla="*/ 134 h 155"/>
                <a:gd name="T40" fmla="*/ 95 w 103"/>
                <a:gd name="T41" fmla="*/ 128 h 155"/>
                <a:gd name="T42" fmla="*/ 100 w 103"/>
                <a:gd name="T43" fmla="*/ 115 h 155"/>
                <a:gd name="T44" fmla="*/ 83 w 103"/>
                <a:gd name="T45" fmla="*/ 100 h 155"/>
                <a:gd name="T46" fmla="*/ 83 w 103"/>
                <a:gd name="T47" fmla="*/ 101 h 155"/>
                <a:gd name="T48" fmla="*/ 83 w 103"/>
                <a:gd name="T49" fmla="*/ 100 h 155"/>
                <a:gd name="T50" fmla="*/ 76 w 103"/>
                <a:gd name="T51" fmla="*/ 81 h 155"/>
                <a:gd name="T52" fmla="*/ 60 w 103"/>
                <a:gd name="T53" fmla="*/ 62 h 155"/>
                <a:gd name="T54" fmla="*/ 44 w 103"/>
                <a:gd name="T55" fmla="*/ 44 h 155"/>
                <a:gd name="T56" fmla="*/ 53 w 103"/>
                <a:gd name="T57" fmla="*/ 23 h 155"/>
                <a:gd name="T58" fmla="*/ 46 w 103"/>
                <a:gd name="T59" fmla="*/ 16 h 155"/>
                <a:gd name="T60" fmla="*/ 32 w 103"/>
                <a:gd name="T61" fmla="*/ 15 h 155"/>
                <a:gd name="T62" fmla="*/ 39 w 103"/>
                <a:gd name="T63" fmla="*/ 6 h 155"/>
                <a:gd name="T64" fmla="*/ 36 w 103"/>
                <a:gd name="T65" fmla="*/ 0 h 155"/>
                <a:gd name="T66" fmla="*/ 17 w 103"/>
                <a:gd name="T67" fmla="*/ 5 h 155"/>
                <a:gd name="T68" fmla="*/ 7 w 103"/>
                <a:gd name="T69" fmla="*/ 1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 h="155">
                  <a:moveTo>
                    <a:pt x="3" y="25"/>
                  </a:moveTo>
                  <a:cubicBezTo>
                    <a:pt x="7" y="28"/>
                    <a:pt x="8" y="32"/>
                    <a:pt x="7" y="37"/>
                  </a:cubicBezTo>
                  <a:cubicBezTo>
                    <a:pt x="6" y="39"/>
                    <a:pt x="7" y="40"/>
                    <a:pt x="9" y="41"/>
                  </a:cubicBezTo>
                  <a:cubicBezTo>
                    <a:pt x="11" y="43"/>
                    <a:pt x="11" y="45"/>
                    <a:pt x="10" y="47"/>
                  </a:cubicBezTo>
                  <a:cubicBezTo>
                    <a:pt x="9" y="48"/>
                    <a:pt x="8" y="49"/>
                    <a:pt x="7" y="51"/>
                  </a:cubicBezTo>
                  <a:cubicBezTo>
                    <a:pt x="8" y="51"/>
                    <a:pt x="9" y="52"/>
                    <a:pt x="9" y="52"/>
                  </a:cubicBezTo>
                  <a:cubicBezTo>
                    <a:pt x="10" y="53"/>
                    <a:pt x="10" y="54"/>
                    <a:pt x="11" y="55"/>
                  </a:cubicBezTo>
                  <a:cubicBezTo>
                    <a:pt x="13" y="59"/>
                    <a:pt x="13" y="59"/>
                    <a:pt x="18" y="56"/>
                  </a:cubicBezTo>
                  <a:cubicBezTo>
                    <a:pt x="18" y="55"/>
                    <a:pt x="18" y="55"/>
                    <a:pt x="19" y="54"/>
                  </a:cubicBezTo>
                  <a:cubicBezTo>
                    <a:pt x="19" y="55"/>
                    <a:pt x="20" y="56"/>
                    <a:pt x="19" y="57"/>
                  </a:cubicBezTo>
                  <a:cubicBezTo>
                    <a:pt x="19" y="60"/>
                    <a:pt x="19" y="62"/>
                    <a:pt x="18" y="65"/>
                  </a:cubicBezTo>
                  <a:cubicBezTo>
                    <a:pt x="18" y="68"/>
                    <a:pt x="20" y="70"/>
                    <a:pt x="23" y="70"/>
                  </a:cubicBezTo>
                  <a:cubicBezTo>
                    <a:pt x="23" y="70"/>
                    <a:pt x="24" y="70"/>
                    <a:pt x="24" y="70"/>
                  </a:cubicBezTo>
                  <a:cubicBezTo>
                    <a:pt x="27" y="70"/>
                    <a:pt x="30" y="70"/>
                    <a:pt x="33" y="70"/>
                  </a:cubicBezTo>
                  <a:cubicBezTo>
                    <a:pt x="36" y="71"/>
                    <a:pt x="34" y="75"/>
                    <a:pt x="36" y="77"/>
                  </a:cubicBezTo>
                  <a:cubicBezTo>
                    <a:pt x="37" y="78"/>
                    <a:pt x="37" y="80"/>
                    <a:pt x="39" y="81"/>
                  </a:cubicBezTo>
                  <a:cubicBezTo>
                    <a:pt x="41" y="83"/>
                    <a:pt x="42" y="85"/>
                    <a:pt x="41" y="87"/>
                  </a:cubicBezTo>
                  <a:cubicBezTo>
                    <a:pt x="39" y="95"/>
                    <a:pt x="38" y="97"/>
                    <a:pt x="29" y="95"/>
                  </a:cubicBezTo>
                  <a:cubicBezTo>
                    <a:pt x="28" y="95"/>
                    <a:pt x="27" y="95"/>
                    <a:pt x="27" y="95"/>
                  </a:cubicBezTo>
                  <a:cubicBezTo>
                    <a:pt x="26" y="95"/>
                    <a:pt x="25" y="96"/>
                    <a:pt x="25" y="97"/>
                  </a:cubicBezTo>
                  <a:cubicBezTo>
                    <a:pt x="25" y="101"/>
                    <a:pt x="24" y="105"/>
                    <a:pt x="28" y="108"/>
                  </a:cubicBezTo>
                  <a:cubicBezTo>
                    <a:pt x="29" y="110"/>
                    <a:pt x="29" y="113"/>
                    <a:pt x="27" y="114"/>
                  </a:cubicBezTo>
                  <a:cubicBezTo>
                    <a:pt x="25" y="115"/>
                    <a:pt x="24" y="117"/>
                    <a:pt x="22" y="118"/>
                  </a:cubicBezTo>
                  <a:cubicBezTo>
                    <a:pt x="21" y="119"/>
                    <a:pt x="19" y="120"/>
                    <a:pt x="18" y="121"/>
                  </a:cubicBezTo>
                  <a:cubicBezTo>
                    <a:pt x="18" y="121"/>
                    <a:pt x="17" y="123"/>
                    <a:pt x="18" y="124"/>
                  </a:cubicBezTo>
                  <a:cubicBezTo>
                    <a:pt x="18" y="124"/>
                    <a:pt x="19" y="126"/>
                    <a:pt x="20" y="126"/>
                  </a:cubicBezTo>
                  <a:cubicBezTo>
                    <a:pt x="26" y="127"/>
                    <a:pt x="32" y="129"/>
                    <a:pt x="38" y="132"/>
                  </a:cubicBezTo>
                  <a:cubicBezTo>
                    <a:pt x="38" y="132"/>
                    <a:pt x="39" y="133"/>
                    <a:pt x="39" y="133"/>
                  </a:cubicBezTo>
                  <a:cubicBezTo>
                    <a:pt x="38" y="133"/>
                    <a:pt x="38" y="134"/>
                    <a:pt x="37" y="134"/>
                  </a:cubicBezTo>
                  <a:cubicBezTo>
                    <a:pt x="31" y="133"/>
                    <a:pt x="27" y="135"/>
                    <a:pt x="24" y="139"/>
                  </a:cubicBezTo>
                  <a:cubicBezTo>
                    <a:pt x="21" y="145"/>
                    <a:pt x="16" y="148"/>
                    <a:pt x="12" y="152"/>
                  </a:cubicBezTo>
                  <a:cubicBezTo>
                    <a:pt x="12" y="153"/>
                    <a:pt x="12" y="153"/>
                    <a:pt x="13" y="154"/>
                  </a:cubicBezTo>
                  <a:cubicBezTo>
                    <a:pt x="13" y="154"/>
                    <a:pt x="13" y="155"/>
                    <a:pt x="14" y="155"/>
                  </a:cubicBezTo>
                  <a:cubicBezTo>
                    <a:pt x="15" y="155"/>
                    <a:pt x="17" y="155"/>
                    <a:pt x="18" y="154"/>
                  </a:cubicBezTo>
                  <a:cubicBezTo>
                    <a:pt x="21" y="153"/>
                    <a:pt x="24" y="151"/>
                    <a:pt x="28" y="151"/>
                  </a:cubicBezTo>
                  <a:cubicBezTo>
                    <a:pt x="33" y="152"/>
                    <a:pt x="37" y="151"/>
                    <a:pt x="40" y="147"/>
                  </a:cubicBezTo>
                  <a:cubicBezTo>
                    <a:pt x="41" y="145"/>
                    <a:pt x="44" y="145"/>
                    <a:pt x="46" y="145"/>
                  </a:cubicBezTo>
                  <a:cubicBezTo>
                    <a:pt x="52" y="146"/>
                    <a:pt x="57" y="145"/>
                    <a:pt x="63" y="144"/>
                  </a:cubicBezTo>
                  <a:cubicBezTo>
                    <a:pt x="69" y="143"/>
                    <a:pt x="76" y="142"/>
                    <a:pt x="82" y="142"/>
                  </a:cubicBezTo>
                  <a:cubicBezTo>
                    <a:pt x="89" y="141"/>
                    <a:pt x="94" y="139"/>
                    <a:pt x="98" y="134"/>
                  </a:cubicBezTo>
                  <a:cubicBezTo>
                    <a:pt x="99" y="133"/>
                    <a:pt x="99" y="131"/>
                    <a:pt x="97" y="130"/>
                  </a:cubicBezTo>
                  <a:cubicBezTo>
                    <a:pt x="97" y="129"/>
                    <a:pt x="95" y="129"/>
                    <a:pt x="95" y="128"/>
                  </a:cubicBezTo>
                  <a:cubicBezTo>
                    <a:pt x="93" y="127"/>
                    <a:pt x="92" y="126"/>
                    <a:pt x="93" y="125"/>
                  </a:cubicBezTo>
                  <a:cubicBezTo>
                    <a:pt x="95" y="122"/>
                    <a:pt x="98" y="119"/>
                    <a:pt x="100" y="115"/>
                  </a:cubicBezTo>
                  <a:cubicBezTo>
                    <a:pt x="103" y="109"/>
                    <a:pt x="99" y="101"/>
                    <a:pt x="91" y="100"/>
                  </a:cubicBezTo>
                  <a:cubicBezTo>
                    <a:pt x="89" y="100"/>
                    <a:pt x="86" y="100"/>
                    <a:pt x="83" y="100"/>
                  </a:cubicBezTo>
                  <a:cubicBezTo>
                    <a:pt x="83" y="100"/>
                    <a:pt x="83" y="100"/>
                    <a:pt x="83" y="100"/>
                  </a:cubicBezTo>
                  <a:cubicBezTo>
                    <a:pt x="83" y="101"/>
                    <a:pt x="83" y="101"/>
                    <a:pt x="83" y="101"/>
                  </a:cubicBezTo>
                  <a:cubicBezTo>
                    <a:pt x="83" y="100"/>
                    <a:pt x="83" y="100"/>
                    <a:pt x="83" y="100"/>
                  </a:cubicBezTo>
                  <a:cubicBezTo>
                    <a:pt x="83" y="100"/>
                    <a:pt x="83" y="100"/>
                    <a:pt x="83" y="100"/>
                  </a:cubicBezTo>
                  <a:cubicBezTo>
                    <a:pt x="83" y="98"/>
                    <a:pt x="83" y="97"/>
                    <a:pt x="82" y="96"/>
                  </a:cubicBezTo>
                  <a:cubicBezTo>
                    <a:pt x="80" y="91"/>
                    <a:pt x="77" y="86"/>
                    <a:pt x="76" y="81"/>
                  </a:cubicBezTo>
                  <a:cubicBezTo>
                    <a:pt x="75" y="78"/>
                    <a:pt x="73" y="76"/>
                    <a:pt x="70" y="74"/>
                  </a:cubicBezTo>
                  <a:cubicBezTo>
                    <a:pt x="64" y="71"/>
                    <a:pt x="62" y="67"/>
                    <a:pt x="60" y="62"/>
                  </a:cubicBezTo>
                  <a:cubicBezTo>
                    <a:pt x="58" y="55"/>
                    <a:pt x="53" y="49"/>
                    <a:pt x="45" y="46"/>
                  </a:cubicBezTo>
                  <a:cubicBezTo>
                    <a:pt x="44" y="46"/>
                    <a:pt x="44" y="45"/>
                    <a:pt x="44" y="44"/>
                  </a:cubicBezTo>
                  <a:cubicBezTo>
                    <a:pt x="45" y="42"/>
                    <a:pt x="46" y="39"/>
                    <a:pt x="47" y="37"/>
                  </a:cubicBezTo>
                  <a:cubicBezTo>
                    <a:pt x="50" y="33"/>
                    <a:pt x="52" y="28"/>
                    <a:pt x="53" y="23"/>
                  </a:cubicBezTo>
                  <a:cubicBezTo>
                    <a:pt x="54" y="20"/>
                    <a:pt x="52" y="17"/>
                    <a:pt x="49" y="17"/>
                  </a:cubicBezTo>
                  <a:cubicBezTo>
                    <a:pt x="48" y="17"/>
                    <a:pt x="47" y="16"/>
                    <a:pt x="46" y="16"/>
                  </a:cubicBezTo>
                  <a:cubicBezTo>
                    <a:pt x="42" y="16"/>
                    <a:pt x="38" y="16"/>
                    <a:pt x="34" y="16"/>
                  </a:cubicBezTo>
                  <a:cubicBezTo>
                    <a:pt x="34" y="16"/>
                    <a:pt x="33" y="15"/>
                    <a:pt x="32" y="15"/>
                  </a:cubicBezTo>
                  <a:cubicBezTo>
                    <a:pt x="32" y="14"/>
                    <a:pt x="32" y="13"/>
                    <a:pt x="33" y="13"/>
                  </a:cubicBezTo>
                  <a:cubicBezTo>
                    <a:pt x="35" y="11"/>
                    <a:pt x="37" y="8"/>
                    <a:pt x="39" y="6"/>
                  </a:cubicBezTo>
                  <a:cubicBezTo>
                    <a:pt x="39" y="5"/>
                    <a:pt x="39" y="4"/>
                    <a:pt x="39" y="3"/>
                  </a:cubicBezTo>
                  <a:cubicBezTo>
                    <a:pt x="39" y="2"/>
                    <a:pt x="37" y="0"/>
                    <a:pt x="36" y="0"/>
                  </a:cubicBezTo>
                  <a:cubicBezTo>
                    <a:pt x="31" y="0"/>
                    <a:pt x="27" y="1"/>
                    <a:pt x="22" y="1"/>
                  </a:cubicBezTo>
                  <a:cubicBezTo>
                    <a:pt x="20" y="1"/>
                    <a:pt x="18" y="3"/>
                    <a:pt x="17" y="5"/>
                  </a:cubicBezTo>
                  <a:cubicBezTo>
                    <a:pt x="15" y="9"/>
                    <a:pt x="12" y="14"/>
                    <a:pt x="9" y="18"/>
                  </a:cubicBezTo>
                  <a:cubicBezTo>
                    <a:pt x="9" y="19"/>
                    <a:pt x="8" y="19"/>
                    <a:pt x="7" y="19"/>
                  </a:cubicBezTo>
                  <a:cubicBezTo>
                    <a:pt x="2" y="19"/>
                    <a:pt x="0" y="22"/>
                    <a:pt x="3" y="25"/>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137"/>
            <p:cNvSpPr>
              <a:spLocks noEditPoints="1"/>
            </p:cNvSpPr>
            <p:nvPr/>
          </p:nvSpPr>
          <p:spPr bwMode="auto">
            <a:xfrm>
              <a:off x="1775768" y="1587963"/>
              <a:ext cx="282628" cy="269946"/>
            </a:xfrm>
            <a:custGeom>
              <a:avLst/>
              <a:gdLst>
                <a:gd name="T0" fmla="*/ 13 w 132"/>
                <a:gd name="T1" fmla="*/ 50 h 126"/>
                <a:gd name="T2" fmla="*/ 32 w 132"/>
                <a:gd name="T3" fmla="*/ 70 h 126"/>
                <a:gd name="T4" fmla="*/ 33 w 132"/>
                <a:gd name="T5" fmla="*/ 70 h 126"/>
                <a:gd name="T6" fmla="*/ 41 w 132"/>
                <a:gd name="T7" fmla="*/ 56 h 126"/>
                <a:gd name="T8" fmla="*/ 45 w 132"/>
                <a:gd name="T9" fmla="*/ 55 h 126"/>
                <a:gd name="T10" fmla="*/ 54 w 132"/>
                <a:gd name="T11" fmla="*/ 58 h 126"/>
                <a:gd name="T12" fmla="*/ 44 w 132"/>
                <a:gd name="T13" fmla="*/ 67 h 126"/>
                <a:gd name="T14" fmla="*/ 33 w 132"/>
                <a:gd name="T15" fmla="*/ 70 h 126"/>
                <a:gd name="T16" fmla="*/ 32 w 132"/>
                <a:gd name="T17" fmla="*/ 79 h 126"/>
                <a:gd name="T18" fmla="*/ 42 w 132"/>
                <a:gd name="T19" fmla="*/ 86 h 126"/>
                <a:gd name="T20" fmla="*/ 43 w 132"/>
                <a:gd name="T21" fmla="*/ 87 h 126"/>
                <a:gd name="T22" fmla="*/ 48 w 132"/>
                <a:gd name="T23" fmla="*/ 88 h 126"/>
                <a:gd name="T24" fmla="*/ 43 w 132"/>
                <a:gd name="T25" fmla="*/ 87 h 126"/>
                <a:gd name="T26" fmla="*/ 42 w 132"/>
                <a:gd name="T27" fmla="*/ 86 h 126"/>
                <a:gd name="T28" fmla="*/ 37 w 132"/>
                <a:gd name="T29" fmla="*/ 96 h 126"/>
                <a:gd name="T30" fmla="*/ 56 w 132"/>
                <a:gd name="T31" fmla="*/ 112 h 126"/>
                <a:gd name="T32" fmla="*/ 56 w 132"/>
                <a:gd name="T33" fmla="*/ 112 h 126"/>
                <a:gd name="T34" fmla="*/ 56 w 132"/>
                <a:gd name="T35" fmla="*/ 115 h 126"/>
                <a:gd name="T36" fmla="*/ 69 w 132"/>
                <a:gd name="T37" fmla="*/ 124 h 126"/>
                <a:gd name="T38" fmla="*/ 73 w 132"/>
                <a:gd name="T39" fmla="*/ 101 h 126"/>
                <a:gd name="T40" fmla="*/ 79 w 132"/>
                <a:gd name="T41" fmla="*/ 85 h 126"/>
                <a:gd name="T42" fmla="*/ 83 w 132"/>
                <a:gd name="T43" fmla="*/ 58 h 126"/>
                <a:gd name="T44" fmla="*/ 93 w 132"/>
                <a:gd name="T45" fmla="*/ 51 h 126"/>
                <a:gd name="T46" fmla="*/ 101 w 132"/>
                <a:gd name="T47" fmla="*/ 74 h 126"/>
                <a:gd name="T48" fmla="*/ 100 w 132"/>
                <a:gd name="T49" fmla="*/ 89 h 126"/>
                <a:gd name="T50" fmla="*/ 112 w 132"/>
                <a:gd name="T51" fmla="*/ 90 h 126"/>
                <a:gd name="T52" fmla="*/ 116 w 132"/>
                <a:gd name="T53" fmla="*/ 94 h 126"/>
                <a:gd name="T54" fmla="*/ 132 w 132"/>
                <a:gd name="T55" fmla="*/ 77 h 126"/>
                <a:gd name="T56" fmla="*/ 127 w 132"/>
                <a:gd name="T57" fmla="*/ 74 h 126"/>
                <a:gd name="T58" fmla="*/ 111 w 132"/>
                <a:gd name="T59" fmla="*/ 62 h 126"/>
                <a:gd name="T60" fmla="*/ 110 w 132"/>
                <a:gd name="T61" fmla="*/ 55 h 126"/>
                <a:gd name="T62" fmla="*/ 99 w 132"/>
                <a:gd name="T63" fmla="*/ 44 h 126"/>
                <a:gd name="T64" fmla="*/ 89 w 132"/>
                <a:gd name="T65" fmla="*/ 33 h 126"/>
                <a:gd name="T66" fmla="*/ 74 w 132"/>
                <a:gd name="T67" fmla="*/ 23 h 126"/>
                <a:gd name="T68" fmla="*/ 63 w 132"/>
                <a:gd name="T69" fmla="*/ 9 h 126"/>
                <a:gd name="T70" fmla="*/ 50 w 132"/>
                <a:gd name="T71" fmla="*/ 1 h 126"/>
                <a:gd name="T72" fmla="*/ 43 w 132"/>
                <a:gd name="T73" fmla="*/ 13 h 126"/>
                <a:gd name="T74" fmla="*/ 43 w 132"/>
                <a:gd name="T75" fmla="*/ 14 h 126"/>
                <a:gd name="T76" fmla="*/ 45 w 132"/>
                <a:gd name="T77" fmla="*/ 22 h 126"/>
                <a:gd name="T78" fmla="*/ 43 w 132"/>
                <a:gd name="T79" fmla="*/ 14 h 126"/>
                <a:gd name="T80" fmla="*/ 43 w 132"/>
                <a:gd name="T81" fmla="*/ 13 h 126"/>
                <a:gd name="T82" fmla="*/ 30 w 132"/>
                <a:gd name="T83" fmla="*/ 13 h 126"/>
                <a:gd name="T84" fmla="*/ 29 w 132"/>
                <a:gd name="T85" fmla="*/ 14 h 126"/>
                <a:gd name="T86" fmla="*/ 27 w 132"/>
                <a:gd name="T87" fmla="*/ 18 h 126"/>
                <a:gd name="T88" fmla="*/ 27 w 132"/>
                <a:gd name="T89" fmla="*/ 15 h 126"/>
                <a:gd name="T90" fmla="*/ 29 w 132"/>
                <a:gd name="T91" fmla="*/ 14 h 126"/>
                <a:gd name="T92" fmla="*/ 29 w 132"/>
                <a:gd name="T93" fmla="*/ 12 h 126"/>
                <a:gd name="T94" fmla="*/ 10 w 132"/>
                <a:gd name="T95" fmla="*/ 11 h 126"/>
                <a:gd name="T96" fmla="*/ 2 w 132"/>
                <a:gd name="T97" fmla="*/ 20 h 126"/>
                <a:gd name="T98" fmla="*/ 9 w 132"/>
                <a:gd name="T99" fmla="*/ 39 h 126"/>
                <a:gd name="T100" fmla="*/ 48 w 132"/>
                <a:gd name="T101" fmla="*/ 81 h 126"/>
                <a:gd name="T102" fmla="*/ 50 w 132"/>
                <a:gd name="T103" fmla="*/ 82 h 126"/>
                <a:gd name="T104" fmla="*/ 46 w 132"/>
                <a:gd name="T105" fmla="*/ 33 h 126"/>
                <a:gd name="T106" fmla="*/ 45 w 132"/>
                <a:gd name="T107" fmla="*/ 3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2" h="126">
                  <a:moveTo>
                    <a:pt x="9" y="39"/>
                  </a:moveTo>
                  <a:cubicBezTo>
                    <a:pt x="8" y="43"/>
                    <a:pt x="11" y="47"/>
                    <a:pt x="13" y="50"/>
                  </a:cubicBezTo>
                  <a:cubicBezTo>
                    <a:pt x="16" y="53"/>
                    <a:pt x="19" y="55"/>
                    <a:pt x="20" y="59"/>
                  </a:cubicBezTo>
                  <a:cubicBezTo>
                    <a:pt x="24" y="63"/>
                    <a:pt x="27" y="68"/>
                    <a:pt x="32" y="70"/>
                  </a:cubicBezTo>
                  <a:cubicBezTo>
                    <a:pt x="32" y="70"/>
                    <a:pt x="32" y="70"/>
                    <a:pt x="32" y="70"/>
                  </a:cubicBezTo>
                  <a:cubicBezTo>
                    <a:pt x="33" y="70"/>
                    <a:pt x="33" y="70"/>
                    <a:pt x="33" y="70"/>
                  </a:cubicBezTo>
                  <a:cubicBezTo>
                    <a:pt x="35" y="68"/>
                    <a:pt x="37" y="66"/>
                    <a:pt x="39" y="63"/>
                  </a:cubicBezTo>
                  <a:cubicBezTo>
                    <a:pt x="41" y="61"/>
                    <a:pt x="41" y="59"/>
                    <a:pt x="41" y="56"/>
                  </a:cubicBezTo>
                  <a:cubicBezTo>
                    <a:pt x="41" y="55"/>
                    <a:pt x="41" y="54"/>
                    <a:pt x="42" y="54"/>
                  </a:cubicBezTo>
                  <a:cubicBezTo>
                    <a:pt x="43" y="53"/>
                    <a:pt x="44" y="54"/>
                    <a:pt x="45" y="55"/>
                  </a:cubicBezTo>
                  <a:cubicBezTo>
                    <a:pt x="46" y="59"/>
                    <a:pt x="50" y="58"/>
                    <a:pt x="53" y="57"/>
                  </a:cubicBezTo>
                  <a:cubicBezTo>
                    <a:pt x="53" y="57"/>
                    <a:pt x="54" y="58"/>
                    <a:pt x="54" y="58"/>
                  </a:cubicBezTo>
                  <a:cubicBezTo>
                    <a:pt x="54" y="59"/>
                    <a:pt x="54" y="59"/>
                    <a:pt x="54" y="60"/>
                  </a:cubicBezTo>
                  <a:cubicBezTo>
                    <a:pt x="50" y="61"/>
                    <a:pt x="47" y="64"/>
                    <a:pt x="44" y="67"/>
                  </a:cubicBezTo>
                  <a:cubicBezTo>
                    <a:pt x="41" y="70"/>
                    <a:pt x="37" y="71"/>
                    <a:pt x="33" y="70"/>
                  </a:cubicBezTo>
                  <a:cubicBezTo>
                    <a:pt x="33" y="70"/>
                    <a:pt x="33" y="70"/>
                    <a:pt x="33" y="70"/>
                  </a:cubicBezTo>
                  <a:cubicBezTo>
                    <a:pt x="33" y="70"/>
                    <a:pt x="33" y="70"/>
                    <a:pt x="32" y="70"/>
                  </a:cubicBezTo>
                  <a:cubicBezTo>
                    <a:pt x="32" y="73"/>
                    <a:pt x="32" y="76"/>
                    <a:pt x="32" y="79"/>
                  </a:cubicBezTo>
                  <a:cubicBezTo>
                    <a:pt x="33" y="81"/>
                    <a:pt x="34" y="83"/>
                    <a:pt x="36" y="83"/>
                  </a:cubicBezTo>
                  <a:cubicBezTo>
                    <a:pt x="38" y="84"/>
                    <a:pt x="41" y="84"/>
                    <a:pt x="42" y="86"/>
                  </a:cubicBezTo>
                  <a:cubicBezTo>
                    <a:pt x="42" y="86"/>
                    <a:pt x="43" y="86"/>
                    <a:pt x="43" y="86"/>
                  </a:cubicBezTo>
                  <a:cubicBezTo>
                    <a:pt x="43" y="86"/>
                    <a:pt x="43" y="86"/>
                    <a:pt x="43" y="87"/>
                  </a:cubicBezTo>
                  <a:cubicBezTo>
                    <a:pt x="44" y="87"/>
                    <a:pt x="46" y="87"/>
                    <a:pt x="47" y="87"/>
                  </a:cubicBezTo>
                  <a:cubicBezTo>
                    <a:pt x="49" y="87"/>
                    <a:pt x="49" y="87"/>
                    <a:pt x="48" y="88"/>
                  </a:cubicBezTo>
                  <a:cubicBezTo>
                    <a:pt x="48" y="88"/>
                    <a:pt x="47" y="88"/>
                    <a:pt x="47" y="88"/>
                  </a:cubicBezTo>
                  <a:cubicBezTo>
                    <a:pt x="45" y="88"/>
                    <a:pt x="44" y="88"/>
                    <a:pt x="43" y="87"/>
                  </a:cubicBezTo>
                  <a:cubicBezTo>
                    <a:pt x="43" y="87"/>
                    <a:pt x="43" y="86"/>
                    <a:pt x="42" y="86"/>
                  </a:cubicBezTo>
                  <a:cubicBezTo>
                    <a:pt x="42" y="86"/>
                    <a:pt x="42" y="86"/>
                    <a:pt x="42" y="86"/>
                  </a:cubicBezTo>
                  <a:cubicBezTo>
                    <a:pt x="40" y="87"/>
                    <a:pt x="38" y="87"/>
                    <a:pt x="37" y="89"/>
                  </a:cubicBezTo>
                  <a:cubicBezTo>
                    <a:pt x="36" y="91"/>
                    <a:pt x="36" y="94"/>
                    <a:pt x="37" y="96"/>
                  </a:cubicBezTo>
                  <a:cubicBezTo>
                    <a:pt x="42" y="104"/>
                    <a:pt x="48" y="109"/>
                    <a:pt x="56" y="112"/>
                  </a:cubicBezTo>
                  <a:cubicBezTo>
                    <a:pt x="56" y="112"/>
                    <a:pt x="56" y="112"/>
                    <a:pt x="56" y="112"/>
                  </a:cubicBezTo>
                  <a:cubicBezTo>
                    <a:pt x="57" y="111"/>
                    <a:pt x="57" y="111"/>
                    <a:pt x="57" y="111"/>
                  </a:cubicBezTo>
                  <a:cubicBezTo>
                    <a:pt x="56" y="112"/>
                    <a:pt x="56" y="112"/>
                    <a:pt x="56" y="112"/>
                  </a:cubicBezTo>
                  <a:cubicBezTo>
                    <a:pt x="56" y="112"/>
                    <a:pt x="56" y="112"/>
                    <a:pt x="56" y="112"/>
                  </a:cubicBezTo>
                  <a:cubicBezTo>
                    <a:pt x="56" y="113"/>
                    <a:pt x="56" y="114"/>
                    <a:pt x="56" y="115"/>
                  </a:cubicBezTo>
                  <a:cubicBezTo>
                    <a:pt x="57" y="119"/>
                    <a:pt x="60" y="122"/>
                    <a:pt x="63" y="125"/>
                  </a:cubicBezTo>
                  <a:cubicBezTo>
                    <a:pt x="64" y="126"/>
                    <a:pt x="68" y="125"/>
                    <a:pt x="69" y="124"/>
                  </a:cubicBezTo>
                  <a:cubicBezTo>
                    <a:pt x="70" y="123"/>
                    <a:pt x="70" y="122"/>
                    <a:pt x="70" y="121"/>
                  </a:cubicBezTo>
                  <a:cubicBezTo>
                    <a:pt x="70" y="114"/>
                    <a:pt x="73" y="108"/>
                    <a:pt x="73" y="101"/>
                  </a:cubicBezTo>
                  <a:cubicBezTo>
                    <a:pt x="73" y="97"/>
                    <a:pt x="74" y="94"/>
                    <a:pt x="77" y="91"/>
                  </a:cubicBezTo>
                  <a:cubicBezTo>
                    <a:pt x="78" y="89"/>
                    <a:pt x="79" y="87"/>
                    <a:pt x="79" y="85"/>
                  </a:cubicBezTo>
                  <a:cubicBezTo>
                    <a:pt x="79" y="77"/>
                    <a:pt x="84" y="69"/>
                    <a:pt x="83" y="61"/>
                  </a:cubicBezTo>
                  <a:cubicBezTo>
                    <a:pt x="83" y="60"/>
                    <a:pt x="83" y="59"/>
                    <a:pt x="83" y="58"/>
                  </a:cubicBezTo>
                  <a:cubicBezTo>
                    <a:pt x="85" y="54"/>
                    <a:pt x="87" y="51"/>
                    <a:pt x="91" y="50"/>
                  </a:cubicBezTo>
                  <a:cubicBezTo>
                    <a:pt x="92" y="49"/>
                    <a:pt x="93" y="50"/>
                    <a:pt x="93" y="51"/>
                  </a:cubicBezTo>
                  <a:cubicBezTo>
                    <a:pt x="94" y="53"/>
                    <a:pt x="92" y="55"/>
                    <a:pt x="93" y="57"/>
                  </a:cubicBezTo>
                  <a:cubicBezTo>
                    <a:pt x="97" y="62"/>
                    <a:pt x="98" y="68"/>
                    <a:pt x="101" y="74"/>
                  </a:cubicBezTo>
                  <a:cubicBezTo>
                    <a:pt x="102" y="76"/>
                    <a:pt x="103" y="79"/>
                    <a:pt x="102" y="81"/>
                  </a:cubicBezTo>
                  <a:cubicBezTo>
                    <a:pt x="101" y="84"/>
                    <a:pt x="101" y="86"/>
                    <a:pt x="100" y="89"/>
                  </a:cubicBezTo>
                  <a:cubicBezTo>
                    <a:pt x="100" y="91"/>
                    <a:pt x="102" y="93"/>
                    <a:pt x="104" y="93"/>
                  </a:cubicBezTo>
                  <a:cubicBezTo>
                    <a:pt x="107" y="92"/>
                    <a:pt x="109" y="91"/>
                    <a:pt x="112" y="90"/>
                  </a:cubicBezTo>
                  <a:cubicBezTo>
                    <a:pt x="114" y="89"/>
                    <a:pt x="114" y="89"/>
                    <a:pt x="116" y="92"/>
                  </a:cubicBezTo>
                  <a:cubicBezTo>
                    <a:pt x="116" y="93"/>
                    <a:pt x="116" y="93"/>
                    <a:pt x="116" y="94"/>
                  </a:cubicBezTo>
                  <a:cubicBezTo>
                    <a:pt x="117" y="97"/>
                    <a:pt x="119" y="97"/>
                    <a:pt x="121" y="96"/>
                  </a:cubicBezTo>
                  <a:cubicBezTo>
                    <a:pt x="127" y="91"/>
                    <a:pt x="130" y="84"/>
                    <a:pt x="132" y="77"/>
                  </a:cubicBezTo>
                  <a:cubicBezTo>
                    <a:pt x="132" y="76"/>
                    <a:pt x="131" y="75"/>
                    <a:pt x="130" y="75"/>
                  </a:cubicBezTo>
                  <a:cubicBezTo>
                    <a:pt x="130" y="74"/>
                    <a:pt x="128" y="74"/>
                    <a:pt x="127" y="74"/>
                  </a:cubicBezTo>
                  <a:cubicBezTo>
                    <a:pt x="122" y="74"/>
                    <a:pt x="120" y="71"/>
                    <a:pt x="120" y="66"/>
                  </a:cubicBezTo>
                  <a:cubicBezTo>
                    <a:pt x="119" y="61"/>
                    <a:pt x="118" y="61"/>
                    <a:pt x="111" y="62"/>
                  </a:cubicBezTo>
                  <a:cubicBezTo>
                    <a:pt x="108" y="63"/>
                    <a:pt x="108" y="63"/>
                    <a:pt x="109" y="60"/>
                  </a:cubicBezTo>
                  <a:cubicBezTo>
                    <a:pt x="109" y="58"/>
                    <a:pt x="110" y="57"/>
                    <a:pt x="110" y="55"/>
                  </a:cubicBezTo>
                  <a:cubicBezTo>
                    <a:pt x="111" y="52"/>
                    <a:pt x="110" y="50"/>
                    <a:pt x="107" y="49"/>
                  </a:cubicBezTo>
                  <a:cubicBezTo>
                    <a:pt x="104" y="48"/>
                    <a:pt x="101" y="48"/>
                    <a:pt x="99" y="44"/>
                  </a:cubicBezTo>
                  <a:cubicBezTo>
                    <a:pt x="97" y="41"/>
                    <a:pt x="92" y="39"/>
                    <a:pt x="92" y="34"/>
                  </a:cubicBezTo>
                  <a:cubicBezTo>
                    <a:pt x="91" y="34"/>
                    <a:pt x="90" y="33"/>
                    <a:pt x="89" y="33"/>
                  </a:cubicBezTo>
                  <a:cubicBezTo>
                    <a:pt x="87" y="32"/>
                    <a:pt x="85" y="32"/>
                    <a:pt x="83" y="31"/>
                  </a:cubicBezTo>
                  <a:cubicBezTo>
                    <a:pt x="79" y="30"/>
                    <a:pt x="75" y="28"/>
                    <a:pt x="74" y="23"/>
                  </a:cubicBezTo>
                  <a:cubicBezTo>
                    <a:pt x="73" y="19"/>
                    <a:pt x="71" y="15"/>
                    <a:pt x="66" y="13"/>
                  </a:cubicBezTo>
                  <a:cubicBezTo>
                    <a:pt x="65" y="12"/>
                    <a:pt x="64" y="11"/>
                    <a:pt x="63" y="9"/>
                  </a:cubicBezTo>
                  <a:cubicBezTo>
                    <a:pt x="62" y="7"/>
                    <a:pt x="60" y="5"/>
                    <a:pt x="56" y="4"/>
                  </a:cubicBezTo>
                  <a:cubicBezTo>
                    <a:pt x="54" y="3"/>
                    <a:pt x="52" y="2"/>
                    <a:pt x="50" y="1"/>
                  </a:cubicBezTo>
                  <a:cubicBezTo>
                    <a:pt x="48" y="0"/>
                    <a:pt x="46" y="1"/>
                    <a:pt x="45" y="3"/>
                  </a:cubicBezTo>
                  <a:cubicBezTo>
                    <a:pt x="45" y="7"/>
                    <a:pt x="44" y="10"/>
                    <a:pt x="43" y="13"/>
                  </a:cubicBezTo>
                  <a:cubicBezTo>
                    <a:pt x="43" y="13"/>
                    <a:pt x="43" y="13"/>
                    <a:pt x="43" y="13"/>
                  </a:cubicBezTo>
                  <a:cubicBezTo>
                    <a:pt x="43" y="14"/>
                    <a:pt x="43" y="14"/>
                    <a:pt x="43" y="14"/>
                  </a:cubicBezTo>
                  <a:cubicBezTo>
                    <a:pt x="45" y="16"/>
                    <a:pt x="45" y="18"/>
                    <a:pt x="45" y="21"/>
                  </a:cubicBezTo>
                  <a:cubicBezTo>
                    <a:pt x="45" y="21"/>
                    <a:pt x="45" y="22"/>
                    <a:pt x="45" y="22"/>
                  </a:cubicBezTo>
                  <a:cubicBezTo>
                    <a:pt x="44" y="23"/>
                    <a:pt x="43" y="22"/>
                    <a:pt x="43" y="21"/>
                  </a:cubicBezTo>
                  <a:cubicBezTo>
                    <a:pt x="43" y="19"/>
                    <a:pt x="43" y="16"/>
                    <a:pt x="43" y="14"/>
                  </a:cubicBezTo>
                  <a:cubicBezTo>
                    <a:pt x="43" y="14"/>
                    <a:pt x="43" y="14"/>
                    <a:pt x="43" y="14"/>
                  </a:cubicBezTo>
                  <a:cubicBezTo>
                    <a:pt x="43" y="14"/>
                    <a:pt x="43" y="14"/>
                    <a:pt x="43" y="13"/>
                  </a:cubicBezTo>
                  <a:cubicBezTo>
                    <a:pt x="42" y="14"/>
                    <a:pt x="41" y="14"/>
                    <a:pt x="40" y="13"/>
                  </a:cubicBezTo>
                  <a:cubicBezTo>
                    <a:pt x="37" y="11"/>
                    <a:pt x="33" y="12"/>
                    <a:pt x="30" y="13"/>
                  </a:cubicBezTo>
                  <a:cubicBezTo>
                    <a:pt x="30" y="14"/>
                    <a:pt x="30" y="14"/>
                    <a:pt x="30" y="14"/>
                  </a:cubicBezTo>
                  <a:cubicBezTo>
                    <a:pt x="29" y="14"/>
                    <a:pt x="29" y="14"/>
                    <a:pt x="29" y="14"/>
                  </a:cubicBezTo>
                  <a:cubicBezTo>
                    <a:pt x="29" y="15"/>
                    <a:pt x="29" y="16"/>
                    <a:pt x="29" y="16"/>
                  </a:cubicBezTo>
                  <a:cubicBezTo>
                    <a:pt x="29" y="18"/>
                    <a:pt x="28" y="18"/>
                    <a:pt x="27" y="18"/>
                  </a:cubicBezTo>
                  <a:cubicBezTo>
                    <a:pt x="26" y="18"/>
                    <a:pt x="26" y="17"/>
                    <a:pt x="26" y="17"/>
                  </a:cubicBezTo>
                  <a:cubicBezTo>
                    <a:pt x="25" y="16"/>
                    <a:pt x="25" y="15"/>
                    <a:pt x="27" y="15"/>
                  </a:cubicBezTo>
                  <a:cubicBezTo>
                    <a:pt x="27" y="15"/>
                    <a:pt x="28" y="14"/>
                    <a:pt x="29" y="14"/>
                  </a:cubicBezTo>
                  <a:cubicBezTo>
                    <a:pt x="29" y="14"/>
                    <a:pt x="29" y="14"/>
                    <a:pt x="29" y="14"/>
                  </a:cubicBezTo>
                  <a:cubicBezTo>
                    <a:pt x="29" y="13"/>
                    <a:pt x="29" y="13"/>
                    <a:pt x="30" y="13"/>
                  </a:cubicBezTo>
                  <a:cubicBezTo>
                    <a:pt x="30" y="13"/>
                    <a:pt x="30" y="13"/>
                    <a:pt x="29" y="12"/>
                  </a:cubicBezTo>
                  <a:cubicBezTo>
                    <a:pt x="28" y="8"/>
                    <a:pt x="26" y="7"/>
                    <a:pt x="23" y="8"/>
                  </a:cubicBezTo>
                  <a:cubicBezTo>
                    <a:pt x="19" y="9"/>
                    <a:pt x="14" y="10"/>
                    <a:pt x="10" y="11"/>
                  </a:cubicBezTo>
                  <a:cubicBezTo>
                    <a:pt x="7" y="11"/>
                    <a:pt x="5" y="13"/>
                    <a:pt x="4" y="15"/>
                  </a:cubicBezTo>
                  <a:cubicBezTo>
                    <a:pt x="4" y="17"/>
                    <a:pt x="3" y="18"/>
                    <a:pt x="2" y="20"/>
                  </a:cubicBezTo>
                  <a:cubicBezTo>
                    <a:pt x="0" y="26"/>
                    <a:pt x="1" y="31"/>
                    <a:pt x="6" y="35"/>
                  </a:cubicBezTo>
                  <a:cubicBezTo>
                    <a:pt x="7" y="36"/>
                    <a:pt x="9" y="37"/>
                    <a:pt x="9" y="39"/>
                  </a:cubicBezTo>
                  <a:close/>
                  <a:moveTo>
                    <a:pt x="50" y="82"/>
                  </a:moveTo>
                  <a:cubicBezTo>
                    <a:pt x="48" y="81"/>
                    <a:pt x="48" y="81"/>
                    <a:pt x="48" y="81"/>
                  </a:cubicBezTo>
                  <a:cubicBezTo>
                    <a:pt x="50" y="81"/>
                    <a:pt x="50" y="81"/>
                    <a:pt x="50" y="81"/>
                  </a:cubicBezTo>
                  <a:lnTo>
                    <a:pt x="50" y="82"/>
                  </a:lnTo>
                  <a:close/>
                  <a:moveTo>
                    <a:pt x="46" y="33"/>
                  </a:moveTo>
                  <a:cubicBezTo>
                    <a:pt x="46" y="33"/>
                    <a:pt x="46" y="33"/>
                    <a:pt x="46" y="33"/>
                  </a:cubicBezTo>
                  <a:cubicBezTo>
                    <a:pt x="45" y="33"/>
                    <a:pt x="45" y="33"/>
                    <a:pt x="45" y="33"/>
                  </a:cubicBezTo>
                  <a:cubicBezTo>
                    <a:pt x="45" y="32"/>
                    <a:pt x="45" y="32"/>
                    <a:pt x="45" y="32"/>
                  </a:cubicBezTo>
                  <a:lnTo>
                    <a:pt x="46" y="33"/>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138"/>
            <p:cNvSpPr>
              <a:spLocks/>
            </p:cNvSpPr>
            <p:nvPr/>
          </p:nvSpPr>
          <p:spPr bwMode="auto">
            <a:xfrm>
              <a:off x="6174616" y="6095514"/>
              <a:ext cx="293498" cy="276287"/>
            </a:xfrm>
            <a:custGeom>
              <a:avLst/>
              <a:gdLst>
                <a:gd name="T0" fmla="*/ 134 w 137"/>
                <a:gd name="T1" fmla="*/ 10 h 129"/>
                <a:gd name="T2" fmla="*/ 127 w 137"/>
                <a:gd name="T3" fmla="*/ 11 h 129"/>
                <a:gd name="T4" fmla="*/ 124 w 137"/>
                <a:gd name="T5" fmla="*/ 5 h 129"/>
                <a:gd name="T6" fmla="*/ 122 w 137"/>
                <a:gd name="T7" fmla="*/ 2 h 129"/>
                <a:gd name="T8" fmla="*/ 116 w 137"/>
                <a:gd name="T9" fmla="*/ 1 h 129"/>
                <a:gd name="T10" fmla="*/ 112 w 137"/>
                <a:gd name="T11" fmla="*/ 4 h 129"/>
                <a:gd name="T12" fmla="*/ 96 w 137"/>
                <a:gd name="T13" fmla="*/ 24 h 129"/>
                <a:gd name="T14" fmla="*/ 92 w 137"/>
                <a:gd name="T15" fmla="*/ 28 h 129"/>
                <a:gd name="T16" fmla="*/ 88 w 137"/>
                <a:gd name="T17" fmla="*/ 35 h 129"/>
                <a:gd name="T18" fmla="*/ 76 w 137"/>
                <a:gd name="T19" fmla="*/ 48 h 129"/>
                <a:gd name="T20" fmla="*/ 58 w 137"/>
                <a:gd name="T21" fmla="*/ 58 h 129"/>
                <a:gd name="T22" fmla="*/ 42 w 137"/>
                <a:gd name="T23" fmla="*/ 66 h 129"/>
                <a:gd name="T24" fmla="*/ 38 w 137"/>
                <a:gd name="T25" fmla="*/ 68 h 129"/>
                <a:gd name="T26" fmla="*/ 14 w 137"/>
                <a:gd name="T27" fmla="*/ 88 h 129"/>
                <a:gd name="T28" fmla="*/ 1 w 137"/>
                <a:gd name="T29" fmla="*/ 107 h 129"/>
                <a:gd name="T30" fmla="*/ 4 w 137"/>
                <a:gd name="T31" fmla="*/ 114 h 129"/>
                <a:gd name="T32" fmla="*/ 17 w 137"/>
                <a:gd name="T33" fmla="*/ 122 h 129"/>
                <a:gd name="T34" fmla="*/ 19 w 137"/>
                <a:gd name="T35" fmla="*/ 125 h 129"/>
                <a:gd name="T36" fmla="*/ 33 w 137"/>
                <a:gd name="T37" fmla="*/ 127 h 129"/>
                <a:gd name="T38" fmla="*/ 55 w 137"/>
                <a:gd name="T39" fmla="*/ 112 h 129"/>
                <a:gd name="T40" fmla="*/ 61 w 137"/>
                <a:gd name="T41" fmla="*/ 102 h 129"/>
                <a:gd name="T42" fmla="*/ 66 w 137"/>
                <a:gd name="T43" fmla="*/ 95 h 129"/>
                <a:gd name="T44" fmla="*/ 73 w 137"/>
                <a:gd name="T45" fmla="*/ 86 h 129"/>
                <a:gd name="T46" fmla="*/ 89 w 137"/>
                <a:gd name="T47" fmla="*/ 72 h 129"/>
                <a:gd name="T48" fmla="*/ 99 w 137"/>
                <a:gd name="T49" fmla="*/ 70 h 129"/>
                <a:gd name="T50" fmla="*/ 104 w 137"/>
                <a:gd name="T51" fmla="*/ 66 h 129"/>
                <a:gd name="T52" fmla="*/ 109 w 137"/>
                <a:gd name="T53" fmla="*/ 54 h 129"/>
                <a:gd name="T54" fmla="*/ 114 w 137"/>
                <a:gd name="T55" fmla="*/ 50 h 129"/>
                <a:gd name="T56" fmla="*/ 133 w 137"/>
                <a:gd name="T57" fmla="*/ 30 h 129"/>
                <a:gd name="T58" fmla="*/ 135 w 137"/>
                <a:gd name="T59" fmla="*/ 25 h 129"/>
                <a:gd name="T60" fmla="*/ 136 w 137"/>
                <a:gd name="T61" fmla="*/ 20 h 129"/>
                <a:gd name="T62" fmla="*/ 136 w 137"/>
                <a:gd name="T63" fmla="*/ 17 h 129"/>
                <a:gd name="T64" fmla="*/ 137 w 137"/>
                <a:gd name="T65" fmla="*/ 14 h 129"/>
                <a:gd name="T66" fmla="*/ 137 w 137"/>
                <a:gd name="T67" fmla="*/ 12 h 129"/>
                <a:gd name="T68" fmla="*/ 134 w 137"/>
                <a:gd name="T69"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29">
                  <a:moveTo>
                    <a:pt x="134" y="10"/>
                  </a:moveTo>
                  <a:cubicBezTo>
                    <a:pt x="131" y="10"/>
                    <a:pt x="129" y="11"/>
                    <a:pt x="127" y="11"/>
                  </a:cubicBezTo>
                  <a:cubicBezTo>
                    <a:pt x="124" y="10"/>
                    <a:pt x="125" y="6"/>
                    <a:pt x="124" y="5"/>
                  </a:cubicBezTo>
                  <a:cubicBezTo>
                    <a:pt x="123" y="4"/>
                    <a:pt x="122" y="3"/>
                    <a:pt x="122" y="2"/>
                  </a:cubicBezTo>
                  <a:cubicBezTo>
                    <a:pt x="121" y="0"/>
                    <a:pt x="118" y="0"/>
                    <a:pt x="116" y="1"/>
                  </a:cubicBezTo>
                  <a:cubicBezTo>
                    <a:pt x="114" y="2"/>
                    <a:pt x="113" y="3"/>
                    <a:pt x="112" y="4"/>
                  </a:cubicBezTo>
                  <a:cubicBezTo>
                    <a:pt x="109" y="12"/>
                    <a:pt x="104" y="19"/>
                    <a:pt x="96" y="24"/>
                  </a:cubicBezTo>
                  <a:cubicBezTo>
                    <a:pt x="94" y="25"/>
                    <a:pt x="93" y="27"/>
                    <a:pt x="92" y="28"/>
                  </a:cubicBezTo>
                  <a:cubicBezTo>
                    <a:pt x="91" y="31"/>
                    <a:pt x="89" y="33"/>
                    <a:pt x="88" y="35"/>
                  </a:cubicBezTo>
                  <a:cubicBezTo>
                    <a:pt x="86" y="41"/>
                    <a:pt x="82" y="45"/>
                    <a:pt x="76" y="48"/>
                  </a:cubicBezTo>
                  <a:cubicBezTo>
                    <a:pt x="70" y="51"/>
                    <a:pt x="64" y="54"/>
                    <a:pt x="58" y="58"/>
                  </a:cubicBezTo>
                  <a:cubicBezTo>
                    <a:pt x="52" y="60"/>
                    <a:pt x="49" y="66"/>
                    <a:pt x="42" y="66"/>
                  </a:cubicBezTo>
                  <a:cubicBezTo>
                    <a:pt x="40" y="66"/>
                    <a:pt x="39" y="67"/>
                    <a:pt x="38" y="68"/>
                  </a:cubicBezTo>
                  <a:cubicBezTo>
                    <a:pt x="29" y="74"/>
                    <a:pt x="22" y="81"/>
                    <a:pt x="14" y="88"/>
                  </a:cubicBezTo>
                  <a:cubicBezTo>
                    <a:pt x="8" y="93"/>
                    <a:pt x="5" y="100"/>
                    <a:pt x="1" y="107"/>
                  </a:cubicBezTo>
                  <a:cubicBezTo>
                    <a:pt x="0" y="109"/>
                    <a:pt x="1" y="113"/>
                    <a:pt x="4" y="114"/>
                  </a:cubicBezTo>
                  <a:cubicBezTo>
                    <a:pt x="9" y="116"/>
                    <a:pt x="14" y="118"/>
                    <a:pt x="17" y="122"/>
                  </a:cubicBezTo>
                  <a:cubicBezTo>
                    <a:pt x="18" y="123"/>
                    <a:pt x="19" y="124"/>
                    <a:pt x="19" y="125"/>
                  </a:cubicBezTo>
                  <a:cubicBezTo>
                    <a:pt x="23" y="128"/>
                    <a:pt x="28" y="129"/>
                    <a:pt x="33" y="127"/>
                  </a:cubicBezTo>
                  <a:cubicBezTo>
                    <a:pt x="41" y="123"/>
                    <a:pt x="47" y="116"/>
                    <a:pt x="55" y="112"/>
                  </a:cubicBezTo>
                  <a:cubicBezTo>
                    <a:pt x="57" y="109"/>
                    <a:pt x="59" y="105"/>
                    <a:pt x="61" y="102"/>
                  </a:cubicBezTo>
                  <a:cubicBezTo>
                    <a:pt x="63" y="99"/>
                    <a:pt x="65" y="97"/>
                    <a:pt x="66" y="95"/>
                  </a:cubicBezTo>
                  <a:cubicBezTo>
                    <a:pt x="69" y="93"/>
                    <a:pt x="71" y="90"/>
                    <a:pt x="73" y="86"/>
                  </a:cubicBezTo>
                  <a:cubicBezTo>
                    <a:pt x="79" y="75"/>
                    <a:pt x="78" y="78"/>
                    <a:pt x="89" y="72"/>
                  </a:cubicBezTo>
                  <a:cubicBezTo>
                    <a:pt x="92" y="70"/>
                    <a:pt x="95" y="70"/>
                    <a:pt x="99" y="70"/>
                  </a:cubicBezTo>
                  <a:cubicBezTo>
                    <a:pt x="102" y="70"/>
                    <a:pt x="104" y="68"/>
                    <a:pt x="104" y="66"/>
                  </a:cubicBezTo>
                  <a:cubicBezTo>
                    <a:pt x="102" y="60"/>
                    <a:pt x="104" y="57"/>
                    <a:pt x="109" y="54"/>
                  </a:cubicBezTo>
                  <a:cubicBezTo>
                    <a:pt x="111" y="53"/>
                    <a:pt x="113" y="52"/>
                    <a:pt x="114" y="50"/>
                  </a:cubicBezTo>
                  <a:cubicBezTo>
                    <a:pt x="120" y="43"/>
                    <a:pt x="126" y="37"/>
                    <a:pt x="133" y="30"/>
                  </a:cubicBezTo>
                  <a:cubicBezTo>
                    <a:pt x="134" y="29"/>
                    <a:pt x="135" y="27"/>
                    <a:pt x="135" y="25"/>
                  </a:cubicBezTo>
                  <a:cubicBezTo>
                    <a:pt x="135" y="23"/>
                    <a:pt x="135" y="20"/>
                    <a:pt x="136" y="20"/>
                  </a:cubicBezTo>
                  <a:cubicBezTo>
                    <a:pt x="136" y="18"/>
                    <a:pt x="136" y="17"/>
                    <a:pt x="136" y="17"/>
                  </a:cubicBezTo>
                  <a:cubicBezTo>
                    <a:pt x="137" y="16"/>
                    <a:pt x="137" y="15"/>
                    <a:pt x="137" y="14"/>
                  </a:cubicBezTo>
                  <a:cubicBezTo>
                    <a:pt x="137" y="13"/>
                    <a:pt x="137" y="13"/>
                    <a:pt x="137" y="12"/>
                  </a:cubicBezTo>
                  <a:cubicBezTo>
                    <a:pt x="137" y="11"/>
                    <a:pt x="135" y="9"/>
                    <a:pt x="134" y="1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139"/>
            <p:cNvSpPr>
              <a:spLocks/>
            </p:cNvSpPr>
            <p:nvPr/>
          </p:nvSpPr>
          <p:spPr bwMode="auto">
            <a:xfrm>
              <a:off x="3229670" y="1225620"/>
              <a:ext cx="240052" cy="199289"/>
            </a:xfrm>
            <a:custGeom>
              <a:avLst/>
              <a:gdLst>
                <a:gd name="T0" fmla="*/ 4 w 112"/>
                <a:gd name="T1" fmla="*/ 47 h 93"/>
                <a:gd name="T2" fmla="*/ 7 w 112"/>
                <a:gd name="T3" fmla="*/ 50 h 93"/>
                <a:gd name="T4" fmla="*/ 12 w 112"/>
                <a:gd name="T5" fmla="*/ 51 h 93"/>
                <a:gd name="T6" fmla="*/ 22 w 112"/>
                <a:gd name="T7" fmla="*/ 55 h 93"/>
                <a:gd name="T8" fmla="*/ 24 w 112"/>
                <a:gd name="T9" fmla="*/ 55 h 93"/>
                <a:gd name="T10" fmla="*/ 22 w 112"/>
                <a:gd name="T11" fmla="*/ 57 h 93"/>
                <a:gd name="T12" fmla="*/ 16 w 112"/>
                <a:gd name="T13" fmla="*/ 58 h 93"/>
                <a:gd name="T14" fmla="*/ 10 w 112"/>
                <a:gd name="T15" fmla="*/ 61 h 93"/>
                <a:gd name="T16" fmla="*/ 13 w 112"/>
                <a:gd name="T17" fmla="*/ 66 h 93"/>
                <a:gd name="T18" fmla="*/ 22 w 112"/>
                <a:gd name="T19" fmla="*/ 75 h 93"/>
                <a:gd name="T20" fmla="*/ 25 w 112"/>
                <a:gd name="T21" fmla="*/ 75 h 93"/>
                <a:gd name="T22" fmla="*/ 35 w 112"/>
                <a:gd name="T23" fmla="*/ 61 h 93"/>
                <a:gd name="T24" fmla="*/ 34 w 112"/>
                <a:gd name="T25" fmla="*/ 57 h 93"/>
                <a:gd name="T26" fmla="*/ 35 w 112"/>
                <a:gd name="T27" fmla="*/ 56 h 93"/>
                <a:gd name="T28" fmla="*/ 37 w 112"/>
                <a:gd name="T29" fmla="*/ 56 h 93"/>
                <a:gd name="T30" fmla="*/ 41 w 112"/>
                <a:gd name="T31" fmla="*/ 66 h 93"/>
                <a:gd name="T32" fmla="*/ 40 w 112"/>
                <a:gd name="T33" fmla="*/ 72 h 93"/>
                <a:gd name="T34" fmla="*/ 44 w 112"/>
                <a:gd name="T35" fmla="*/ 78 h 93"/>
                <a:gd name="T36" fmla="*/ 54 w 112"/>
                <a:gd name="T37" fmla="*/ 82 h 93"/>
                <a:gd name="T38" fmla="*/ 68 w 112"/>
                <a:gd name="T39" fmla="*/ 89 h 93"/>
                <a:gd name="T40" fmla="*/ 95 w 112"/>
                <a:gd name="T41" fmla="*/ 92 h 93"/>
                <a:gd name="T42" fmla="*/ 100 w 112"/>
                <a:gd name="T43" fmla="*/ 92 h 93"/>
                <a:gd name="T44" fmla="*/ 111 w 112"/>
                <a:gd name="T45" fmla="*/ 85 h 93"/>
                <a:gd name="T46" fmla="*/ 111 w 112"/>
                <a:gd name="T47" fmla="*/ 79 h 93"/>
                <a:gd name="T48" fmla="*/ 109 w 112"/>
                <a:gd name="T49" fmla="*/ 77 h 93"/>
                <a:gd name="T50" fmla="*/ 104 w 112"/>
                <a:gd name="T51" fmla="*/ 73 h 93"/>
                <a:gd name="T52" fmla="*/ 101 w 112"/>
                <a:gd name="T53" fmla="*/ 68 h 93"/>
                <a:gd name="T54" fmla="*/ 97 w 112"/>
                <a:gd name="T55" fmla="*/ 57 h 93"/>
                <a:gd name="T56" fmla="*/ 82 w 112"/>
                <a:gd name="T57" fmla="*/ 40 h 93"/>
                <a:gd name="T58" fmla="*/ 73 w 112"/>
                <a:gd name="T59" fmla="*/ 40 h 93"/>
                <a:gd name="T60" fmla="*/ 65 w 112"/>
                <a:gd name="T61" fmla="*/ 40 h 93"/>
                <a:gd name="T62" fmla="*/ 55 w 112"/>
                <a:gd name="T63" fmla="*/ 40 h 93"/>
                <a:gd name="T64" fmla="*/ 52 w 112"/>
                <a:gd name="T65" fmla="*/ 42 h 93"/>
                <a:gd name="T66" fmla="*/ 52 w 112"/>
                <a:gd name="T67" fmla="*/ 42 h 93"/>
                <a:gd name="T68" fmla="*/ 51 w 112"/>
                <a:gd name="T69" fmla="*/ 42 h 93"/>
                <a:gd name="T70" fmla="*/ 44 w 112"/>
                <a:gd name="T71" fmla="*/ 49 h 93"/>
                <a:gd name="T72" fmla="*/ 42 w 112"/>
                <a:gd name="T73" fmla="*/ 49 h 93"/>
                <a:gd name="T74" fmla="*/ 42 w 112"/>
                <a:gd name="T75" fmla="*/ 47 h 93"/>
                <a:gd name="T76" fmla="*/ 51 w 112"/>
                <a:gd name="T77" fmla="*/ 42 h 93"/>
                <a:gd name="T78" fmla="*/ 52 w 112"/>
                <a:gd name="T79" fmla="*/ 42 h 93"/>
                <a:gd name="T80" fmla="*/ 52 w 112"/>
                <a:gd name="T81" fmla="*/ 42 h 93"/>
                <a:gd name="T82" fmla="*/ 48 w 112"/>
                <a:gd name="T83" fmla="*/ 30 h 93"/>
                <a:gd name="T84" fmla="*/ 42 w 112"/>
                <a:gd name="T85" fmla="*/ 19 h 93"/>
                <a:gd name="T86" fmla="*/ 38 w 112"/>
                <a:gd name="T87" fmla="*/ 15 h 93"/>
                <a:gd name="T88" fmla="*/ 22 w 112"/>
                <a:gd name="T89" fmla="*/ 5 h 93"/>
                <a:gd name="T90" fmla="*/ 15 w 112"/>
                <a:gd name="T91" fmla="*/ 1 h 93"/>
                <a:gd name="T92" fmla="*/ 9 w 112"/>
                <a:gd name="T93" fmla="*/ 3 h 93"/>
                <a:gd name="T94" fmla="*/ 4 w 112"/>
                <a:gd name="T95" fmla="*/ 14 h 93"/>
                <a:gd name="T96" fmla="*/ 2 w 112"/>
                <a:gd name="T97" fmla="*/ 32 h 93"/>
                <a:gd name="T98" fmla="*/ 4 w 112"/>
                <a:gd name="T99"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2" h="93">
                  <a:moveTo>
                    <a:pt x="4" y="47"/>
                  </a:moveTo>
                  <a:cubicBezTo>
                    <a:pt x="4" y="49"/>
                    <a:pt x="5" y="50"/>
                    <a:pt x="7" y="50"/>
                  </a:cubicBezTo>
                  <a:cubicBezTo>
                    <a:pt x="9" y="51"/>
                    <a:pt x="11" y="50"/>
                    <a:pt x="12" y="51"/>
                  </a:cubicBezTo>
                  <a:cubicBezTo>
                    <a:pt x="15" y="53"/>
                    <a:pt x="18" y="55"/>
                    <a:pt x="22" y="55"/>
                  </a:cubicBezTo>
                  <a:cubicBezTo>
                    <a:pt x="23" y="55"/>
                    <a:pt x="23" y="55"/>
                    <a:pt x="24" y="55"/>
                  </a:cubicBezTo>
                  <a:cubicBezTo>
                    <a:pt x="24" y="56"/>
                    <a:pt x="24" y="57"/>
                    <a:pt x="22" y="57"/>
                  </a:cubicBezTo>
                  <a:cubicBezTo>
                    <a:pt x="20" y="57"/>
                    <a:pt x="18" y="58"/>
                    <a:pt x="16" y="58"/>
                  </a:cubicBezTo>
                  <a:cubicBezTo>
                    <a:pt x="14" y="58"/>
                    <a:pt x="12" y="59"/>
                    <a:pt x="10" y="61"/>
                  </a:cubicBezTo>
                  <a:cubicBezTo>
                    <a:pt x="10" y="62"/>
                    <a:pt x="10" y="64"/>
                    <a:pt x="13" y="66"/>
                  </a:cubicBezTo>
                  <a:cubicBezTo>
                    <a:pt x="16" y="69"/>
                    <a:pt x="19" y="72"/>
                    <a:pt x="22" y="75"/>
                  </a:cubicBezTo>
                  <a:cubicBezTo>
                    <a:pt x="23" y="75"/>
                    <a:pt x="25" y="76"/>
                    <a:pt x="25" y="75"/>
                  </a:cubicBezTo>
                  <a:cubicBezTo>
                    <a:pt x="32" y="74"/>
                    <a:pt x="37" y="68"/>
                    <a:pt x="35" y="61"/>
                  </a:cubicBezTo>
                  <a:cubicBezTo>
                    <a:pt x="34" y="60"/>
                    <a:pt x="33" y="59"/>
                    <a:pt x="34" y="57"/>
                  </a:cubicBezTo>
                  <a:cubicBezTo>
                    <a:pt x="34" y="57"/>
                    <a:pt x="35" y="56"/>
                    <a:pt x="35" y="56"/>
                  </a:cubicBezTo>
                  <a:cubicBezTo>
                    <a:pt x="36" y="56"/>
                    <a:pt x="36" y="56"/>
                    <a:pt x="37" y="56"/>
                  </a:cubicBezTo>
                  <a:cubicBezTo>
                    <a:pt x="39" y="59"/>
                    <a:pt x="41" y="62"/>
                    <a:pt x="41" y="66"/>
                  </a:cubicBezTo>
                  <a:cubicBezTo>
                    <a:pt x="41" y="68"/>
                    <a:pt x="40" y="70"/>
                    <a:pt x="40" y="72"/>
                  </a:cubicBezTo>
                  <a:cubicBezTo>
                    <a:pt x="39" y="77"/>
                    <a:pt x="39" y="78"/>
                    <a:pt x="44" y="78"/>
                  </a:cubicBezTo>
                  <a:cubicBezTo>
                    <a:pt x="48" y="78"/>
                    <a:pt x="52" y="79"/>
                    <a:pt x="54" y="82"/>
                  </a:cubicBezTo>
                  <a:cubicBezTo>
                    <a:pt x="57" y="87"/>
                    <a:pt x="62" y="89"/>
                    <a:pt x="68" y="89"/>
                  </a:cubicBezTo>
                  <a:cubicBezTo>
                    <a:pt x="77" y="89"/>
                    <a:pt x="86" y="90"/>
                    <a:pt x="95" y="92"/>
                  </a:cubicBezTo>
                  <a:cubicBezTo>
                    <a:pt x="97" y="93"/>
                    <a:pt x="99" y="93"/>
                    <a:pt x="100" y="92"/>
                  </a:cubicBezTo>
                  <a:cubicBezTo>
                    <a:pt x="104" y="91"/>
                    <a:pt x="108" y="89"/>
                    <a:pt x="111" y="85"/>
                  </a:cubicBezTo>
                  <a:cubicBezTo>
                    <a:pt x="112" y="84"/>
                    <a:pt x="112" y="81"/>
                    <a:pt x="111" y="79"/>
                  </a:cubicBezTo>
                  <a:cubicBezTo>
                    <a:pt x="110" y="79"/>
                    <a:pt x="110" y="78"/>
                    <a:pt x="109" y="77"/>
                  </a:cubicBezTo>
                  <a:cubicBezTo>
                    <a:pt x="107" y="76"/>
                    <a:pt x="105" y="74"/>
                    <a:pt x="104" y="73"/>
                  </a:cubicBezTo>
                  <a:cubicBezTo>
                    <a:pt x="101" y="72"/>
                    <a:pt x="101" y="70"/>
                    <a:pt x="101" y="68"/>
                  </a:cubicBezTo>
                  <a:cubicBezTo>
                    <a:pt x="102" y="63"/>
                    <a:pt x="97" y="61"/>
                    <a:pt x="97" y="57"/>
                  </a:cubicBezTo>
                  <a:cubicBezTo>
                    <a:pt x="95" y="49"/>
                    <a:pt x="89" y="44"/>
                    <a:pt x="82" y="40"/>
                  </a:cubicBezTo>
                  <a:cubicBezTo>
                    <a:pt x="79" y="39"/>
                    <a:pt x="76" y="38"/>
                    <a:pt x="73" y="40"/>
                  </a:cubicBezTo>
                  <a:cubicBezTo>
                    <a:pt x="70" y="42"/>
                    <a:pt x="68" y="41"/>
                    <a:pt x="65" y="40"/>
                  </a:cubicBezTo>
                  <a:cubicBezTo>
                    <a:pt x="62" y="38"/>
                    <a:pt x="58" y="38"/>
                    <a:pt x="55" y="40"/>
                  </a:cubicBezTo>
                  <a:cubicBezTo>
                    <a:pt x="54" y="41"/>
                    <a:pt x="53" y="41"/>
                    <a:pt x="52" y="42"/>
                  </a:cubicBezTo>
                  <a:cubicBezTo>
                    <a:pt x="52" y="42"/>
                    <a:pt x="52" y="42"/>
                    <a:pt x="52" y="42"/>
                  </a:cubicBezTo>
                  <a:cubicBezTo>
                    <a:pt x="52" y="42"/>
                    <a:pt x="52" y="42"/>
                    <a:pt x="51" y="42"/>
                  </a:cubicBezTo>
                  <a:cubicBezTo>
                    <a:pt x="49" y="45"/>
                    <a:pt x="47" y="47"/>
                    <a:pt x="44" y="49"/>
                  </a:cubicBezTo>
                  <a:cubicBezTo>
                    <a:pt x="43" y="50"/>
                    <a:pt x="42" y="50"/>
                    <a:pt x="42" y="49"/>
                  </a:cubicBezTo>
                  <a:cubicBezTo>
                    <a:pt x="41" y="48"/>
                    <a:pt x="42" y="48"/>
                    <a:pt x="42" y="47"/>
                  </a:cubicBezTo>
                  <a:cubicBezTo>
                    <a:pt x="44" y="44"/>
                    <a:pt x="47" y="42"/>
                    <a:pt x="51" y="42"/>
                  </a:cubicBezTo>
                  <a:cubicBezTo>
                    <a:pt x="52" y="42"/>
                    <a:pt x="52" y="42"/>
                    <a:pt x="52" y="42"/>
                  </a:cubicBezTo>
                  <a:cubicBezTo>
                    <a:pt x="52" y="42"/>
                    <a:pt x="52" y="42"/>
                    <a:pt x="52" y="42"/>
                  </a:cubicBezTo>
                  <a:cubicBezTo>
                    <a:pt x="53" y="37"/>
                    <a:pt x="52" y="33"/>
                    <a:pt x="48" y="30"/>
                  </a:cubicBezTo>
                  <a:cubicBezTo>
                    <a:pt x="44" y="27"/>
                    <a:pt x="43" y="23"/>
                    <a:pt x="42" y="19"/>
                  </a:cubicBezTo>
                  <a:cubicBezTo>
                    <a:pt x="42" y="17"/>
                    <a:pt x="41" y="15"/>
                    <a:pt x="38" y="15"/>
                  </a:cubicBezTo>
                  <a:cubicBezTo>
                    <a:pt x="31" y="14"/>
                    <a:pt x="26" y="10"/>
                    <a:pt x="22" y="5"/>
                  </a:cubicBezTo>
                  <a:cubicBezTo>
                    <a:pt x="20" y="3"/>
                    <a:pt x="17" y="2"/>
                    <a:pt x="15" y="1"/>
                  </a:cubicBezTo>
                  <a:cubicBezTo>
                    <a:pt x="13" y="0"/>
                    <a:pt x="10" y="1"/>
                    <a:pt x="9" y="3"/>
                  </a:cubicBezTo>
                  <a:cubicBezTo>
                    <a:pt x="8" y="7"/>
                    <a:pt x="7" y="11"/>
                    <a:pt x="4" y="14"/>
                  </a:cubicBezTo>
                  <a:cubicBezTo>
                    <a:pt x="0" y="20"/>
                    <a:pt x="0" y="26"/>
                    <a:pt x="2" y="32"/>
                  </a:cubicBezTo>
                  <a:cubicBezTo>
                    <a:pt x="5" y="37"/>
                    <a:pt x="5" y="42"/>
                    <a:pt x="4" y="4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140"/>
            <p:cNvSpPr>
              <a:spLocks/>
            </p:cNvSpPr>
            <p:nvPr/>
          </p:nvSpPr>
          <p:spPr bwMode="auto">
            <a:xfrm>
              <a:off x="6476267" y="5819228"/>
              <a:ext cx="164866" cy="325203"/>
            </a:xfrm>
            <a:custGeom>
              <a:avLst/>
              <a:gdLst>
                <a:gd name="T0" fmla="*/ 73 w 77"/>
                <a:gd name="T1" fmla="*/ 73 h 152"/>
                <a:gd name="T2" fmla="*/ 69 w 77"/>
                <a:gd name="T3" fmla="*/ 73 h 152"/>
                <a:gd name="T4" fmla="*/ 66 w 77"/>
                <a:gd name="T5" fmla="*/ 75 h 152"/>
                <a:gd name="T6" fmla="*/ 53 w 77"/>
                <a:gd name="T7" fmla="*/ 74 h 152"/>
                <a:gd name="T8" fmla="*/ 48 w 77"/>
                <a:gd name="T9" fmla="*/ 66 h 152"/>
                <a:gd name="T10" fmla="*/ 46 w 77"/>
                <a:gd name="T11" fmla="*/ 55 h 152"/>
                <a:gd name="T12" fmla="*/ 45 w 77"/>
                <a:gd name="T13" fmla="*/ 51 h 152"/>
                <a:gd name="T14" fmla="*/ 42 w 77"/>
                <a:gd name="T15" fmla="*/ 50 h 152"/>
                <a:gd name="T16" fmla="*/ 41 w 77"/>
                <a:gd name="T17" fmla="*/ 51 h 152"/>
                <a:gd name="T18" fmla="*/ 40 w 77"/>
                <a:gd name="T19" fmla="*/ 54 h 152"/>
                <a:gd name="T20" fmla="*/ 38 w 77"/>
                <a:gd name="T21" fmla="*/ 56 h 152"/>
                <a:gd name="T22" fmla="*/ 35 w 77"/>
                <a:gd name="T23" fmla="*/ 53 h 152"/>
                <a:gd name="T24" fmla="*/ 37 w 77"/>
                <a:gd name="T25" fmla="*/ 31 h 152"/>
                <a:gd name="T26" fmla="*/ 35 w 77"/>
                <a:gd name="T27" fmla="*/ 20 h 152"/>
                <a:gd name="T28" fmla="*/ 24 w 77"/>
                <a:gd name="T29" fmla="*/ 6 h 152"/>
                <a:gd name="T30" fmla="*/ 21 w 77"/>
                <a:gd name="T31" fmla="*/ 2 h 152"/>
                <a:gd name="T32" fmla="*/ 20 w 77"/>
                <a:gd name="T33" fmla="*/ 1 h 152"/>
                <a:gd name="T34" fmla="*/ 18 w 77"/>
                <a:gd name="T35" fmla="*/ 1 h 152"/>
                <a:gd name="T36" fmla="*/ 17 w 77"/>
                <a:gd name="T37" fmla="*/ 2 h 152"/>
                <a:gd name="T38" fmla="*/ 19 w 77"/>
                <a:gd name="T39" fmla="*/ 15 h 152"/>
                <a:gd name="T40" fmla="*/ 19 w 77"/>
                <a:gd name="T41" fmla="*/ 24 h 152"/>
                <a:gd name="T42" fmla="*/ 23 w 77"/>
                <a:gd name="T43" fmla="*/ 37 h 152"/>
                <a:gd name="T44" fmla="*/ 24 w 77"/>
                <a:gd name="T45" fmla="*/ 51 h 152"/>
                <a:gd name="T46" fmla="*/ 26 w 77"/>
                <a:gd name="T47" fmla="*/ 55 h 152"/>
                <a:gd name="T48" fmla="*/ 28 w 77"/>
                <a:gd name="T49" fmla="*/ 61 h 152"/>
                <a:gd name="T50" fmla="*/ 25 w 77"/>
                <a:gd name="T51" fmla="*/ 75 h 152"/>
                <a:gd name="T52" fmla="*/ 18 w 77"/>
                <a:gd name="T53" fmla="*/ 89 h 152"/>
                <a:gd name="T54" fmla="*/ 13 w 77"/>
                <a:gd name="T55" fmla="*/ 95 h 152"/>
                <a:gd name="T56" fmla="*/ 5 w 77"/>
                <a:gd name="T57" fmla="*/ 98 h 152"/>
                <a:gd name="T58" fmla="*/ 3 w 77"/>
                <a:gd name="T59" fmla="*/ 109 h 152"/>
                <a:gd name="T60" fmla="*/ 11 w 77"/>
                <a:gd name="T61" fmla="*/ 116 h 152"/>
                <a:gd name="T62" fmla="*/ 14 w 77"/>
                <a:gd name="T63" fmla="*/ 125 h 152"/>
                <a:gd name="T64" fmla="*/ 11 w 77"/>
                <a:gd name="T65" fmla="*/ 132 h 152"/>
                <a:gd name="T66" fmla="*/ 2 w 77"/>
                <a:gd name="T67" fmla="*/ 143 h 152"/>
                <a:gd name="T68" fmla="*/ 2 w 77"/>
                <a:gd name="T69" fmla="*/ 146 h 152"/>
                <a:gd name="T70" fmla="*/ 8 w 77"/>
                <a:gd name="T71" fmla="*/ 151 h 152"/>
                <a:gd name="T72" fmla="*/ 11 w 77"/>
                <a:gd name="T73" fmla="*/ 152 h 152"/>
                <a:gd name="T74" fmla="*/ 21 w 77"/>
                <a:gd name="T75" fmla="*/ 144 h 152"/>
                <a:gd name="T76" fmla="*/ 37 w 77"/>
                <a:gd name="T77" fmla="*/ 129 h 152"/>
                <a:gd name="T78" fmla="*/ 46 w 77"/>
                <a:gd name="T79" fmla="*/ 111 h 152"/>
                <a:gd name="T80" fmla="*/ 54 w 77"/>
                <a:gd name="T81" fmla="*/ 104 h 152"/>
                <a:gd name="T82" fmla="*/ 58 w 77"/>
                <a:gd name="T83" fmla="*/ 104 h 152"/>
                <a:gd name="T84" fmla="*/ 60 w 77"/>
                <a:gd name="T85" fmla="*/ 103 h 152"/>
                <a:gd name="T86" fmla="*/ 70 w 77"/>
                <a:gd name="T87" fmla="*/ 92 h 152"/>
                <a:gd name="T88" fmla="*/ 73 w 77"/>
                <a:gd name="T89" fmla="*/ 87 h 152"/>
                <a:gd name="T90" fmla="*/ 76 w 77"/>
                <a:gd name="T91" fmla="*/ 78 h 152"/>
                <a:gd name="T92" fmla="*/ 73 w 77"/>
                <a:gd name="T93" fmla="*/ 7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152">
                  <a:moveTo>
                    <a:pt x="73" y="73"/>
                  </a:moveTo>
                  <a:cubicBezTo>
                    <a:pt x="72" y="72"/>
                    <a:pt x="70" y="72"/>
                    <a:pt x="69" y="73"/>
                  </a:cubicBezTo>
                  <a:cubicBezTo>
                    <a:pt x="68" y="73"/>
                    <a:pt x="67" y="74"/>
                    <a:pt x="66" y="75"/>
                  </a:cubicBezTo>
                  <a:cubicBezTo>
                    <a:pt x="60" y="78"/>
                    <a:pt x="58" y="78"/>
                    <a:pt x="53" y="74"/>
                  </a:cubicBezTo>
                  <a:cubicBezTo>
                    <a:pt x="50" y="72"/>
                    <a:pt x="48" y="70"/>
                    <a:pt x="48" y="66"/>
                  </a:cubicBezTo>
                  <a:cubicBezTo>
                    <a:pt x="48" y="63"/>
                    <a:pt x="47" y="59"/>
                    <a:pt x="46" y="55"/>
                  </a:cubicBezTo>
                  <a:cubicBezTo>
                    <a:pt x="46" y="54"/>
                    <a:pt x="45" y="52"/>
                    <a:pt x="45" y="51"/>
                  </a:cubicBezTo>
                  <a:cubicBezTo>
                    <a:pt x="44" y="50"/>
                    <a:pt x="43" y="50"/>
                    <a:pt x="42" y="50"/>
                  </a:cubicBezTo>
                  <a:cubicBezTo>
                    <a:pt x="42" y="50"/>
                    <a:pt x="41" y="50"/>
                    <a:pt x="41" y="51"/>
                  </a:cubicBezTo>
                  <a:cubicBezTo>
                    <a:pt x="41" y="52"/>
                    <a:pt x="40" y="53"/>
                    <a:pt x="40" y="54"/>
                  </a:cubicBezTo>
                  <a:cubicBezTo>
                    <a:pt x="39" y="55"/>
                    <a:pt x="39" y="55"/>
                    <a:pt x="38" y="56"/>
                  </a:cubicBezTo>
                  <a:cubicBezTo>
                    <a:pt x="37" y="56"/>
                    <a:pt x="35" y="54"/>
                    <a:pt x="35" y="53"/>
                  </a:cubicBezTo>
                  <a:cubicBezTo>
                    <a:pt x="36" y="46"/>
                    <a:pt x="35" y="38"/>
                    <a:pt x="37" y="31"/>
                  </a:cubicBezTo>
                  <a:cubicBezTo>
                    <a:pt x="38" y="27"/>
                    <a:pt x="38" y="23"/>
                    <a:pt x="35" y="20"/>
                  </a:cubicBezTo>
                  <a:cubicBezTo>
                    <a:pt x="31" y="15"/>
                    <a:pt x="29" y="10"/>
                    <a:pt x="24" y="6"/>
                  </a:cubicBezTo>
                  <a:cubicBezTo>
                    <a:pt x="23" y="6"/>
                    <a:pt x="22" y="4"/>
                    <a:pt x="21" y="2"/>
                  </a:cubicBezTo>
                  <a:cubicBezTo>
                    <a:pt x="21" y="2"/>
                    <a:pt x="21" y="1"/>
                    <a:pt x="20" y="1"/>
                  </a:cubicBezTo>
                  <a:cubicBezTo>
                    <a:pt x="19" y="0"/>
                    <a:pt x="19" y="0"/>
                    <a:pt x="18" y="1"/>
                  </a:cubicBezTo>
                  <a:cubicBezTo>
                    <a:pt x="17" y="1"/>
                    <a:pt x="17" y="2"/>
                    <a:pt x="17" y="2"/>
                  </a:cubicBezTo>
                  <a:cubicBezTo>
                    <a:pt x="17" y="7"/>
                    <a:pt x="21" y="10"/>
                    <a:pt x="19" y="15"/>
                  </a:cubicBezTo>
                  <a:cubicBezTo>
                    <a:pt x="17" y="18"/>
                    <a:pt x="18" y="20"/>
                    <a:pt x="19" y="24"/>
                  </a:cubicBezTo>
                  <a:cubicBezTo>
                    <a:pt x="21" y="28"/>
                    <a:pt x="22" y="33"/>
                    <a:pt x="23" y="37"/>
                  </a:cubicBezTo>
                  <a:cubicBezTo>
                    <a:pt x="24" y="42"/>
                    <a:pt x="27" y="46"/>
                    <a:pt x="24" y="51"/>
                  </a:cubicBezTo>
                  <a:cubicBezTo>
                    <a:pt x="24" y="52"/>
                    <a:pt x="25" y="54"/>
                    <a:pt x="26" y="55"/>
                  </a:cubicBezTo>
                  <a:cubicBezTo>
                    <a:pt x="26" y="57"/>
                    <a:pt x="27" y="59"/>
                    <a:pt x="28" y="61"/>
                  </a:cubicBezTo>
                  <a:cubicBezTo>
                    <a:pt x="27" y="66"/>
                    <a:pt x="27" y="70"/>
                    <a:pt x="25" y="75"/>
                  </a:cubicBezTo>
                  <a:cubicBezTo>
                    <a:pt x="22" y="80"/>
                    <a:pt x="20" y="85"/>
                    <a:pt x="18" y="89"/>
                  </a:cubicBezTo>
                  <a:cubicBezTo>
                    <a:pt x="17" y="92"/>
                    <a:pt x="16" y="94"/>
                    <a:pt x="13" y="95"/>
                  </a:cubicBezTo>
                  <a:cubicBezTo>
                    <a:pt x="10" y="95"/>
                    <a:pt x="8" y="96"/>
                    <a:pt x="5" y="98"/>
                  </a:cubicBezTo>
                  <a:cubicBezTo>
                    <a:pt x="1" y="100"/>
                    <a:pt x="0" y="106"/>
                    <a:pt x="3" y="109"/>
                  </a:cubicBezTo>
                  <a:cubicBezTo>
                    <a:pt x="6" y="111"/>
                    <a:pt x="9" y="114"/>
                    <a:pt x="11" y="116"/>
                  </a:cubicBezTo>
                  <a:cubicBezTo>
                    <a:pt x="14" y="119"/>
                    <a:pt x="14" y="122"/>
                    <a:pt x="14" y="125"/>
                  </a:cubicBezTo>
                  <a:cubicBezTo>
                    <a:pt x="14" y="128"/>
                    <a:pt x="13" y="130"/>
                    <a:pt x="11" y="132"/>
                  </a:cubicBezTo>
                  <a:cubicBezTo>
                    <a:pt x="8" y="136"/>
                    <a:pt x="5" y="139"/>
                    <a:pt x="2" y="143"/>
                  </a:cubicBezTo>
                  <a:cubicBezTo>
                    <a:pt x="1" y="144"/>
                    <a:pt x="1" y="145"/>
                    <a:pt x="2" y="146"/>
                  </a:cubicBezTo>
                  <a:cubicBezTo>
                    <a:pt x="4" y="148"/>
                    <a:pt x="6" y="150"/>
                    <a:pt x="8" y="151"/>
                  </a:cubicBezTo>
                  <a:cubicBezTo>
                    <a:pt x="8" y="152"/>
                    <a:pt x="10" y="152"/>
                    <a:pt x="11" y="152"/>
                  </a:cubicBezTo>
                  <a:cubicBezTo>
                    <a:pt x="15" y="150"/>
                    <a:pt x="18" y="147"/>
                    <a:pt x="21" y="144"/>
                  </a:cubicBezTo>
                  <a:cubicBezTo>
                    <a:pt x="27" y="139"/>
                    <a:pt x="32" y="134"/>
                    <a:pt x="37" y="129"/>
                  </a:cubicBezTo>
                  <a:cubicBezTo>
                    <a:pt x="42" y="123"/>
                    <a:pt x="46" y="118"/>
                    <a:pt x="46" y="111"/>
                  </a:cubicBezTo>
                  <a:cubicBezTo>
                    <a:pt x="46" y="107"/>
                    <a:pt x="50" y="104"/>
                    <a:pt x="54" y="104"/>
                  </a:cubicBezTo>
                  <a:cubicBezTo>
                    <a:pt x="55" y="104"/>
                    <a:pt x="57" y="104"/>
                    <a:pt x="58" y="104"/>
                  </a:cubicBezTo>
                  <a:cubicBezTo>
                    <a:pt x="59" y="104"/>
                    <a:pt x="60" y="103"/>
                    <a:pt x="60" y="103"/>
                  </a:cubicBezTo>
                  <a:cubicBezTo>
                    <a:pt x="62" y="98"/>
                    <a:pt x="66" y="95"/>
                    <a:pt x="70" y="92"/>
                  </a:cubicBezTo>
                  <a:cubicBezTo>
                    <a:pt x="71" y="91"/>
                    <a:pt x="72" y="89"/>
                    <a:pt x="73" y="87"/>
                  </a:cubicBezTo>
                  <a:cubicBezTo>
                    <a:pt x="74" y="84"/>
                    <a:pt x="75" y="81"/>
                    <a:pt x="76" y="78"/>
                  </a:cubicBezTo>
                  <a:cubicBezTo>
                    <a:pt x="77" y="76"/>
                    <a:pt x="75" y="74"/>
                    <a:pt x="73" y="7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141"/>
            <p:cNvSpPr>
              <a:spLocks noEditPoints="1"/>
            </p:cNvSpPr>
            <p:nvPr/>
          </p:nvSpPr>
          <p:spPr bwMode="auto">
            <a:xfrm>
              <a:off x="4371052" y="1335229"/>
              <a:ext cx="203818" cy="134973"/>
            </a:xfrm>
            <a:custGeom>
              <a:avLst/>
              <a:gdLst>
                <a:gd name="T0" fmla="*/ 8 w 95"/>
                <a:gd name="T1" fmla="*/ 36 h 63"/>
                <a:gd name="T2" fmla="*/ 14 w 95"/>
                <a:gd name="T3" fmla="*/ 47 h 63"/>
                <a:gd name="T4" fmla="*/ 17 w 95"/>
                <a:gd name="T5" fmla="*/ 50 h 63"/>
                <a:gd name="T6" fmla="*/ 26 w 95"/>
                <a:gd name="T7" fmla="*/ 54 h 63"/>
                <a:gd name="T8" fmla="*/ 35 w 95"/>
                <a:gd name="T9" fmla="*/ 60 h 63"/>
                <a:gd name="T10" fmla="*/ 44 w 95"/>
                <a:gd name="T11" fmla="*/ 62 h 63"/>
                <a:gd name="T12" fmla="*/ 52 w 95"/>
                <a:gd name="T13" fmla="*/ 62 h 63"/>
                <a:gd name="T14" fmla="*/ 56 w 95"/>
                <a:gd name="T15" fmla="*/ 60 h 63"/>
                <a:gd name="T16" fmla="*/ 60 w 95"/>
                <a:gd name="T17" fmla="*/ 53 h 63"/>
                <a:gd name="T18" fmla="*/ 65 w 95"/>
                <a:gd name="T19" fmla="*/ 47 h 63"/>
                <a:gd name="T20" fmla="*/ 78 w 95"/>
                <a:gd name="T21" fmla="*/ 42 h 63"/>
                <a:gd name="T22" fmla="*/ 83 w 95"/>
                <a:gd name="T23" fmla="*/ 41 h 63"/>
                <a:gd name="T24" fmla="*/ 86 w 95"/>
                <a:gd name="T25" fmla="*/ 38 h 63"/>
                <a:gd name="T26" fmla="*/ 87 w 95"/>
                <a:gd name="T27" fmla="*/ 35 h 63"/>
                <a:gd name="T28" fmla="*/ 90 w 95"/>
                <a:gd name="T29" fmla="*/ 32 h 63"/>
                <a:gd name="T30" fmla="*/ 92 w 95"/>
                <a:gd name="T31" fmla="*/ 30 h 63"/>
                <a:gd name="T32" fmla="*/ 94 w 95"/>
                <a:gd name="T33" fmla="*/ 26 h 63"/>
                <a:gd name="T34" fmla="*/ 94 w 95"/>
                <a:gd name="T35" fmla="*/ 19 h 63"/>
                <a:gd name="T36" fmla="*/ 91 w 95"/>
                <a:gd name="T37" fmla="*/ 12 h 63"/>
                <a:gd name="T38" fmla="*/ 85 w 95"/>
                <a:gd name="T39" fmla="*/ 5 h 63"/>
                <a:gd name="T40" fmla="*/ 65 w 95"/>
                <a:gd name="T41" fmla="*/ 1 h 63"/>
                <a:gd name="T42" fmla="*/ 63 w 95"/>
                <a:gd name="T43" fmla="*/ 1 h 63"/>
                <a:gd name="T44" fmla="*/ 59 w 95"/>
                <a:gd name="T45" fmla="*/ 3 h 63"/>
                <a:gd name="T46" fmla="*/ 59 w 95"/>
                <a:gd name="T47" fmla="*/ 6 h 63"/>
                <a:gd name="T48" fmla="*/ 63 w 95"/>
                <a:gd name="T49" fmla="*/ 21 h 63"/>
                <a:gd name="T50" fmla="*/ 64 w 95"/>
                <a:gd name="T51" fmla="*/ 25 h 63"/>
                <a:gd name="T52" fmla="*/ 65 w 95"/>
                <a:gd name="T53" fmla="*/ 25 h 63"/>
                <a:gd name="T54" fmla="*/ 65 w 95"/>
                <a:gd name="T55" fmla="*/ 26 h 63"/>
                <a:gd name="T56" fmla="*/ 64 w 95"/>
                <a:gd name="T57" fmla="*/ 25 h 63"/>
                <a:gd name="T58" fmla="*/ 64 w 95"/>
                <a:gd name="T59" fmla="*/ 25 h 63"/>
                <a:gd name="T60" fmla="*/ 62 w 95"/>
                <a:gd name="T61" fmla="*/ 23 h 63"/>
                <a:gd name="T62" fmla="*/ 55 w 95"/>
                <a:gd name="T63" fmla="*/ 8 h 63"/>
                <a:gd name="T64" fmla="*/ 49 w 95"/>
                <a:gd name="T65" fmla="*/ 2 h 63"/>
                <a:gd name="T66" fmla="*/ 39 w 95"/>
                <a:gd name="T67" fmla="*/ 0 h 63"/>
                <a:gd name="T68" fmla="*/ 36 w 95"/>
                <a:gd name="T69" fmla="*/ 1 h 63"/>
                <a:gd name="T70" fmla="*/ 34 w 95"/>
                <a:gd name="T71" fmla="*/ 7 h 63"/>
                <a:gd name="T72" fmla="*/ 34 w 95"/>
                <a:gd name="T73" fmla="*/ 16 h 63"/>
                <a:gd name="T74" fmla="*/ 35 w 95"/>
                <a:gd name="T75" fmla="*/ 16 h 63"/>
                <a:gd name="T76" fmla="*/ 36 w 95"/>
                <a:gd name="T77" fmla="*/ 17 h 63"/>
                <a:gd name="T78" fmla="*/ 34 w 95"/>
                <a:gd name="T79" fmla="*/ 16 h 63"/>
                <a:gd name="T80" fmla="*/ 34 w 95"/>
                <a:gd name="T81" fmla="*/ 16 h 63"/>
                <a:gd name="T82" fmla="*/ 22 w 95"/>
                <a:gd name="T83" fmla="*/ 10 h 63"/>
                <a:gd name="T84" fmla="*/ 10 w 95"/>
                <a:gd name="T85" fmla="*/ 4 h 63"/>
                <a:gd name="T86" fmla="*/ 5 w 95"/>
                <a:gd name="T87" fmla="*/ 7 h 63"/>
                <a:gd name="T88" fmla="*/ 1 w 95"/>
                <a:gd name="T89" fmla="*/ 19 h 63"/>
                <a:gd name="T90" fmla="*/ 1 w 95"/>
                <a:gd name="T91" fmla="*/ 24 h 63"/>
                <a:gd name="T92" fmla="*/ 8 w 95"/>
                <a:gd name="T93" fmla="*/ 36 h 63"/>
                <a:gd name="T94" fmla="*/ 68 w 95"/>
                <a:gd name="T95" fmla="*/ 28 h 63"/>
                <a:gd name="T96" fmla="*/ 68 w 95"/>
                <a:gd name="T97" fmla="*/ 29 h 63"/>
                <a:gd name="T98" fmla="*/ 67 w 95"/>
                <a:gd name="T99" fmla="*/ 29 h 63"/>
                <a:gd name="T100" fmla="*/ 67 w 95"/>
                <a:gd name="T101" fmla="*/ 28 h 63"/>
                <a:gd name="T102" fmla="*/ 68 w 95"/>
                <a:gd name="T103" fmla="*/ 28 h 63"/>
                <a:gd name="T104" fmla="*/ 38 w 95"/>
                <a:gd name="T105" fmla="*/ 18 h 63"/>
                <a:gd name="T106" fmla="*/ 38 w 95"/>
                <a:gd name="T107" fmla="*/ 19 h 63"/>
                <a:gd name="T108" fmla="*/ 38 w 95"/>
                <a:gd name="T109" fmla="*/ 19 h 63"/>
                <a:gd name="T110" fmla="*/ 36 w 95"/>
                <a:gd name="T111" fmla="*/ 18 h 63"/>
                <a:gd name="T112" fmla="*/ 38 w 95"/>
                <a:gd name="T113"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 h="63">
                  <a:moveTo>
                    <a:pt x="8" y="36"/>
                  </a:moveTo>
                  <a:cubicBezTo>
                    <a:pt x="10" y="39"/>
                    <a:pt x="14" y="42"/>
                    <a:pt x="14" y="47"/>
                  </a:cubicBezTo>
                  <a:cubicBezTo>
                    <a:pt x="14" y="48"/>
                    <a:pt x="15" y="49"/>
                    <a:pt x="17" y="50"/>
                  </a:cubicBezTo>
                  <a:cubicBezTo>
                    <a:pt x="20" y="52"/>
                    <a:pt x="22" y="53"/>
                    <a:pt x="26" y="54"/>
                  </a:cubicBezTo>
                  <a:cubicBezTo>
                    <a:pt x="29" y="55"/>
                    <a:pt x="33" y="57"/>
                    <a:pt x="35" y="60"/>
                  </a:cubicBezTo>
                  <a:cubicBezTo>
                    <a:pt x="38" y="62"/>
                    <a:pt x="41" y="63"/>
                    <a:pt x="44" y="62"/>
                  </a:cubicBezTo>
                  <a:cubicBezTo>
                    <a:pt x="47" y="62"/>
                    <a:pt x="50" y="63"/>
                    <a:pt x="52" y="62"/>
                  </a:cubicBezTo>
                  <a:cubicBezTo>
                    <a:pt x="54" y="62"/>
                    <a:pt x="55" y="61"/>
                    <a:pt x="56" y="60"/>
                  </a:cubicBezTo>
                  <a:cubicBezTo>
                    <a:pt x="57" y="57"/>
                    <a:pt x="57" y="55"/>
                    <a:pt x="60" y="53"/>
                  </a:cubicBezTo>
                  <a:cubicBezTo>
                    <a:pt x="62" y="52"/>
                    <a:pt x="64" y="49"/>
                    <a:pt x="65" y="47"/>
                  </a:cubicBezTo>
                  <a:cubicBezTo>
                    <a:pt x="68" y="43"/>
                    <a:pt x="72" y="41"/>
                    <a:pt x="78" y="42"/>
                  </a:cubicBezTo>
                  <a:cubicBezTo>
                    <a:pt x="79" y="43"/>
                    <a:pt x="81" y="42"/>
                    <a:pt x="83" y="41"/>
                  </a:cubicBezTo>
                  <a:cubicBezTo>
                    <a:pt x="84" y="41"/>
                    <a:pt x="85" y="39"/>
                    <a:pt x="86" y="38"/>
                  </a:cubicBezTo>
                  <a:cubicBezTo>
                    <a:pt x="87" y="37"/>
                    <a:pt x="87" y="36"/>
                    <a:pt x="87" y="35"/>
                  </a:cubicBezTo>
                  <a:cubicBezTo>
                    <a:pt x="87" y="33"/>
                    <a:pt x="88" y="33"/>
                    <a:pt x="90" y="32"/>
                  </a:cubicBezTo>
                  <a:cubicBezTo>
                    <a:pt x="91" y="31"/>
                    <a:pt x="92" y="30"/>
                    <a:pt x="92" y="30"/>
                  </a:cubicBezTo>
                  <a:cubicBezTo>
                    <a:pt x="93" y="28"/>
                    <a:pt x="94" y="27"/>
                    <a:pt x="94" y="26"/>
                  </a:cubicBezTo>
                  <a:cubicBezTo>
                    <a:pt x="95" y="24"/>
                    <a:pt x="95" y="21"/>
                    <a:pt x="94" y="19"/>
                  </a:cubicBezTo>
                  <a:cubicBezTo>
                    <a:pt x="93" y="17"/>
                    <a:pt x="92" y="15"/>
                    <a:pt x="91" y="12"/>
                  </a:cubicBezTo>
                  <a:cubicBezTo>
                    <a:pt x="93" y="7"/>
                    <a:pt x="90" y="6"/>
                    <a:pt x="85" y="5"/>
                  </a:cubicBezTo>
                  <a:cubicBezTo>
                    <a:pt x="78" y="4"/>
                    <a:pt x="71" y="2"/>
                    <a:pt x="65" y="1"/>
                  </a:cubicBezTo>
                  <a:cubicBezTo>
                    <a:pt x="64" y="1"/>
                    <a:pt x="63" y="1"/>
                    <a:pt x="63" y="1"/>
                  </a:cubicBezTo>
                  <a:cubicBezTo>
                    <a:pt x="62" y="2"/>
                    <a:pt x="60" y="2"/>
                    <a:pt x="59" y="3"/>
                  </a:cubicBezTo>
                  <a:cubicBezTo>
                    <a:pt x="58" y="4"/>
                    <a:pt x="59" y="5"/>
                    <a:pt x="59" y="6"/>
                  </a:cubicBezTo>
                  <a:cubicBezTo>
                    <a:pt x="62" y="11"/>
                    <a:pt x="64" y="15"/>
                    <a:pt x="63" y="21"/>
                  </a:cubicBezTo>
                  <a:cubicBezTo>
                    <a:pt x="63" y="22"/>
                    <a:pt x="64" y="23"/>
                    <a:pt x="64" y="25"/>
                  </a:cubicBezTo>
                  <a:cubicBezTo>
                    <a:pt x="64" y="25"/>
                    <a:pt x="64" y="25"/>
                    <a:pt x="65" y="25"/>
                  </a:cubicBezTo>
                  <a:cubicBezTo>
                    <a:pt x="65" y="25"/>
                    <a:pt x="65" y="26"/>
                    <a:pt x="65" y="26"/>
                  </a:cubicBezTo>
                  <a:cubicBezTo>
                    <a:pt x="65" y="26"/>
                    <a:pt x="65" y="26"/>
                    <a:pt x="64" y="25"/>
                  </a:cubicBezTo>
                  <a:cubicBezTo>
                    <a:pt x="64" y="25"/>
                    <a:pt x="64" y="25"/>
                    <a:pt x="64" y="25"/>
                  </a:cubicBezTo>
                  <a:cubicBezTo>
                    <a:pt x="63" y="24"/>
                    <a:pt x="62" y="24"/>
                    <a:pt x="62" y="23"/>
                  </a:cubicBezTo>
                  <a:cubicBezTo>
                    <a:pt x="59" y="18"/>
                    <a:pt x="55" y="14"/>
                    <a:pt x="55" y="8"/>
                  </a:cubicBezTo>
                  <a:cubicBezTo>
                    <a:pt x="55" y="4"/>
                    <a:pt x="52" y="2"/>
                    <a:pt x="49" y="2"/>
                  </a:cubicBezTo>
                  <a:cubicBezTo>
                    <a:pt x="46" y="1"/>
                    <a:pt x="42" y="0"/>
                    <a:pt x="39" y="0"/>
                  </a:cubicBezTo>
                  <a:cubicBezTo>
                    <a:pt x="38" y="0"/>
                    <a:pt x="37" y="0"/>
                    <a:pt x="36" y="1"/>
                  </a:cubicBezTo>
                  <a:cubicBezTo>
                    <a:pt x="35" y="3"/>
                    <a:pt x="34" y="5"/>
                    <a:pt x="34" y="7"/>
                  </a:cubicBezTo>
                  <a:cubicBezTo>
                    <a:pt x="34" y="10"/>
                    <a:pt x="34" y="13"/>
                    <a:pt x="34" y="16"/>
                  </a:cubicBezTo>
                  <a:cubicBezTo>
                    <a:pt x="34" y="16"/>
                    <a:pt x="35" y="16"/>
                    <a:pt x="35" y="16"/>
                  </a:cubicBezTo>
                  <a:cubicBezTo>
                    <a:pt x="35" y="16"/>
                    <a:pt x="36" y="17"/>
                    <a:pt x="36" y="17"/>
                  </a:cubicBezTo>
                  <a:cubicBezTo>
                    <a:pt x="36" y="17"/>
                    <a:pt x="35" y="17"/>
                    <a:pt x="34" y="16"/>
                  </a:cubicBezTo>
                  <a:cubicBezTo>
                    <a:pt x="34" y="16"/>
                    <a:pt x="34" y="16"/>
                    <a:pt x="34" y="16"/>
                  </a:cubicBezTo>
                  <a:cubicBezTo>
                    <a:pt x="30" y="14"/>
                    <a:pt x="25" y="14"/>
                    <a:pt x="22" y="10"/>
                  </a:cubicBezTo>
                  <a:cubicBezTo>
                    <a:pt x="19" y="7"/>
                    <a:pt x="14" y="6"/>
                    <a:pt x="10" y="4"/>
                  </a:cubicBezTo>
                  <a:cubicBezTo>
                    <a:pt x="8" y="4"/>
                    <a:pt x="6" y="5"/>
                    <a:pt x="5" y="7"/>
                  </a:cubicBezTo>
                  <a:cubicBezTo>
                    <a:pt x="3" y="11"/>
                    <a:pt x="2" y="15"/>
                    <a:pt x="1" y="19"/>
                  </a:cubicBezTo>
                  <a:cubicBezTo>
                    <a:pt x="0" y="21"/>
                    <a:pt x="0" y="22"/>
                    <a:pt x="1" y="24"/>
                  </a:cubicBezTo>
                  <a:cubicBezTo>
                    <a:pt x="3" y="28"/>
                    <a:pt x="5" y="32"/>
                    <a:pt x="8" y="36"/>
                  </a:cubicBezTo>
                  <a:close/>
                  <a:moveTo>
                    <a:pt x="68" y="28"/>
                  </a:moveTo>
                  <a:cubicBezTo>
                    <a:pt x="68" y="29"/>
                    <a:pt x="68" y="29"/>
                    <a:pt x="68" y="29"/>
                  </a:cubicBezTo>
                  <a:cubicBezTo>
                    <a:pt x="67" y="29"/>
                    <a:pt x="67" y="29"/>
                    <a:pt x="67" y="29"/>
                  </a:cubicBezTo>
                  <a:cubicBezTo>
                    <a:pt x="67" y="28"/>
                    <a:pt x="67" y="28"/>
                    <a:pt x="67" y="28"/>
                  </a:cubicBezTo>
                  <a:cubicBezTo>
                    <a:pt x="67" y="28"/>
                    <a:pt x="67" y="28"/>
                    <a:pt x="68" y="28"/>
                  </a:cubicBezTo>
                  <a:close/>
                  <a:moveTo>
                    <a:pt x="38" y="18"/>
                  </a:moveTo>
                  <a:cubicBezTo>
                    <a:pt x="38" y="19"/>
                    <a:pt x="38" y="19"/>
                    <a:pt x="38" y="19"/>
                  </a:cubicBezTo>
                  <a:cubicBezTo>
                    <a:pt x="38" y="19"/>
                    <a:pt x="38" y="19"/>
                    <a:pt x="38" y="19"/>
                  </a:cubicBezTo>
                  <a:cubicBezTo>
                    <a:pt x="37" y="18"/>
                    <a:pt x="37" y="18"/>
                    <a:pt x="36" y="18"/>
                  </a:cubicBezTo>
                  <a:cubicBezTo>
                    <a:pt x="37" y="18"/>
                    <a:pt x="37" y="18"/>
                    <a:pt x="38" y="1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142"/>
            <p:cNvSpPr>
              <a:spLocks noEditPoints="1"/>
            </p:cNvSpPr>
            <p:nvPr/>
          </p:nvSpPr>
          <p:spPr bwMode="auto">
            <a:xfrm>
              <a:off x="5073998" y="4610813"/>
              <a:ext cx="192042" cy="210159"/>
            </a:xfrm>
            <a:custGeom>
              <a:avLst/>
              <a:gdLst>
                <a:gd name="T0" fmla="*/ 64 w 90"/>
                <a:gd name="T1" fmla="*/ 19 h 98"/>
                <a:gd name="T2" fmla="*/ 89 w 90"/>
                <a:gd name="T3" fmla="*/ 2 h 98"/>
                <a:gd name="T4" fmla="*/ 78 w 90"/>
                <a:gd name="T5" fmla="*/ 6 h 98"/>
                <a:gd name="T6" fmla="*/ 46 w 90"/>
                <a:gd name="T7" fmla="*/ 8 h 98"/>
                <a:gd name="T8" fmla="*/ 21 w 90"/>
                <a:gd name="T9" fmla="*/ 12 h 98"/>
                <a:gd name="T10" fmla="*/ 14 w 90"/>
                <a:gd name="T11" fmla="*/ 20 h 98"/>
                <a:gd name="T12" fmla="*/ 11 w 90"/>
                <a:gd name="T13" fmla="*/ 32 h 98"/>
                <a:gd name="T14" fmla="*/ 4 w 90"/>
                <a:gd name="T15" fmla="*/ 54 h 98"/>
                <a:gd name="T16" fmla="*/ 3 w 90"/>
                <a:gd name="T17" fmla="*/ 69 h 98"/>
                <a:gd name="T18" fmla="*/ 10 w 90"/>
                <a:gd name="T19" fmla="*/ 81 h 98"/>
                <a:gd name="T20" fmla="*/ 10 w 90"/>
                <a:gd name="T21" fmla="*/ 95 h 98"/>
                <a:gd name="T22" fmla="*/ 22 w 90"/>
                <a:gd name="T23" fmla="*/ 91 h 98"/>
                <a:gd name="T24" fmla="*/ 28 w 90"/>
                <a:gd name="T25" fmla="*/ 61 h 98"/>
                <a:gd name="T26" fmla="*/ 35 w 90"/>
                <a:gd name="T27" fmla="*/ 77 h 98"/>
                <a:gd name="T28" fmla="*/ 44 w 90"/>
                <a:gd name="T29" fmla="*/ 87 h 98"/>
                <a:gd name="T30" fmla="*/ 47 w 90"/>
                <a:gd name="T31" fmla="*/ 87 h 98"/>
                <a:gd name="T32" fmla="*/ 47 w 90"/>
                <a:gd name="T33" fmla="*/ 87 h 98"/>
                <a:gd name="T34" fmla="*/ 52 w 90"/>
                <a:gd name="T35" fmla="*/ 94 h 98"/>
                <a:gd name="T36" fmla="*/ 60 w 90"/>
                <a:gd name="T37" fmla="*/ 92 h 98"/>
                <a:gd name="T38" fmla="*/ 57 w 90"/>
                <a:gd name="T39" fmla="*/ 75 h 98"/>
                <a:gd name="T40" fmla="*/ 50 w 90"/>
                <a:gd name="T41" fmla="*/ 67 h 98"/>
                <a:gd name="T42" fmla="*/ 43 w 90"/>
                <a:gd name="T43" fmla="*/ 53 h 98"/>
                <a:gd name="T44" fmla="*/ 52 w 90"/>
                <a:gd name="T45" fmla="*/ 43 h 98"/>
                <a:gd name="T46" fmla="*/ 63 w 90"/>
                <a:gd name="T47" fmla="*/ 43 h 98"/>
                <a:gd name="T48" fmla="*/ 66 w 90"/>
                <a:gd name="T49" fmla="*/ 32 h 98"/>
                <a:gd name="T50" fmla="*/ 58 w 90"/>
                <a:gd name="T51" fmla="*/ 30 h 98"/>
                <a:gd name="T52" fmla="*/ 32 w 90"/>
                <a:gd name="T53" fmla="*/ 38 h 98"/>
                <a:gd name="T54" fmla="*/ 20 w 90"/>
                <a:gd name="T55" fmla="*/ 28 h 98"/>
                <a:gd name="T56" fmla="*/ 51 w 90"/>
                <a:gd name="T57" fmla="*/ 83 h 98"/>
                <a:gd name="T58" fmla="*/ 55 w 90"/>
                <a:gd name="T59" fmla="*/ 82 h 98"/>
                <a:gd name="T60" fmla="*/ 55 w 90"/>
                <a:gd name="T61" fmla="*/ 85 h 98"/>
                <a:gd name="T62" fmla="*/ 51 w 90"/>
                <a:gd name="T63" fmla="*/ 84 h 98"/>
                <a:gd name="T64" fmla="*/ 51 w 90"/>
                <a:gd name="T65"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8">
                  <a:moveTo>
                    <a:pt x="28" y="18"/>
                  </a:moveTo>
                  <a:cubicBezTo>
                    <a:pt x="40" y="17"/>
                    <a:pt x="52" y="17"/>
                    <a:pt x="64" y="19"/>
                  </a:cubicBezTo>
                  <a:cubicBezTo>
                    <a:pt x="75" y="20"/>
                    <a:pt x="84" y="16"/>
                    <a:pt x="90" y="6"/>
                  </a:cubicBezTo>
                  <a:cubicBezTo>
                    <a:pt x="90" y="5"/>
                    <a:pt x="90" y="3"/>
                    <a:pt x="89" y="2"/>
                  </a:cubicBezTo>
                  <a:cubicBezTo>
                    <a:pt x="88" y="1"/>
                    <a:pt x="85" y="0"/>
                    <a:pt x="84" y="1"/>
                  </a:cubicBezTo>
                  <a:cubicBezTo>
                    <a:pt x="82" y="3"/>
                    <a:pt x="80" y="5"/>
                    <a:pt x="78" y="6"/>
                  </a:cubicBezTo>
                  <a:cubicBezTo>
                    <a:pt x="75" y="9"/>
                    <a:pt x="71" y="11"/>
                    <a:pt x="66" y="10"/>
                  </a:cubicBezTo>
                  <a:cubicBezTo>
                    <a:pt x="60" y="9"/>
                    <a:pt x="53" y="9"/>
                    <a:pt x="46" y="8"/>
                  </a:cubicBezTo>
                  <a:cubicBezTo>
                    <a:pt x="42" y="7"/>
                    <a:pt x="38" y="5"/>
                    <a:pt x="33" y="5"/>
                  </a:cubicBezTo>
                  <a:cubicBezTo>
                    <a:pt x="28" y="5"/>
                    <a:pt x="26" y="12"/>
                    <a:pt x="21" y="12"/>
                  </a:cubicBezTo>
                  <a:cubicBezTo>
                    <a:pt x="20" y="12"/>
                    <a:pt x="20" y="12"/>
                    <a:pt x="19" y="12"/>
                  </a:cubicBezTo>
                  <a:cubicBezTo>
                    <a:pt x="16" y="14"/>
                    <a:pt x="14" y="16"/>
                    <a:pt x="14" y="20"/>
                  </a:cubicBezTo>
                  <a:cubicBezTo>
                    <a:pt x="13" y="22"/>
                    <a:pt x="14" y="24"/>
                    <a:pt x="13" y="26"/>
                  </a:cubicBezTo>
                  <a:cubicBezTo>
                    <a:pt x="13" y="28"/>
                    <a:pt x="12" y="30"/>
                    <a:pt x="11" y="32"/>
                  </a:cubicBezTo>
                  <a:cubicBezTo>
                    <a:pt x="8" y="35"/>
                    <a:pt x="7" y="39"/>
                    <a:pt x="7" y="43"/>
                  </a:cubicBezTo>
                  <a:cubicBezTo>
                    <a:pt x="7" y="47"/>
                    <a:pt x="5" y="50"/>
                    <a:pt x="4" y="54"/>
                  </a:cubicBezTo>
                  <a:cubicBezTo>
                    <a:pt x="3" y="56"/>
                    <a:pt x="1" y="58"/>
                    <a:pt x="1" y="61"/>
                  </a:cubicBezTo>
                  <a:cubicBezTo>
                    <a:pt x="0" y="64"/>
                    <a:pt x="0" y="67"/>
                    <a:pt x="3" y="69"/>
                  </a:cubicBezTo>
                  <a:cubicBezTo>
                    <a:pt x="4" y="70"/>
                    <a:pt x="6" y="71"/>
                    <a:pt x="7" y="72"/>
                  </a:cubicBezTo>
                  <a:cubicBezTo>
                    <a:pt x="10" y="74"/>
                    <a:pt x="11" y="77"/>
                    <a:pt x="10" y="81"/>
                  </a:cubicBezTo>
                  <a:cubicBezTo>
                    <a:pt x="9" y="84"/>
                    <a:pt x="7" y="88"/>
                    <a:pt x="8" y="91"/>
                  </a:cubicBezTo>
                  <a:cubicBezTo>
                    <a:pt x="8" y="93"/>
                    <a:pt x="9" y="94"/>
                    <a:pt x="10" y="95"/>
                  </a:cubicBezTo>
                  <a:cubicBezTo>
                    <a:pt x="13" y="98"/>
                    <a:pt x="17" y="97"/>
                    <a:pt x="21" y="96"/>
                  </a:cubicBezTo>
                  <a:cubicBezTo>
                    <a:pt x="23" y="95"/>
                    <a:pt x="22" y="93"/>
                    <a:pt x="22" y="91"/>
                  </a:cubicBezTo>
                  <a:cubicBezTo>
                    <a:pt x="22" y="81"/>
                    <a:pt x="24" y="72"/>
                    <a:pt x="25" y="63"/>
                  </a:cubicBezTo>
                  <a:cubicBezTo>
                    <a:pt x="25" y="62"/>
                    <a:pt x="27" y="61"/>
                    <a:pt x="28" y="61"/>
                  </a:cubicBezTo>
                  <a:cubicBezTo>
                    <a:pt x="29" y="61"/>
                    <a:pt x="30" y="62"/>
                    <a:pt x="30" y="63"/>
                  </a:cubicBezTo>
                  <a:cubicBezTo>
                    <a:pt x="30" y="68"/>
                    <a:pt x="30" y="73"/>
                    <a:pt x="35" y="77"/>
                  </a:cubicBezTo>
                  <a:cubicBezTo>
                    <a:pt x="36" y="78"/>
                    <a:pt x="36" y="81"/>
                    <a:pt x="37" y="83"/>
                  </a:cubicBezTo>
                  <a:cubicBezTo>
                    <a:pt x="38" y="86"/>
                    <a:pt x="39" y="87"/>
                    <a:pt x="44" y="87"/>
                  </a:cubicBezTo>
                  <a:cubicBezTo>
                    <a:pt x="45" y="87"/>
                    <a:pt x="46" y="87"/>
                    <a:pt x="47" y="87"/>
                  </a:cubicBezTo>
                  <a:cubicBezTo>
                    <a:pt x="47" y="87"/>
                    <a:pt x="47" y="87"/>
                    <a:pt x="47" y="87"/>
                  </a:cubicBezTo>
                  <a:cubicBezTo>
                    <a:pt x="47" y="87"/>
                    <a:pt x="48" y="86"/>
                    <a:pt x="48" y="86"/>
                  </a:cubicBezTo>
                  <a:cubicBezTo>
                    <a:pt x="48" y="86"/>
                    <a:pt x="48" y="87"/>
                    <a:pt x="47" y="87"/>
                  </a:cubicBezTo>
                  <a:cubicBezTo>
                    <a:pt x="47" y="87"/>
                    <a:pt x="47" y="87"/>
                    <a:pt x="47" y="87"/>
                  </a:cubicBezTo>
                  <a:cubicBezTo>
                    <a:pt x="48" y="90"/>
                    <a:pt x="48" y="93"/>
                    <a:pt x="52" y="94"/>
                  </a:cubicBezTo>
                  <a:cubicBezTo>
                    <a:pt x="53" y="94"/>
                    <a:pt x="53" y="95"/>
                    <a:pt x="53" y="95"/>
                  </a:cubicBezTo>
                  <a:cubicBezTo>
                    <a:pt x="56" y="96"/>
                    <a:pt x="60" y="95"/>
                    <a:pt x="60" y="92"/>
                  </a:cubicBezTo>
                  <a:cubicBezTo>
                    <a:pt x="61" y="88"/>
                    <a:pt x="61" y="84"/>
                    <a:pt x="61" y="80"/>
                  </a:cubicBezTo>
                  <a:cubicBezTo>
                    <a:pt x="60" y="78"/>
                    <a:pt x="59" y="76"/>
                    <a:pt x="57" y="75"/>
                  </a:cubicBezTo>
                  <a:cubicBezTo>
                    <a:pt x="56" y="74"/>
                    <a:pt x="54" y="74"/>
                    <a:pt x="53" y="73"/>
                  </a:cubicBezTo>
                  <a:cubicBezTo>
                    <a:pt x="51" y="71"/>
                    <a:pt x="50" y="70"/>
                    <a:pt x="50" y="67"/>
                  </a:cubicBezTo>
                  <a:cubicBezTo>
                    <a:pt x="51" y="65"/>
                    <a:pt x="50" y="62"/>
                    <a:pt x="49" y="60"/>
                  </a:cubicBezTo>
                  <a:cubicBezTo>
                    <a:pt x="47" y="58"/>
                    <a:pt x="45" y="55"/>
                    <a:pt x="43" y="53"/>
                  </a:cubicBezTo>
                  <a:cubicBezTo>
                    <a:pt x="42" y="51"/>
                    <a:pt x="42" y="49"/>
                    <a:pt x="44" y="48"/>
                  </a:cubicBezTo>
                  <a:cubicBezTo>
                    <a:pt x="46" y="47"/>
                    <a:pt x="49" y="45"/>
                    <a:pt x="52" y="43"/>
                  </a:cubicBezTo>
                  <a:cubicBezTo>
                    <a:pt x="54" y="42"/>
                    <a:pt x="56" y="42"/>
                    <a:pt x="58" y="43"/>
                  </a:cubicBezTo>
                  <a:cubicBezTo>
                    <a:pt x="60" y="43"/>
                    <a:pt x="62" y="43"/>
                    <a:pt x="63" y="43"/>
                  </a:cubicBezTo>
                  <a:cubicBezTo>
                    <a:pt x="64" y="43"/>
                    <a:pt x="66" y="42"/>
                    <a:pt x="66" y="42"/>
                  </a:cubicBezTo>
                  <a:cubicBezTo>
                    <a:pt x="66" y="39"/>
                    <a:pt x="66" y="35"/>
                    <a:pt x="66" y="32"/>
                  </a:cubicBezTo>
                  <a:cubicBezTo>
                    <a:pt x="66" y="32"/>
                    <a:pt x="65" y="30"/>
                    <a:pt x="64" y="30"/>
                  </a:cubicBezTo>
                  <a:cubicBezTo>
                    <a:pt x="62" y="30"/>
                    <a:pt x="60" y="30"/>
                    <a:pt x="58" y="30"/>
                  </a:cubicBezTo>
                  <a:cubicBezTo>
                    <a:pt x="54" y="31"/>
                    <a:pt x="49" y="33"/>
                    <a:pt x="45" y="33"/>
                  </a:cubicBezTo>
                  <a:cubicBezTo>
                    <a:pt x="40" y="33"/>
                    <a:pt x="35" y="34"/>
                    <a:pt x="32" y="38"/>
                  </a:cubicBezTo>
                  <a:cubicBezTo>
                    <a:pt x="32" y="39"/>
                    <a:pt x="30" y="39"/>
                    <a:pt x="29" y="38"/>
                  </a:cubicBezTo>
                  <a:cubicBezTo>
                    <a:pt x="24" y="36"/>
                    <a:pt x="21" y="33"/>
                    <a:pt x="20" y="28"/>
                  </a:cubicBezTo>
                  <a:cubicBezTo>
                    <a:pt x="19" y="24"/>
                    <a:pt x="23" y="19"/>
                    <a:pt x="28" y="18"/>
                  </a:cubicBezTo>
                  <a:close/>
                  <a:moveTo>
                    <a:pt x="51" y="83"/>
                  </a:moveTo>
                  <a:cubicBezTo>
                    <a:pt x="51" y="83"/>
                    <a:pt x="51" y="83"/>
                    <a:pt x="51" y="84"/>
                  </a:cubicBezTo>
                  <a:cubicBezTo>
                    <a:pt x="52" y="82"/>
                    <a:pt x="53" y="82"/>
                    <a:pt x="55" y="82"/>
                  </a:cubicBezTo>
                  <a:cubicBezTo>
                    <a:pt x="56" y="82"/>
                    <a:pt x="56" y="83"/>
                    <a:pt x="56" y="84"/>
                  </a:cubicBezTo>
                  <a:cubicBezTo>
                    <a:pt x="56" y="84"/>
                    <a:pt x="55" y="85"/>
                    <a:pt x="55" y="85"/>
                  </a:cubicBezTo>
                  <a:cubicBezTo>
                    <a:pt x="54" y="84"/>
                    <a:pt x="52" y="84"/>
                    <a:pt x="51" y="84"/>
                  </a:cubicBezTo>
                  <a:cubicBezTo>
                    <a:pt x="51" y="84"/>
                    <a:pt x="51" y="84"/>
                    <a:pt x="51" y="84"/>
                  </a:cubicBezTo>
                  <a:cubicBezTo>
                    <a:pt x="51" y="84"/>
                    <a:pt x="50" y="84"/>
                    <a:pt x="50" y="84"/>
                  </a:cubicBezTo>
                  <a:cubicBezTo>
                    <a:pt x="50" y="84"/>
                    <a:pt x="51" y="84"/>
                    <a:pt x="51" y="8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143"/>
            <p:cNvSpPr>
              <a:spLocks/>
            </p:cNvSpPr>
            <p:nvPr/>
          </p:nvSpPr>
          <p:spPr bwMode="auto">
            <a:xfrm>
              <a:off x="1910741" y="1545388"/>
              <a:ext cx="177548" cy="111421"/>
            </a:xfrm>
            <a:custGeom>
              <a:avLst/>
              <a:gdLst>
                <a:gd name="T0" fmla="*/ 2 w 83"/>
                <a:gd name="T1" fmla="*/ 22 h 52"/>
                <a:gd name="T2" fmla="*/ 14 w 83"/>
                <a:gd name="T3" fmla="*/ 32 h 52"/>
                <a:gd name="T4" fmla="*/ 22 w 83"/>
                <a:gd name="T5" fmla="*/ 31 h 52"/>
                <a:gd name="T6" fmla="*/ 22 w 83"/>
                <a:gd name="T7" fmla="*/ 30 h 52"/>
                <a:gd name="T8" fmla="*/ 23 w 83"/>
                <a:gd name="T9" fmla="*/ 30 h 52"/>
                <a:gd name="T10" fmla="*/ 27 w 83"/>
                <a:gd name="T11" fmla="*/ 29 h 52"/>
                <a:gd name="T12" fmla="*/ 28 w 83"/>
                <a:gd name="T13" fmla="*/ 29 h 52"/>
                <a:gd name="T14" fmla="*/ 27 w 83"/>
                <a:gd name="T15" fmla="*/ 30 h 52"/>
                <a:gd name="T16" fmla="*/ 23 w 83"/>
                <a:gd name="T17" fmla="*/ 30 h 52"/>
                <a:gd name="T18" fmla="*/ 22 w 83"/>
                <a:gd name="T19" fmla="*/ 31 h 52"/>
                <a:gd name="T20" fmla="*/ 22 w 83"/>
                <a:gd name="T21" fmla="*/ 31 h 52"/>
                <a:gd name="T22" fmla="*/ 19 w 83"/>
                <a:gd name="T23" fmla="*/ 34 h 52"/>
                <a:gd name="T24" fmla="*/ 19 w 83"/>
                <a:gd name="T25" fmla="*/ 39 h 52"/>
                <a:gd name="T26" fmla="*/ 27 w 83"/>
                <a:gd name="T27" fmla="*/ 43 h 52"/>
                <a:gd name="T28" fmla="*/ 36 w 83"/>
                <a:gd name="T29" fmla="*/ 45 h 52"/>
                <a:gd name="T30" fmla="*/ 47 w 83"/>
                <a:gd name="T31" fmla="*/ 48 h 52"/>
                <a:gd name="T32" fmla="*/ 58 w 83"/>
                <a:gd name="T33" fmla="*/ 47 h 52"/>
                <a:gd name="T34" fmla="*/ 63 w 83"/>
                <a:gd name="T35" fmla="*/ 44 h 52"/>
                <a:gd name="T36" fmla="*/ 73 w 83"/>
                <a:gd name="T37" fmla="*/ 36 h 52"/>
                <a:gd name="T38" fmla="*/ 78 w 83"/>
                <a:gd name="T39" fmla="*/ 28 h 52"/>
                <a:gd name="T40" fmla="*/ 82 w 83"/>
                <a:gd name="T41" fmla="*/ 12 h 52"/>
                <a:gd name="T42" fmla="*/ 74 w 83"/>
                <a:gd name="T43" fmla="*/ 9 h 52"/>
                <a:gd name="T44" fmla="*/ 56 w 83"/>
                <a:gd name="T45" fmla="*/ 4 h 52"/>
                <a:gd name="T46" fmla="*/ 49 w 83"/>
                <a:gd name="T47" fmla="*/ 6 h 52"/>
                <a:gd name="T48" fmla="*/ 45 w 83"/>
                <a:gd name="T49" fmla="*/ 5 h 52"/>
                <a:gd name="T50" fmla="*/ 43 w 83"/>
                <a:gd name="T51" fmla="*/ 2 h 52"/>
                <a:gd name="T52" fmla="*/ 39 w 83"/>
                <a:gd name="T53" fmla="*/ 0 h 52"/>
                <a:gd name="T54" fmla="*/ 37 w 83"/>
                <a:gd name="T55" fmla="*/ 2 h 52"/>
                <a:gd name="T56" fmla="*/ 36 w 83"/>
                <a:gd name="T57" fmla="*/ 7 h 52"/>
                <a:gd name="T58" fmla="*/ 35 w 83"/>
                <a:gd name="T59" fmla="*/ 11 h 52"/>
                <a:gd name="T60" fmla="*/ 31 w 83"/>
                <a:gd name="T61" fmla="*/ 10 h 52"/>
                <a:gd name="T62" fmla="*/ 30 w 83"/>
                <a:gd name="T63" fmla="*/ 9 h 52"/>
                <a:gd name="T64" fmla="*/ 17 w 83"/>
                <a:gd name="T65" fmla="*/ 3 h 52"/>
                <a:gd name="T66" fmla="*/ 15 w 83"/>
                <a:gd name="T67" fmla="*/ 1 h 52"/>
                <a:gd name="T68" fmla="*/ 10 w 83"/>
                <a:gd name="T69" fmla="*/ 4 h 52"/>
                <a:gd name="T70" fmla="*/ 10 w 83"/>
                <a:gd name="T71" fmla="*/ 7 h 52"/>
                <a:gd name="T72" fmla="*/ 9 w 83"/>
                <a:gd name="T73" fmla="*/ 9 h 52"/>
                <a:gd name="T74" fmla="*/ 6 w 83"/>
                <a:gd name="T75" fmla="*/ 8 h 52"/>
                <a:gd name="T76" fmla="*/ 3 w 83"/>
                <a:gd name="T77" fmla="*/ 8 h 52"/>
                <a:gd name="T78" fmla="*/ 1 w 83"/>
                <a:gd name="T79" fmla="*/ 16 h 52"/>
                <a:gd name="T80" fmla="*/ 2 w 83"/>
                <a:gd name="T81"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 h="52">
                  <a:moveTo>
                    <a:pt x="2" y="22"/>
                  </a:moveTo>
                  <a:cubicBezTo>
                    <a:pt x="4" y="29"/>
                    <a:pt x="6" y="31"/>
                    <a:pt x="14" y="32"/>
                  </a:cubicBezTo>
                  <a:cubicBezTo>
                    <a:pt x="17" y="32"/>
                    <a:pt x="19" y="31"/>
                    <a:pt x="22" y="31"/>
                  </a:cubicBezTo>
                  <a:cubicBezTo>
                    <a:pt x="22" y="31"/>
                    <a:pt x="22" y="30"/>
                    <a:pt x="22" y="30"/>
                  </a:cubicBezTo>
                  <a:cubicBezTo>
                    <a:pt x="23" y="30"/>
                    <a:pt x="23" y="30"/>
                    <a:pt x="23" y="30"/>
                  </a:cubicBezTo>
                  <a:cubicBezTo>
                    <a:pt x="25" y="30"/>
                    <a:pt x="26" y="29"/>
                    <a:pt x="27" y="29"/>
                  </a:cubicBezTo>
                  <a:cubicBezTo>
                    <a:pt x="27" y="29"/>
                    <a:pt x="28" y="29"/>
                    <a:pt x="28" y="29"/>
                  </a:cubicBezTo>
                  <a:cubicBezTo>
                    <a:pt x="29" y="30"/>
                    <a:pt x="28" y="30"/>
                    <a:pt x="27" y="30"/>
                  </a:cubicBezTo>
                  <a:cubicBezTo>
                    <a:pt x="26" y="30"/>
                    <a:pt x="25" y="30"/>
                    <a:pt x="23" y="30"/>
                  </a:cubicBezTo>
                  <a:cubicBezTo>
                    <a:pt x="23" y="30"/>
                    <a:pt x="23" y="31"/>
                    <a:pt x="22" y="31"/>
                  </a:cubicBezTo>
                  <a:cubicBezTo>
                    <a:pt x="22" y="31"/>
                    <a:pt x="22" y="31"/>
                    <a:pt x="22" y="31"/>
                  </a:cubicBezTo>
                  <a:cubicBezTo>
                    <a:pt x="21" y="32"/>
                    <a:pt x="20" y="33"/>
                    <a:pt x="19" y="34"/>
                  </a:cubicBezTo>
                  <a:cubicBezTo>
                    <a:pt x="17" y="35"/>
                    <a:pt x="17" y="37"/>
                    <a:pt x="19" y="39"/>
                  </a:cubicBezTo>
                  <a:cubicBezTo>
                    <a:pt x="22" y="40"/>
                    <a:pt x="25" y="41"/>
                    <a:pt x="27" y="43"/>
                  </a:cubicBezTo>
                  <a:cubicBezTo>
                    <a:pt x="30" y="45"/>
                    <a:pt x="33" y="46"/>
                    <a:pt x="36" y="45"/>
                  </a:cubicBezTo>
                  <a:cubicBezTo>
                    <a:pt x="40" y="44"/>
                    <a:pt x="43" y="44"/>
                    <a:pt x="47" y="48"/>
                  </a:cubicBezTo>
                  <a:cubicBezTo>
                    <a:pt x="50" y="52"/>
                    <a:pt x="53" y="51"/>
                    <a:pt x="58" y="47"/>
                  </a:cubicBezTo>
                  <a:cubicBezTo>
                    <a:pt x="59" y="46"/>
                    <a:pt x="61" y="44"/>
                    <a:pt x="63" y="44"/>
                  </a:cubicBezTo>
                  <a:cubicBezTo>
                    <a:pt x="69" y="44"/>
                    <a:pt x="72" y="42"/>
                    <a:pt x="73" y="36"/>
                  </a:cubicBezTo>
                  <a:cubicBezTo>
                    <a:pt x="74" y="33"/>
                    <a:pt x="76" y="31"/>
                    <a:pt x="78" y="28"/>
                  </a:cubicBezTo>
                  <a:cubicBezTo>
                    <a:pt x="82" y="23"/>
                    <a:pt x="83" y="18"/>
                    <a:pt x="82" y="12"/>
                  </a:cubicBezTo>
                  <a:cubicBezTo>
                    <a:pt x="79" y="11"/>
                    <a:pt x="77" y="9"/>
                    <a:pt x="74" y="9"/>
                  </a:cubicBezTo>
                  <a:cubicBezTo>
                    <a:pt x="67" y="8"/>
                    <a:pt x="62" y="7"/>
                    <a:pt x="56" y="4"/>
                  </a:cubicBezTo>
                  <a:cubicBezTo>
                    <a:pt x="53" y="3"/>
                    <a:pt x="51" y="4"/>
                    <a:pt x="49" y="6"/>
                  </a:cubicBezTo>
                  <a:cubicBezTo>
                    <a:pt x="46" y="8"/>
                    <a:pt x="46" y="8"/>
                    <a:pt x="45" y="5"/>
                  </a:cubicBezTo>
                  <a:cubicBezTo>
                    <a:pt x="44" y="4"/>
                    <a:pt x="44" y="3"/>
                    <a:pt x="43" y="2"/>
                  </a:cubicBezTo>
                  <a:cubicBezTo>
                    <a:pt x="43" y="0"/>
                    <a:pt x="41" y="0"/>
                    <a:pt x="39" y="0"/>
                  </a:cubicBezTo>
                  <a:cubicBezTo>
                    <a:pt x="38" y="1"/>
                    <a:pt x="37" y="1"/>
                    <a:pt x="37" y="2"/>
                  </a:cubicBezTo>
                  <a:cubicBezTo>
                    <a:pt x="36" y="4"/>
                    <a:pt x="37" y="5"/>
                    <a:pt x="36" y="7"/>
                  </a:cubicBezTo>
                  <a:cubicBezTo>
                    <a:pt x="36" y="8"/>
                    <a:pt x="36" y="10"/>
                    <a:pt x="35" y="11"/>
                  </a:cubicBezTo>
                  <a:cubicBezTo>
                    <a:pt x="34" y="12"/>
                    <a:pt x="33" y="10"/>
                    <a:pt x="31" y="10"/>
                  </a:cubicBezTo>
                  <a:cubicBezTo>
                    <a:pt x="31" y="9"/>
                    <a:pt x="30" y="9"/>
                    <a:pt x="30" y="9"/>
                  </a:cubicBezTo>
                  <a:cubicBezTo>
                    <a:pt x="24" y="9"/>
                    <a:pt x="21" y="7"/>
                    <a:pt x="17" y="3"/>
                  </a:cubicBezTo>
                  <a:cubicBezTo>
                    <a:pt x="17" y="2"/>
                    <a:pt x="16" y="2"/>
                    <a:pt x="15" y="1"/>
                  </a:cubicBezTo>
                  <a:cubicBezTo>
                    <a:pt x="13" y="0"/>
                    <a:pt x="11" y="1"/>
                    <a:pt x="10" y="4"/>
                  </a:cubicBezTo>
                  <a:cubicBezTo>
                    <a:pt x="10" y="5"/>
                    <a:pt x="11" y="6"/>
                    <a:pt x="10" y="7"/>
                  </a:cubicBezTo>
                  <a:cubicBezTo>
                    <a:pt x="10" y="8"/>
                    <a:pt x="10" y="9"/>
                    <a:pt x="9" y="9"/>
                  </a:cubicBezTo>
                  <a:cubicBezTo>
                    <a:pt x="8" y="9"/>
                    <a:pt x="7" y="8"/>
                    <a:pt x="6" y="8"/>
                  </a:cubicBezTo>
                  <a:cubicBezTo>
                    <a:pt x="5" y="8"/>
                    <a:pt x="4" y="8"/>
                    <a:pt x="3" y="8"/>
                  </a:cubicBezTo>
                  <a:cubicBezTo>
                    <a:pt x="2" y="10"/>
                    <a:pt x="0" y="13"/>
                    <a:pt x="1" y="16"/>
                  </a:cubicBezTo>
                  <a:cubicBezTo>
                    <a:pt x="1" y="18"/>
                    <a:pt x="2" y="20"/>
                    <a:pt x="2" y="2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144"/>
            <p:cNvSpPr>
              <a:spLocks/>
            </p:cNvSpPr>
            <p:nvPr/>
          </p:nvSpPr>
          <p:spPr bwMode="auto">
            <a:xfrm>
              <a:off x="1317404" y="2928634"/>
              <a:ext cx="131349" cy="145843"/>
            </a:xfrm>
            <a:custGeom>
              <a:avLst/>
              <a:gdLst>
                <a:gd name="T0" fmla="*/ 27 w 61"/>
                <a:gd name="T1" fmla="*/ 6 h 68"/>
                <a:gd name="T2" fmla="*/ 24 w 61"/>
                <a:gd name="T3" fmla="*/ 13 h 68"/>
                <a:gd name="T4" fmla="*/ 21 w 61"/>
                <a:gd name="T5" fmla="*/ 15 h 68"/>
                <a:gd name="T6" fmla="*/ 11 w 61"/>
                <a:gd name="T7" fmla="*/ 15 h 68"/>
                <a:gd name="T8" fmla="*/ 8 w 61"/>
                <a:gd name="T9" fmla="*/ 18 h 68"/>
                <a:gd name="T10" fmla="*/ 7 w 61"/>
                <a:gd name="T11" fmla="*/ 28 h 68"/>
                <a:gd name="T12" fmla="*/ 10 w 61"/>
                <a:gd name="T13" fmla="*/ 34 h 68"/>
                <a:gd name="T14" fmla="*/ 11 w 61"/>
                <a:gd name="T15" fmla="*/ 43 h 68"/>
                <a:gd name="T16" fmla="*/ 6 w 61"/>
                <a:gd name="T17" fmla="*/ 51 h 68"/>
                <a:gd name="T18" fmla="*/ 3 w 61"/>
                <a:gd name="T19" fmla="*/ 53 h 68"/>
                <a:gd name="T20" fmla="*/ 5 w 61"/>
                <a:gd name="T21" fmla="*/ 64 h 68"/>
                <a:gd name="T22" fmla="*/ 21 w 61"/>
                <a:gd name="T23" fmla="*/ 66 h 68"/>
                <a:gd name="T24" fmla="*/ 30 w 61"/>
                <a:gd name="T25" fmla="*/ 62 h 68"/>
                <a:gd name="T26" fmla="*/ 45 w 61"/>
                <a:gd name="T27" fmla="*/ 56 h 68"/>
                <a:gd name="T28" fmla="*/ 50 w 61"/>
                <a:gd name="T29" fmla="*/ 53 h 68"/>
                <a:gd name="T30" fmla="*/ 54 w 61"/>
                <a:gd name="T31" fmla="*/ 33 h 68"/>
                <a:gd name="T32" fmla="*/ 53 w 61"/>
                <a:gd name="T33" fmla="*/ 29 h 68"/>
                <a:gd name="T34" fmla="*/ 55 w 61"/>
                <a:gd name="T35" fmla="*/ 23 h 68"/>
                <a:gd name="T36" fmla="*/ 58 w 61"/>
                <a:gd name="T37" fmla="*/ 21 h 68"/>
                <a:gd name="T38" fmla="*/ 59 w 61"/>
                <a:gd name="T39" fmla="*/ 9 h 68"/>
                <a:gd name="T40" fmla="*/ 55 w 61"/>
                <a:gd name="T41" fmla="*/ 4 h 68"/>
                <a:gd name="T42" fmla="*/ 52 w 61"/>
                <a:gd name="T43" fmla="*/ 1 h 68"/>
                <a:gd name="T44" fmla="*/ 39 w 61"/>
                <a:gd name="T45" fmla="*/ 0 h 68"/>
                <a:gd name="T46" fmla="*/ 35 w 61"/>
                <a:gd name="T47" fmla="*/ 0 h 68"/>
                <a:gd name="T48" fmla="*/ 27 w 61"/>
                <a:gd name="T49"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8">
                  <a:moveTo>
                    <a:pt x="27" y="6"/>
                  </a:moveTo>
                  <a:cubicBezTo>
                    <a:pt x="26" y="9"/>
                    <a:pt x="25" y="11"/>
                    <a:pt x="24" y="13"/>
                  </a:cubicBezTo>
                  <a:cubicBezTo>
                    <a:pt x="23" y="14"/>
                    <a:pt x="22" y="15"/>
                    <a:pt x="21" y="15"/>
                  </a:cubicBezTo>
                  <a:cubicBezTo>
                    <a:pt x="18" y="15"/>
                    <a:pt x="15" y="15"/>
                    <a:pt x="11" y="15"/>
                  </a:cubicBezTo>
                  <a:cubicBezTo>
                    <a:pt x="9" y="16"/>
                    <a:pt x="8" y="17"/>
                    <a:pt x="8" y="18"/>
                  </a:cubicBezTo>
                  <a:cubicBezTo>
                    <a:pt x="8" y="21"/>
                    <a:pt x="8" y="25"/>
                    <a:pt x="7" y="28"/>
                  </a:cubicBezTo>
                  <a:cubicBezTo>
                    <a:pt x="7" y="31"/>
                    <a:pt x="8" y="32"/>
                    <a:pt x="10" y="34"/>
                  </a:cubicBezTo>
                  <a:cubicBezTo>
                    <a:pt x="12" y="37"/>
                    <a:pt x="12" y="40"/>
                    <a:pt x="11" y="43"/>
                  </a:cubicBezTo>
                  <a:cubicBezTo>
                    <a:pt x="9" y="46"/>
                    <a:pt x="7" y="48"/>
                    <a:pt x="6" y="51"/>
                  </a:cubicBezTo>
                  <a:cubicBezTo>
                    <a:pt x="5" y="52"/>
                    <a:pt x="4" y="52"/>
                    <a:pt x="3" y="53"/>
                  </a:cubicBezTo>
                  <a:cubicBezTo>
                    <a:pt x="0" y="56"/>
                    <a:pt x="1" y="61"/>
                    <a:pt x="5" y="64"/>
                  </a:cubicBezTo>
                  <a:cubicBezTo>
                    <a:pt x="10" y="67"/>
                    <a:pt x="15" y="68"/>
                    <a:pt x="21" y="66"/>
                  </a:cubicBezTo>
                  <a:cubicBezTo>
                    <a:pt x="24" y="65"/>
                    <a:pt x="27" y="63"/>
                    <a:pt x="30" y="62"/>
                  </a:cubicBezTo>
                  <a:cubicBezTo>
                    <a:pt x="35" y="59"/>
                    <a:pt x="40" y="57"/>
                    <a:pt x="45" y="56"/>
                  </a:cubicBezTo>
                  <a:cubicBezTo>
                    <a:pt x="47" y="56"/>
                    <a:pt x="49" y="55"/>
                    <a:pt x="50" y="53"/>
                  </a:cubicBezTo>
                  <a:cubicBezTo>
                    <a:pt x="54" y="47"/>
                    <a:pt x="56" y="41"/>
                    <a:pt x="54" y="33"/>
                  </a:cubicBezTo>
                  <a:cubicBezTo>
                    <a:pt x="54" y="32"/>
                    <a:pt x="54" y="30"/>
                    <a:pt x="53" y="29"/>
                  </a:cubicBezTo>
                  <a:cubicBezTo>
                    <a:pt x="53" y="27"/>
                    <a:pt x="54" y="25"/>
                    <a:pt x="55" y="23"/>
                  </a:cubicBezTo>
                  <a:cubicBezTo>
                    <a:pt x="56" y="22"/>
                    <a:pt x="57" y="22"/>
                    <a:pt x="58" y="21"/>
                  </a:cubicBezTo>
                  <a:cubicBezTo>
                    <a:pt x="61" y="17"/>
                    <a:pt x="61" y="14"/>
                    <a:pt x="59" y="9"/>
                  </a:cubicBezTo>
                  <a:cubicBezTo>
                    <a:pt x="58" y="8"/>
                    <a:pt x="57" y="6"/>
                    <a:pt x="55" y="4"/>
                  </a:cubicBezTo>
                  <a:cubicBezTo>
                    <a:pt x="54" y="3"/>
                    <a:pt x="53" y="2"/>
                    <a:pt x="52" y="1"/>
                  </a:cubicBezTo>
                  <a:cubicBezTo>
                    <a:pt x="47" y="1"/>
                    <a:pt x="43" y="0"/>
                    <a:pt x="39" y="0"/>
                  </a:cubicBezTo>
                  <a:cubicBezTo>
                    <a:pt x="38" y="0"/>
                    <a:pt x="37" y="0"/>
                    <a:pt x="35" y="0"/>
                  </a:cubicBezTo>
                  <a:cubicBezTo>
                    <a:pt x="31" y="1"/>
                    <a:pt x="28" y="2"/>
                    <a:pt x="27"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145"/>
            <p:cNvSpPr>
              <a:spLocks/>
            </p:cNvSpPr>
            <p:nvPr/>
          </p:nvSpPr>
          <p:spPr bwMode="auto">
            <a:xfrm>
              <a:off x="5471670" y="3089877"/>
              <a:ext cx="156713" cy="173019"/>
            </a:xfrm>
            <a:custGeom>
              <a:avLst/>
              <a:gdLst>
                <a:gd name="T0" fmla="*/ 0 w 73"/>
                <a:gd name="T1" fmla="*/ 61 h 81"/>
                <a:gd name="T2" fmla="*/ 7 w 73"/>
                <a:gd name="T3" fmla="*/ 71 h 81"/>
                <a:gd name="T4" fmla="*/ 11 w 73"/>
                <a:gd name="T5" fmla="*/ 80 h 81"/>
                <a:gd name="T6" fmla="*/ 13 w 73"/>
                <a:gd name="T7" fmla="*/ 81 h 81"/>
                <a:gd name="T8" fmla="*/ 24 w 73"/>
                <a:gd name="T9" fmla="*/ 74 h 81"/>
                <a:gd name="T10" fmla="*/ 24 w 73"/>
                <a:gd name="T11" fmla="*/ 69 h 81"/>
                <a:gd name="T12" fmla="*/ 13 w 73"/>
                <a:gd name="T13" fmla="*/ 63 h 81"/>
                <a:gd name="T14" fmla="*/ 12 w 73"/>
                <a:gd name="T15" fmla="*/ 62 h 81"/>
                <a:gd name="T16" fmla="*/ 18 w 73"/>
                <a:gd name="T17" fmla="*/ 60 h 81"/>
                <a:gd name="T18" fmla="*/ 36 w 73"/>
                <a:gd name="T19" fmla="*/ 61 h 81"/>
                <a:gd name="T20" fmla="*/ 47 w 73"/>
                <a:gd name="T21" fmla="*/ 65 h 81"/>
                <a:gd name="T22" fmla="*/ 49 w 73"/>
                <a:gd name="T23" fmla="*/ 64 h 81"/>
                <a:gd name="T24" fmla="*/ 52 w 73"/>
                <a:gd name="T25" fmla="*/ 55 h 81"/>
                <a:gd name="T26" fmla="*/ 59 w 73"/>
                <a:gd name="T27" fmla="*/ 47 h 81"/>
                <a:gd name="T28" fmla="*/ 69 w 73"/>
                <a:gd name="T29" fmla="*/ 43 h 81"/>
                <a:gd name="T30" fmla="*/ 71 w 73"/>
                <a:gd name="T31" fmla="*/ 35 h 81"/>
                <a:gd name="T32" fmla="*/ 66 w 73"/>
                <a:gd name="T33" fmla="*/ 28 h 81"/>
                <a:gd name="T34" fmla="*/ 63 w 73"/>
                <a:gd name="T35" fmla="*/ 24 h 81"/>
                <a:gd name="T36" fmla="*/ 60 w 73"/>
                <a:gd name="T37" fmla="*/ 22 h 81"/>
                <a:gd name="T38" fmla="*/ 44 w 73"/>
                <a:gd name="T39" fmla="*/ 23 h 81"/>
                <a:gd name="T40" fmla="*/ 26 w 73"/>
                <a:gd name="T41" fmla="*/ 10 h 81"/>
                <a:gd name="T42" fmla="*/ 13 w 73"/>
                <a:gd name="T43" fmla="*/ 1 h 81"/>
                <a:gd name="T44" fmla="*/ 8 w 73"/>
                <a:gd name="T45" fmla="*/ 1 h 81"/>
                <a:gd name="T46" fmla="*/ 7 w 73"/>
                <a:gd name="T47" fmla="*/ 6 h 81"/>
                <a:gd name="T48" fmla="*/ 10 w 73"/>
                <a:gd name="T49" fmla="*/ 13 h 81"/>
                <a:gd name="T50" fmla="*/ 13 w 73"/>
                <a:gd name="T51" fmla="*/ 20 h 81"/>
                <a:gd name="T52" fmla="*/ 14 w 73"/>
                <a:gd name="T53" fmla="*/ 42 h 81"/>
                <a:gd name="T54" fmla="*/ 11 w 73"/>
                <a:gd name="T55" fmla="*/ 44 h 81"/>
                <a:gd name="T56" fmla="*/ 8 w 73"/>
                <a:gd name="T57" fmla="*/ 44 h 81"/>
                <a:gd name="T58" fmla="*/ 5 w 73"/>
                <a:gd name="T59" fmla="*/ 48 h 81"/>
                <a:gd name="T60" fmla="*/ 5 w 73"/>
                <a:gd name="T61" fmla="*/ 51 h 81"/>
                <a:gd name="T62" fmla="*/ 0 w 73"/>
                <a:gd name="T63" fmla="*/ 6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 h="81">
                  <a:moveTo>
                    <a:pt x="0" y="61"/>
                  </a:moveTo>
                  <a:cubicBezTo>
                    <a:pt x="0" y="66"/>
                    <a:pt x="5" y="67"/>
                    <a:pt x="7" y="71"/>
                  </a:cubicBezTo>
                  <a:cubicBezTo>
                    <a:pt x="8" y="74"/>
                    <a:pt x="9" y="77"/>
                    <a:pt x="11" y="80"/>
                  </a:cubicBezTo>
                  <a:cubicBezTo>
                    <a:pt x="11" y="80"/>
                    <a:pt x="13" y="81"/>
                    <a:pt x="13" y="81"/>
                  </a:cubicBezTo>
                  <a:cubicBezTo>
                    <a:pt x="17" y="78"/>
                    <a:pt x="20" y="76"/>
                    <a:pt x="24" y="74"/>
                  </a:cubicBezTo>
                  <a:cubicBezTo>
                    <a:pt x="25" y="73"/>
                    <a:pt x="25" y="70"/>
                    <a:pt x="24" y="69"/>
                  </a:cubicBezTo>
                  <a:cubicBezTo>
                    <a:pt x="20" y="67"/>
                    <a:pt x="16" y="65"/>
                    <a:pt x="13" y="63"/>
                  </a:cubicBezTo>
                  <a:cubicBezTo>
                    <a:pt x="12" y="63"/>
                    <a:pt x="12" y="62"/>
                    <a:pt x="12" y="62"/>
                  </a:cubicBezTo>
                  <a:cubicBezTo>
                    <a:pt x="14" y="61"/>
                    <a:pt x="17" y="61"/>
                    <a:pt x="18" y="60"/>
                  </a:cubicBezTo>
                  <a:cubicBezTo>
                    <a:pt x="25" y="55"/>
                    <a:pt x="31" y="57"/>
                    <a:pt x="36" y="61"/>
                  </a:cubicBezTo>
                  <a:cubicBezTo>
                    <a:pt x="39" y="64"/>
                    <a:pt x="43" y="65"/>
                    <a:pt x="47" y="65"/>
                  </a:cubicBezTo>
                  <a:cubicBezTo>
                    <a:pt x="48" y="65"/>
                    <a:pt x="49" y="65"/>
                    <a:pt x="49" y="64"/>
                  </a:cubicBezTo>
                  <a:cubicBezTo>
                    <a:pt x="50" y="61"/>
                    <a:pt x="51" y="58"/>
                    <a:pt x="52" y="55"/>
                  </a:cubicBezTo>
                  <a:cubicBezTo>
                    <a:pt x="53" y="51"/>
                    <a:pt x="55" y="48"/>
                    <a:pt x="59" y="47"/>
                  </a:cubicBezTo>
                  <a:cubicBezTo>
                    <a:pt x="62" y="46"/>
                    <a:pt x="66" y="44"/>
                    <a:pt x="69" y="43"/>
                  </a:cubicBezTo>
                  <a:cubicBezTo>
                    <a:pt x="72" y="41"/>
                    <a:pt x="73" y="37"/>
                    <a:pt x="71" y="35"/>
                  </a:cubicBezTo>
                  <a:cubicBezTo>
                    <a:pt x="70" y="33"/>
                    <a:pt x="68" y="30"/>
                    <a:pt x="66" y="28"/>
                  </a:cubicBezTo>
                  <a:cubicBezTo>
                    <a:pt x="65" y="27"/>
                    <a:pt x="64" y="25"/>
                    <a:pt x="63" y="24"/>
                  </a:cubicBezTo>
                  <a:cubicBezTo>
                    <a:pt x="62" y="21"/>
                    <a:pt x="62" y="21"/>
                    <a:pt x="60" y="22"/>
                  </a:cubicBezTo>
                  <a:cubicBezTo>
                    <a:pt x="55" y="25"/>
                    <a:pt x="50" y="25"/>
                    <a:pt x="44" y="23"/>
                  </a:cubicBezTo>
                  <a:cubicBezTo>
                    <a:pt x="37" y="20"/>
                    <a:pt x="31" y="15"/>
                    <a:pt x="26" y="10"/>
                  </a:cubicBezTo>
                  <a:cubicBezTo>
                    <a:pt x="22" y="6"/>
                    <a:pt x="18" y="3"/>
                    <a:pt x="13" y="1"/>
                  </a:cubicBezTo>
                  <a:cubicBezTo>
                    <a:pt x="11" y="0"/>
                    <a:pt x="10" y="0"/>
                    <a:pt x="8" y="1"/>
                  </a:cubicBezTo>
                  <a:cubicBezTo>
                    <a:pt x="7" y="3"/>
                    <a:pt x="7" y="4"/>
                    <a:pt x="7" y="6"/>
                  </a:cubicBezTo>
                  <a:cubicBezTo>
                    <a:pt x="8" y="8"/>
                    <a:pt x="9" y="10"/>
                    <a:pt x="10" y="13"/>
                  </a:cubicBezTo>
                  <a:cubicBezTo>
                    <a:pt x="11" y="15"/>
                    <a:pt x="12" y="18"/>
                    <a:pt x="13" y="20"/>
                  </a:cubicBezTo>
                  <a:cubicBezTo>
                    <a:pt x="13" y="27"/>
                    <a:pt x="14" y="35"/>
                    <a:pt x="14" y="42"/>
                  </a:cubicBezTo>
                  <a:cubicBezTo>
                    <a:pt x="14" y="42"/>
                    <a:pt x="12" y="43"/>
                    <a:pt x="11" y="44"/>
                  </a:cubicBezTo>
                  <a:cubicBezTo>
                    <a:pt x="10" y="44"/>
                    <a:pt x="9" y="44"/>
                    <a:pt x="8" y="44"/>
                  </a:cubicBezTo>
                  <a:cubicBezTo>
                    <a:pt x="5" y="44"/>
                    <a:pt x="5" y="44"/>
                    <a:pt x="5" y="48"/>
                  </a:cubicBezTo>
                  <a:cubicBezTo>
                    <a:pt x="5" y="49"/>
                    <a:pt x="5" y="50"/>
                    <a:pt x="5" y="51"/>
                  </a:cubicBezTo>
                  <a:cubicBezTo>
                    <a:pt x="4" y="54"/>
                    <a:pt x="1" y="57"/>
                    <a:pt x="0" y="6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46"/>
            <p:cNvSpPr>
              <a:spLocks/>
            </p:cNvSpPr>
            <p:nvPr/>
          </p:nvSpPr>
          <p:spPr bwMode="auto">
            <a:xfrm>
              <a:off x="4688102" y="4824595"/>
              <a:ext cx="288969" cy="86057"/>
            </a:xfrm>
            <a:custGeom>
              <a:avLst/>
              <a:gdLst>
                <a:gd name="T0" fmla="*/ 93 w 135"/>
                <a:gd name="T1" fmla="*/ 34 h 40"/>
                <a:gd name="T2" fmla="*/ 112 w 135"/>
                <a:gd name="T3" fmla="*/ 38 h 40"/>
                <a:gd name="T4" fmla="*/ 119 w 135"/>
                <a:gd name="T5" fmla="*/ 37 h 40"/>
                <a:gd name="T6" fmla="*/ 124 w 135"/>
                <a:gd name="T7" fmla="*/ 36 h 40"/>
                <a:gd name="T8" fmla="*/ 130 w 135"/>
                <a:gd name="T9" fmla="*/ 37 h 40"/>
                <a:gd name="T10" fmla="*/ 135 w 135"/>
                <a:gd name="T11" fmla="*/ 33 h 40"/>
                <a:gd name="T12" fmla="*/ 132 w 135"/>
                <a:gd name="T13" fmla="*/ 30 h 40"/>
                <a:gd name="T14" fmla="*/ 115 w 135"/>
                <a:gd name="T15" fmla="*/ 25 h 40"/>
                <a:gd name="T16" fmla="*/ 112 w 135"/>
                <a:gd name="T17" fmla="*/ 24 h 40"/>
                <a:gd name="T18" fmla="*/ 105 w 135"/>
                <a:gd name="T19" fmla="*/ 24 h 40"/>
                <a:gd name="T20" fmla="*/ 101 w 135"/>
                <a:gd name="T21" fmla="*/ 22 h 40"/>
                <a:gd name="T22" fmla="*/ 104 w 135"/>
                <a:gd name="T23" fmla="*/ 19 h 40"/>
                <a:gd name="T24" fmla="*/ 108 w 135"/>
                <a:gd name="T25" fmla="*/ 19 h 40"/>
                <a:gd name="T26" fmla="*/ 111 w 135"/>
                <a:gd name="T27" fmla="*/ 16 h 40"/>
                <a:gd name="T28" fmla="*/ 107 w 135"/>
                <a:gd name="T29" fmla="*/ 14 h 40"/>
                <a:gd name="T30" fmla="*/ 88 w 135"/>
                <a:gd name="T31" fmla="*/ 11 h 40"/>
                <a:gd name="T32" fmla="*/ 79 w 135"/>
                <a:gd name="T33" fmla="*/ 8 h 40"/>
                <a:gd name="T34" fmla="*/ 67 w 135"/>
                <a:gd name="T35" fmla="*/ 11 h 40"/>
                <a:gd name="T36" fmla="*/ 61 w 135"/>
                <a:gd name="T37" fmla="*/ 13 h 40"/>
                <a:gd name="T38" fmla="*/ 53 w 135"/>
                <a:gd name="T39" fmla="*/ 12 h 40"/>
                <a:gd name="T40" fmla="*/ 40 w 135"/>
                <a:gd name="T41" fmla="*/ 7 h 40"/>
                <a:gd name="T42" fmla="*/ 24 w 135"/>
                <a:gd name="T43" fmla="*/ 1 h 40"/>
                <a:gd name="T44" fmla="*/ 6 w 135"/>
                <a:gd name="T45" fmla="*/ 0 h 40"/>
                <a:gd name="T46" fmla="*/ 1 w 135"/>
                <a:gd name="T47" fmla="*/ 10 h 40"/>
                <a:gd name="T48" fmla="*/ 3 w 135"/>
                <a:gd name="T49" fmla="*/ 14 h 40"/>
                <a:gd name="T50" fmla="*/ 12 w 135"/>
                <a:gd name="T51" fmla="*/ 19 h 40"/>
                <a:gd name="T52" fmla="*/ 18 w 135"/>
                <a:gd name="T53" fmla="*/ 22 h 40"/>
                <a:gd name="T54" fmla="*/ 31 w 135"/>
                <a:gd name="T55" fmla="*/ 25 h 40"/>
                <a:gd name="T56" fmla="*/ 40 w 135"/>
                <a:gd name="T57" fmla="*/ 26 h 40"/>
                <a:gd name="T58" fmla="*/ 61 w 135"/>
                <a:gd name="T59" fmla="*/ 29 h 40"/>
                <a:gd name="T60" fmla="*/ 81 w 135"/>
                <a:gd name="T61" fmla="*/ 34 h 40"/>
                <a:gd name="T62" fmla="*/ 93 w 135"/>
                <a:gd name="T63"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5" h="40">
                  <a:moveTo>
                    <a:pt x="93" y="34"/>
                  </a:moveTo>
                  <a:cubicBezTo>
                    <a:pt x="100" y="34"/>
                    <a:pt x="106" y="35"/>
                    <a:pt x="112" y="38"/>
                  </a:cubicBezTo>
                  <a:cubicBezTo>
                    <a:pt x="115" y="40"/>
                    <a:pt x="117" y="39"/>
                    <a:pt x="119" y="37"/>
                  </a:cubicBezTo>
                  <a:cubicBezTo>
                    <a:pt x="121" y="36"/>
                    <a:pt x="122" y="36"/>
                    <a:pt x="124" y="36"/>
                  </a:cubicBezTo>
                  <a:cubicBezTo>
                    <a:pt x="126" y="37"/>
                    <a:pt x="128" y="37"/>
                    <a:pt x="130" y="37"/>
                  </a:cubicBezTo>
                  <a:cubicBezTo>
                    <a:pt x="132" y="38"/>
                    <a:pt x="135" y="35"/>
                    <a:pt x="135" y="33"/>
                  </a:cubicBezTo>
                  <a:cubicBezTo>
                    <a:pt x="135" y="32"/>
                    <a:pt x="133" y="30"/>
                    <a:pt x="132" y="30"/>
                  </a:cubicBezTo>
                  <a:cubicBezTo>
                    <a:pt x="126" y="30"/>
                    <a:pt x="120" y="29"/>
                    <a:pt x="115" y="25"/>
                  </a:cubicBezTo>
                  <a:cubicBezTo>
                    <a:pt x="114" y="24"/>
                    <a:pt x="113" y="24"/>
                    <a:pt x="112" y="24"/>
                  </a:cubicBezTo>
                  <a:cubicBezTo>
                    <a:pt x="110" y="24"/>
                    <a:pt x="108" y="24"/>
                    <a:pt x="105" y="24"/>
                  </a:cubicBezTo>
                  <a:cubicBezTo>
                    <a:pt x="104" y="24"/>
                    <a:pt x="102" y="23"/>
                    <a:pt x="101" y="22"/>
                  </a:cubicBezTo>
                  <a:cubicBezTo>
                    <a:pt x="101" y="21"/>
                    <a:pt x="102" y="20"/>
                    <a:pt x="104" y="19"/>
                  </a:cubicBezTo>
                  <a:cubicBezTo>
                    <a:pt x="106" y="19"/>
                    <a:pt x="107" y="19"/>
                    <a:pt x="108" y="19"/>
                  </a:cubicBezTo>
                  <a:cubicBezTo>
                    <a:pt x="109" y="18"/>
                    <a:pt x="111" y="18"/>
                    <a:pt x="111" y="16"/>
                  </a:cubicBezTo>
                  <a:cubicBezTo>
                    <a:pt x="111" y="16"/>
                    <a:pt x="109" y="15"/>
                    <a:pt x="107" y="14"/>
                  </a:cubicBezTo>
                  <a:cubicBezTo>
                    <a:pt x="101" y="14"/>
                    <a:pt x="94" y="14"/>
                    <a:pt x="88" y="11"/>
                  </a:cubicBezTo>
                  <a:cubicBezTo>
                    <a:pt x="85" y="10"/>
                    <a:pt x="81" y="10"/>
                    <a:pt x="79" y="8"/>
                  </a:cubicBezTo>
                  <a:cubicBezTo>
                    <a:pt x="74" y="6"/>
                    <a:pt x="70" y="6"/>
                    <a:pt x="67" y="11"/>
                  </a:cubicBezTo>
                  <a:cubicBezTo>
                    <a:pt x="66" y="12"/>
                    <a:pt x="64" y="13"/>
                    <a:pt x="61" y="13"/>
                  </a:cubicBezTo>
                  <a:cubicBezTo>
                    <a:pt x="59" y="13"/>
                    <a:pt x="56" y="12"/>
                    <a:pt x="53" y="12"/>
                  </a:cubicBezTo>
                  <a:cubicBezTo>
                    <a:pt x="48" y="12"/>
                    <a:pt x="44" y="11"/>
                    <a:pt x="40" y="7"/>
                  </a:cubicBezTo>
                  <a:cubicBezTo>
                    <a:pt x="36" y="2"/>
                    <a:pt x="30" y="1"/>
                    <a:pt x="24" y="1"/>
                  </a:cubicBezTo>
                  <a:cubicBezTo>
                    <a:pt x="18" y="1"/>
                    <a:pt x="12" y="0"/>
                    <a:pt x="6" y="0"/>
                  </a:cubicBezTo>
                  <a:cubicBezTo>
                    <a:pt x="6" y="4"/>
                    <a:pt x="3" y="7"/>
                    <a:pt x="1" y="10"/>
                  </a:cubicBezTo>
                  <a:cubicBezTo>
                    <a:pt x="0" y="12"/>
                    <a:pt x="1" y="14"/>
                    <a:pt x="3" y="14"/>
                  </a:cubicBezTo>
                  <a:cubicBezTo>
                    <a:pt x="6" y="15"/>
                    <a:pt x="10" y="16"/>
                    <a:pt x="12" y="19"/>
                  </a:cubicBezTo>
                  <a:cubicBezTo>
                    <a:pt x="13" y="21"/>
                    <a:pt x="16" y="22"/>
                    <a:pt x="18" y="22"/>
                  </a:cubicBezTo>
                  <a:cubicBezTo>
                    <a:pt x="22" y="22"/>
                    <a:pt x="27" y="23"/>
                    <a:pt x="31" y="25"/>
                  </a:cubicBezTo>
                  <a:cubicBezTo>
                    <a:pt x="34" y="27"/>
                    <a:pt x="37" y="27"/>
                    <a:pt x="40" y="26"/>
                  </a:cubicBezTo>
                  <a:cubicBezTo>
                    <a:pt x="47" y="26"/>
                    <a:pt x="55" y="26"/>
                    <a:pt x="61" y="29"/>
                  </a:cubicBezTo>
                  <a:cubicBezTo>
                    <a:pt x="67" y="33"/>
                    <a:pt x="74" y="33"/>
                    <a:pt x="81" y="34"/>
                  </a:cubicBezTo>
                  <a:cubicBezTo>
                    <a:pt x="85" y="34"/>
                    <a:pt x="89" y="35"/>
                    <a:pt x="93" y="3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47"/>
            <p:cNvSpPr>
              <a:spLocks/>
            </p:cNvSpPr>
            <p:nvPr/>
          </p:nvSpPr>
          <p:spPr bwMode="auto">
            <a:xfrm>
              <a:off x="5083962" y="4102626"/>
              <a:ext cx="141314" cy="205630"/>
            </a:xfrm>
            <a:custGeom>
              <a:avLst/>
              <a:gdLst>
                <a:gd name="T0" fmla="*/ 29 w 66"/>
                <a:gd name="T1" fmla="*/ 3 h 96"/>
                <a:gd name="T2" fmla="*/ 17 w 66"/>
                <a:gd name="T3" fmla="*/ 2 h 96"/>
                <a:gd name="T4" fmla="*/ 7 w 66"/>
                <a:gd name="T5" fmla="*/ 7 h 96"/>
                <a:gd name="T6" fmla="*/ 6 w 66"/>
                <a:gd name="T7" fmla="*/ 13 h 96"/>
                <a:gd name="T8" fmla="*/ 4 w 66"/>
                <a:gd name="T9" fmla="*/ 30 h 96"/>
                <a:gd name="T10" fmla="*/ 1 w 66"/>
                <a:gd name="T11" fmla="*/ 36 h 96"/>
                <a:gd name="T12" fmla="*/ 0 w 66"/>
                <a:gd name="T13" fmla="*/ 38 h 96"/>
                <a:gd name="T14" fmla="*/ 5 w 66"/>
                <a:gd name="T15" fmla="*/ 53 h 96"/>
                <a:gd name="T16" fmla="*/ 12 w 66"/>
                <a:gd name="T17" fmla="*/ 61 h 96"/>
                <a:gd name="T18" fmla="*/ 12 w 66"/>
                <a:gd name="T19" fmla="*/ 60 h 96"/>
                <a:gd name="T20" fmla="*/ 13 w 66"/>
                <a:gd name="T21" fmla="*/ 60 h 96"/>
                <a:gd name="T22" fmla="*/ 13 w 66"/>
                <a:gd name="T23" fmla="*/ 61 h 96"/>
                <a:gd name="T24" fmla="*/ 12 w 66"/>
                <a:gd name="T25" fmla="*/ 61 h 96"/>
                <a:gd name="T26" fmla="*/ 19 w 66"/>
                <a:gd name="T27" fmla="*/ 71 h 96"/>
                <a:gd name="T28" fmla="*/ 22 w 66"/>
                <a:gd name="T29" fmla="*/ 73 h 96"/>
                <a:gd name="T30" fmla="*/ 23 w 66"/>
                <a:gd name="T31" fmla="*/ 73 h 96"/>
                <a:gd name="T32" fmla="*/ 23 w 66"/>
                <a:gd name="T33" fmla="*/ 73 h 96"/>
                <a:gd name="T34" fmla="*/ 22 w 66"/>
                <a:gd name="T35" fmla="*/ 73 h 96"/>
                <a:gd name="T36" fmla="*/ 29 w 66"/>
                <a:gd name="T37" fmla="*/ 69 h 96"/>
                <a:gd name="T38" fmla="*/ 33 w 66"/>
                <a:gd name="T39" fmla="*/ 70 h 96"/>
                <a:gd name="T40" fmla="*/ 36 w 66"/>
                <a:gd name="T41" fmla="*/ 73 h 96"/>
                <a:gd name="T42" fmla="*/ 46 w 66"/>
                <a:gd name="T43" fmla="*/ 73 h 96"/>
                <a:gd name="T44" fmla="*/ 45 w 66"/>
                <a:gd name="T45" fmla="*/ 72 h 96"/>
                <a:gd name="T46" fmla="*/ 46 w 66"/>
                <a:gd name="T47" fmla="*/ 73 h 96"/>
                <a:gd name="T48" fmla="*/ 46 w 66"/>
                <a:gd name="T49" fmla="*/ 73 h 96"/>
                <a:gd name="T50" fmla="*/ 46 w 66"/>
                <a:gd name="T51" fmla="*/ 73 h 96"/>
                <a:gd name="T52" fmla="*/ 50 w 66"/>
                <a:gd name="T53" fmla="*/ 76 h 96"/>
                <a:gd name="T54" fmla="*/ 56 w 66"/>
                <a:gd name="T55" fmla="*/ 83 h 96"/>
                <a:gd name="T56" fmla="*/ 56 w 66"/>
                <a:gd name="T57" fmla="*/ 87 h 96"/>
                <a:gd name="T58" fmla="*/ 57 w 66"/>
                <a:gd name="T59" fmla="*/ 94 h 96"/>
                <a:gd name="T60" fmla="*/ 61 w 66"/>
                <a:gd name="T61" fmla="*/ 96 h 96"/>
                <a:gd name="T62" fmla="*/ 64 w 66"/>
                <a:gd name="T63" fmla="*/ 95 h 96"/>
                <a:gd name="T64" fmla="*/ 65 w 66"/>
                <a:gd name="T65" fmla="*/ 84 h 96"/>
                <a:gd name="T66" fmla="*/ 64 w 66"/>
                <a:gd name="T67" fmla="*/ 80 h 96"/>
                <a:gd name="T68" fmla="*/ 59 w 66"/>
                <a:gd name="T69" fmla="*/ 74 h 96"/>
                <a:gd name="T70" fmla="*/ 51 w 66"/>
                <a:gd name="T71" fmla="*/ 65 h 96"/>
                <a:gd name="T72" fmla="*/ 46 w 66"/>
                <a:gd name="T73" fmla="*/ 61 h 96"/>
                <a:gd name="T74" fmla="*/ 39 w 66"/>
                <a:gd name="T75" fmla="*/ 61 h 96"/>
                <a:gd name="T76" fmla="*/ 36 w 66"/>
                <a:gd name="T77" fmla="*/ 62 h 96"/>
                <a:gd name="T78" fmla="*/ 35 w 66"/>
                <a:gd name="T79" fmla="*/ 62 h 96"/>
                <a:gd name="T80" fmla="*/ 32 w 66"/>
                <a:gd name="T81" fmla="*/ 61 h 96"/>
                <a:gd name="T82" fmla="*/ 32 w 66"/>
                <a:gd name="T83" fmla="*/ 57 h 96"/>
                <a:gd name="T84" fmla="*/ 30 w 66"/>
                <a:gd name="T85" fmla="*/ 52 h 96"/>
                <a:gd name="T86" fmla="*/ 26 w 66"/>
                <a:gd name="T87" fmla="*/ 49 h 96"/>
                <a:gd name="T88" fmla="*/ 29 w 66"/>
                <a:gd name="T89" fmla="*/ 40 h 96"/>
                <a:gd name="T90" fmla="*/ 32 w 66"/>
                <a:gd name="T91" fmla="*/ 37 h 96"/>
                <a:gd name="T92" fmla="*/ 34 w 66"/>
                <a:gd name="T93" fmla="*/ 18 h 96"/>
                <a:gd name="T94" fmla="*/ 32 w 66"/>
                <a:gd name="T95" fmla="*/ 6 h 96"/>
                <a:gd name="T96" fmla="*/ 29 w 66"/>
                <a:gd name="T97"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 h="96">
                  <a:moveTo>
                    <a:pt x="29" y="3"/>
                  </a:moveTo>
                  <a:cubicBezTo>
                    <a:pt x="25" y="3"/>
                    <a:pt x="21" y="3"/>
                    <a:pt x="17" y="2"/>
                  </a:cubicBezTo>
                  <a:cubicBezTo>
                    <a:pt x="12" y="0"/>
                    <a:pt x="9" y="3"/>
                    <a:pt x="7" y="7"/>
                  </a:cubicBezTo>
                  <a:cubicBezTo>
                    <a:pt x="6" y="9"/>
                    <a:pt x="6" y="11"/>
                    <a:pt x="6" y="13"/>
                  </a:cubicBezTo>
                  <a:cubicBezTo>
                    <a:pt x="5" y="19"/>
                    <a:pt x="4" y="25"/>
                    <a:pt x="4" y="30"/>
                  </a:cubicBezTo>
                  <a:cubicBezTo>
                    <a:pt x="4" y="33"/>
                    <a:pt x="3" y="34"/>
                    <a:pt x="1" y="36"/>
                  </a:cubicBezTo>
                  <a:cubicBezTo>
                    <a:pt x="0" y="36"/>
                    <a:pt x="0" y="37"/>
                    <a:pt x="0" y="38"/>
                  </a:cubicBezTo>
                  <a:cubicBezTo>
                    <a:pt x="1" y="43"/>
                    <a:pt x="2" y="49"/>
                    <a:pt x="5" y="53"/>
                  </a:cubicBezTo>
                  <a:cubicBezTo>
                    <a:pt x="6" y="56"/>
                    <a:pt x="8" y="60"/>
                    <a:pt x="12" y="61"/>
                  </a:cubicBezTo>
                  <a:cubicBezTo>
                    <a:pt x="12" y="61"/>
                    <a:pt x="12" y="61"/>
                    <a:pt x="12" y="60"/>
                  </a:cubicBezTo>
                  <a:cubicBezTo>
                    <a:pt x="13" y="59"/>
                    <a:pt x="13" y="59"/>
                    <a:pt x="13" y="60"/>
                  </a:cubicBezTo>
                  <a:cubicBezTo>
                    <a:pt x="13" y="60"/>
                    <a:pt x="13" y="60"/>
                    <a:pt x="13" y="61"/>
                  </a:cubicBezTo>
                  <a:cubicBezTo>
                    <a:pt x="13" y="61"/>
                    <a:pt x="13" y="61"/>
                    <a:pt x="12" y="61"/>
                  </a:cubicBezTo>
                  <a:cubicBezTo>
                    <a:pt x="12" y="65"/>
                    <a:pt x="14" y="69"/>
                    <a:pt x="19" y="71"/>
                  </a:cubicBezTo>
                  <a:cubicBezTo>
                    <a:pt x="20" y="71"/>
                    <a:pt x="21" y="72"/>
                    <a:pt x="22" y="73"/>
                  </a:cubicBezTo>
                  <a:cubicBezTo>
                    <a:pt x="22" y="73"/>
                    <a:pt x="23" y="73"/>
                    <a:pt x="23" y="73"/>
                  </a:cubicBezTo>
                  <a:cubicBezTo>
                    <a:pt x="23" y="73"/>
                    <a:pt x="23" y="73"/>
                    <a:pt x="23" y="73"/>
                  </a:cubicBezTo>
                  <a:cubicBezTo>
                    <a:pt x="22" y="73"/>
                    <a:pt x="22" y="73"/>
                    <a:pt x="22" y="73"/>
                  </a:cubicBezTo>
                  <a:cubicBezTo>
                    <a:pt x="24" y="72"/>
                    <a:pt x="27" y="71"/>
                    <a:pt x="29" y="69"/>
                  </a:cubicBezTo>
                  <a:cubicBezTo>
                    <a:pt x="30" y="69"/>
                    <a:pt x="32" y="69"/>
                    <a:pt x="33" y="70"/>
                  </a:cubicBezTo>
                  <a:cubicBezTo>
                    <a:pt x="34" y="71"/>
                    <a:pt x="35" y="72"/>
                    <a:pt x="36" y="73"/>
                  </a:cubicBezTo>
                  <a:cubicBezTo>
                    <a:pt x="39" y="74"/>
                    <a:pt x="43" y="76"/>
                    <a:pt x="46" y="73"/>
                  </a:cubicBezTo>
                  <a:cubicBezTo>
                    <a:pt x="45" y="72"/>
                    <a:pt x="45" y="72"/>
                    <a:pt x="45" y="72"/>
                  </a:cubicBezTo>
                  <a:cubicBezTo>
                    <a:pt x="46" y="73"/>
                    <a:pt x="46" y="73"/>
                    <a:pt x="46" y="73"/>
                  </a:cubicBezTo>
                  <a:cubicBezTo>
                    <a:pt x="46" y="73"/>
                    <a:pt x="46" y="73"/>
                    <a:pt x="46" y="73"/>
                  </a:cubicBezTo>
                  <a:cubicBezTo>
                    <a:pt x="46" y="73"/>
                    <a:pt x="46" y="73"/>
                    <a:pt x="46" y="73"/>
                  </a:cubicBezTo>
                  <a:cubicBezTo>
                    <a:pt x="47" y="74"/>
                    <a:pt x="49" y="75"/>
                    <a:pt x="50" y="76"/>
                  </a:cubicBezTo>
                  <a:cubicBezTo>
                    <a:pt x="51" y="79"/>
                    <a:pt x="52" y="82"/>
                    <a:pt x="56" y="83"/>
                  </a:cubicBezTo>
                  <a:cubicBezTo>
                    <a:pt x="58" y="84"/>
                    <a:pt x="58" y="85"/>
                    <a:pt x="56" y="87"/>
                  </a:cubicBezTo>
                  <a:cubicBezTo>
                    <a:pt x="52" y="90"/>
                    <a:pt x="52" y="92"/>
                    <a:pt x="57" y="94"/>
                  </a:cubicBezTo>
                  <a:cubicBezTo>
                    <a:pt x="58" y="95"/>
                    <a:pt x="60" y="95"/>
                    <a:pt x="61" y="96"/>
                  </a:cubicBezTo>
                  <a:cubicBezTo>
                    <a:pt x="62" y="96"/>
                    <a:pt x="64" y="95"/>
                    <a:pt x="64" y="95"/>
                  </a:cubicBezTo>
                  <a:cubicBezTo>
                    <a:pt x="64" y="91"/>
                    <a:pt x="65" y="88"/>
                    <a:pt x="65" y="84"/>
                  </a:cubicBezTo>
                  <a:cubicBezTo>
                    <a:pt x="66" y="83"/>
                    <a:pt x="65" y="81"/>
                    <a:pt x="64" y="80"/>
                  </a:cubicBezTo>
                  <a:cubicBezTo>
                    <a:pt x="62" y="78"/>
                    <a:pt x="59" y="77"/>
                    <a:pt x="59" y="74"/>
                  </a:cubicBezTo>
                  <a:cubicBezTo>
                    <a:pt x="59" y="69"/>
                    <a:pt x="55" y="67"/>
                    <a:pt x="51" y="65"/>
                  </a:cubicBezTo>
                  <a:cubicBezTo>
                    <a:pt x="49" y="64"/>
                    <a:pt x="48" y="63"/>
                    <a:pt x="46" y="61"/>
                  </a:cubicBezTo>
                  <a:cubicBezTo>
                    <a:pt x="44" y="60"/>
                    <a:pt x="42" y="60"/>
                    <a:pt x="39" y="61"/>
                  </a:cubicBezTo>
                  <a:cubicBezTo>
                    <a:pt x="38" y="61"/>
                    <a:pt x="37" y="61"/>
                    <a:pt x="36" y="62"/>
                  </a:cubicBezTo>
                  <a:cubicBezTo>
                    <a:pt x="36" y="62"/>
                    <a:pt x="35" y="62"/>
                    <a:pt x="35" y="62"/>
                  </a:cubicBezTo>
                  <a:cubicBezTo>
                    <a:pt x="34" y="62"/>
                    <a:pt x="33" y="62"/>
                    <a:pt x="32" y="61"/>
                  </a:cubicBezTo>
                  <a:cubicBezTo>
                    <a:pt x="30" y="61"/>
                    <a:pt x="30" y="59"/>
                    <a:pt x="32" y="57"/>
                  </a:cubicBezTo>
                  <a:cubicBezTo>
                    <a:pt x="35" y="53"/>
                    <a:pt x="35" y="53"/>
                    <a:pt x="30" y="52"/>
                  </a:cubicBezTo>
                  <a:cubicBezTo>
                    <a:pt x="28" y="51"/>
                    <a:pt x="27" y="50"/>
                    <a:pt x="26" y="49"/>
                  </a:cubicBezTo>
                  <a:cubicBezTo>
                    <a:pt x="26" y="46"/>
                    <a:pt x="27" y="43"/>
                    <a:pt x="29" y="40"/>
                  </a:cubicBezTo>
                  <a:cubicBezTo>
                    <a:pt x="30" y="39"/>
                    <a:pt x="31" y="38"/>
                    <a:pt x="32" y="37"/>
                  </a:cubicBezTo>
                  <a:cubicBezTo>
                    <a:pt x="36" y="31"/>
                    <a:pt x="38" y="24"/>
                    <a:pt x="34" y="18"/>
                  </a:cubicBezTo>
                  <a:cubicBezTo>
                    <a:pt x="32" y="14"/>
                    <a:pt x="31" y="10"/>
                    <a:pt x="32" y="6"/>
                  </a:cubicBezTo>
                  <a:cubicBezTo>
                    <a:pt x="32" y="4"/>
                    <a:pt x="31" y="3"/>
                    <a:pt x="29"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48"/>
            <p:cNvSpPr>
              <a:spLocks/>
            </p:cNvSpPr>
            <p:nvPr/>
          </p:nvSpPr>
          <p:spPr bwMode="auto">
            <a:xfrm>
              <a:off x="5628383" y="6022140"/>
              <a:ext cx="111421" cy="131349"/>
            </a:xfrm>
            <a:custGeom>
              <a:avLst/>
              <a:gdLst>
                <a:gd name="T0" fmla="*/ 47 w 52"/>
                <a:gd name="T1" fmla="*/ 6 h 61"/>
                <a:gd name="T2" fmla="*/ 31 w 52"/>
                <a:gd name="T3" fmla="*/ 9 h 61"/>
                <a:gd name="T4" fmla="*/ 19 w 52"/>
                <a:gd name="T5" fmla="*/ 7 h 61"/>
                <a:gd name="T6" fmla="*/ 11 w 52"/>
                <a:gd name="T7" fmla="*/ 1 h 61"/>
                <a:gd name="T8" fmla="*/ 6 w 52"/>
                <a:gd name="T9" fmla="*/ 0 h 61"/>
                <a:gd name="T10" fmla="*/ 3 w 52"/>
                <a:gd name="T11" fmla="*/ 5 h 61"/>
                <a:gd name="T12" fmla="*/ 2 w 52"/>
                <a:gd name="T13" fmla="*/ 8 h 61"/>
                <a:gd name="T14" fmla="*/ 0 w 52"/>
                <a:gd name="T15" fmla="*/ 35 h 61"/>
                <a:gd name="T16" fmla="*/ 0 w 52"/>
                <a:gd name="T17" fmla="*/ 40 h 61"/>
                <a:gd name="T18" fmla="*/ 3 w 52"/>
                <a:gd name="T19" fmla="*/ 52 h 61"/>
                <a:gd name="T20" fmla="*/ 13 w 52"/>
                <a:gd name="T21" fmla="*/ 61 h 61"/>
                <a:gd name="T22" fmla="*/ 16 w 52"/>
                <a:gd name="T23" fmla="*/ 61 h 61"/>
                <a:gd name="T24" fmla="*/ 22 w 52"/>
                <a:gd name="T25" fmla="*/ 56 h 61"/>
                <a:gd name="T26" fmla="*/ 31 w 52"/>
                <a:gd name="T27" fmla="*/ 53 h 61"/>
                <a:gd name="T28" fmla="*/ 36 w 52"/>
                <a:gd name="T29" fmla="*/ 50 h 61"/>
                <a:gd name="T30" fmla="*/ 45 w 52"/>
                <a:gd name="T31" fmla="*/ 32 h 61"/>
                <a:gd name="T32" fmla="*/ 46 w 52"/>
                <a:gd name="T33" fmla="*/ 29 h 61"/>
                <a:gd name="T34" fmla="*/ 51 w 52"/>
                <a:gd name="T35" fmla="*/ 14 h 61"/>
                <a:gd name="T36" fmla="*/ 51 w 52"/>
                <a:gd name="T37" fmla="*/ 11 h 61"/>
                <a:gd name="T38" fmla="*/ 47 w 52"/>
                <a:gd name="T39"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61">
                  <a:moveTo>
                    <a:pt x="47" y="6"/>
                  </a:moveTo>
                  <a:cubicBezTo>
                    <a:pt x="41" y="7"/>
                    <a:pt x="36" y="8"/>
                    <a:pt x="31" y="9"/>
                  </a:cubicBezTo>
                  <a:cubicBezTo>
                    <a:pt x="26" y="11"/>
                    <a:pt x="22" y="9"/>
                    <a:pt x="19" y="7"/>
                  </a:cubicBezTo>
                  <a:cubicBezTo>
                    <a:pt x="16" y="5"/>
                    <a:pt x="14" y="3"/>
                    <a:pt x="11" y="1"/>
                  </a:cubicBezTo>
                  <a:cubicBezTo>
                    <a:pt x="10" y="0"/>
                    <a:pt x="8" y="0"/>
                    <a:pt x="6" y="0"/>
                  </a:cubicBezTo>
                  <a:cubicBezTo>
                    <a:pt x="5" y="0"/>
                    <a:pt x="3" y="2"/>
                    <a:pt x="3" y="5"/>
                  </a:cubicBezTo>
                  <a:cubicBezTo>
                    <a:pt x="2" y="6"/>
                    <a:pt x="2" y="7"/>
                    <a:pt x="2" y="8"/>
                  </a:cubicBezTo>
                  <a:cubicBezTo>
                    <a:pt x="2" y="17"/>
                    <a:pt x="4" y="26"/>
                    <a:pt x="0" y="35"/>
                  </a:cubicBezTo>
                  <a:cubicBezTo>
                    <a:pt x="0" y="36"/>
                    <a:pt x="0" y="36"/>
                    <a:pt x="0" y="40"/>
                  </a:cubicBezTo>
                  <a:cubicBezTo>
                    <a:pt x="0" y="42"/>
                    <a:pt x="2" y="47"/>
                    <a:pt x="3" y="52"/>
                  </a:cubicBezTo>
                  <a:cubicBezTo>
                    <a:pt x="3" y="58"/>
                    <a:pt x="8" y="60"/>
                    <a:pt x="13" y="61"/>
                  </a:cubicBezTo>
                  <a:cubicBezTo>
                    <a:pt x="14" y="61"/>
                    <a:pt x="15" y="61"/>
                    <a:pt x="16" y="61"/>
                  </a:cubicBezTo>
                  <a:cubicBezTo>
                    <a:pt x="18" y="59"/>
                    <a:pt x="20" y="58"/>
                    <a:pt x="22" y="56"/>
                  </a:cubicBezTo>
                  <a:cubicBezTo>
                    <a:pt x="25" y="53"/>
                    <a:pt x="27" y="53"/>
                    <a:pt x="31" y="53"/>
                  </a:cubicBezTo>
                  <a:cubicBezTo>
                    <a:pt x="33" y="53"/>
                    <a:pt x="35" y="52"/>
                    <a:pt x="36" y="50"/>
                  </a:cubicBezTo>
                  <a:cubicBezTo>
                    <a:pt x="38" y="43"/>
                    <a:pt x="40" y="37"/>
                    <a:pt x="45" y="32"/>
                  </a:cubicBezTo>
                  <a:cubicBezTo>
                    <a:pt x="46" y="31"/>
                    <a:pt x="46" y="30"/>
                    <a:pt x="46" y="29"/>
                  </a:cubicBezTo>
                  <a:cubicBezTo>
                    <a:pt x="48" y="24"/>
                    <a:pt x="49" y="19"/>
                    <a:pt x="51" y="14"/>
                  </a:cubicBezTo>
                  <a:cubicBezTo>
                    <a:pt x="51" y="13"/>
                    <a:pt x="51" y="12"/>
                    <a:pt x="51" y="11"/>
                  </a:cubicBezTo>
                  <a:cubicBezTo>
                    <a:pt x="52" y="8"/>
                    <a:pt x="50" y="6"/>
                    <a:pt x="47"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49"/>
            <p:cNvSpPr>
              <a:spLocks/>
            </p:cNvSpPr>
            <p:nvPr/>
          </p:nvSpPr>
          <p:spPr bwMode="auto">
            <a:xfrm>
              <a:off x="3480593" y="1346099"/>
              <a:ext cx="119573" cy="134973"/>
            </a:xfrm>
            <a:custGeom>
              <a:avLst/>
              <a:gdLst>
                <a:gd name="T0" fmla="*/ 8 w 56"/>
                <a:gd name="T1" fmla="*/ 26 h 63"/>
                <a:gd name="T2" fmla="*/ 8 w 56"/>
                <a:gd name="T3" fmla="*/ 28 h 63"/>
                <a:gd name="T4" fmla="*/ 8 w 56"/>
                <a:gd name="T5" fmla="*/ 35 h 63"/>
                <a:gd name="T6" fmla="*/ 12 w 56"/>
                <a:gd name="T7" fmla="*/ 52 h 63"/>
                <a:gd name="T8" fmla="*/ 18 w 56"/>
                <a:gd name="T9" fmla="*/ 62 h 63"/>
                <a:gd name="T10" fmla="*/ 21 w 56"/>
                <a:gd name="T11" fmla="*/ 63 h 63"/>
                <a:gd name="T12" fmla="*/ 24 w 56"/>
                <a:gd name="T13" fmla="*/ 61 h 63"/>
                <a:gd name="T14" fmla="*/ 42 w 56"/>
                <a:gd name="T15" fmla="*/ 46 h 63"/>
                <a:gd name="T16" fmla="*/ 51 w 56"/>
                <a:gd name="T17" fmla="*/ 39 h 63"/>
                <a:gd name="T18" fmla="*/ 55 w 56"/>
                <a:gd name="T19" fmla="*/ 33 h 63"/>
                <a:gd name="T20" fmla="*/ 56 w 56"/>
                <a:gd name="T21" fmla="*/ 28 h 63"/>
                <a:gd name="T22" fmla="*/ 52 w 56"/>
                <a:gd name="T23" fmla="*/ 21 h 63"/>
                <a:gd name="T24" fmla="*/ 43 w 56"/>
                <a:gd name="T25" fmla="*/ 14 h 63"/>
                <a:gd name="T26" fmla="*/ 28 w 56"/>
                <a:gd name="T27" fmla="*/ 8 h 63"/>
                <a:gd name="T28" fmla="*/ 14 w 56"/>
                <a:gd name="T29" fmla="*/ 2 h 63"/>
                <a:gd name="T30" fmla="*/ 7 w 56"/>
                <a:gd name="T31" fmla="*/ 0 h 63"/>
                <a:gd name="T32" fmla="*/ 5 w 56"/>
                <a:gd name="T33" fmla="*/ 1 h 63"/>
                <a:gd name="T34" fmla="*/ 3 w 56"/>
                <a:gd name="T35" fmla="*/ 16 h 63"/>
                <a:gd name="T36" fmla="*/ 8 w 56"/>
                <a:gd name="T37" fmla="*/ 2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63">
                  <a:moveTo>
                    <a:pt x="8" y="26"/>
                  </a:moveTo>
                  <a:cubicBezTo>
                    <a:pt x="8" y="27"/>
                    <a:pt x="8" y="29"/>
                    <a:pt x="8" y="28"/>
                  </a:cubicBezTo>
                  <a:cubicBezTo>
                    <a:pt x="8" y="32"/>
                    <a:pt x="8" y="33"/>
                    <a:pt x="8" y="35"/>
                  </a:cubicBezTo>
                  <a:cubicBezTo>
                    <a:pt x="9" y="40"/>
                    <a:pt x="10" y="46"/>
                    <a:pt x="12" y="52"/>
                  </a:cubicBezTo>
                  <a:cubicBezTo>
                    <a:pt x="13" y="56"/>
                    <a:pt x="15" y="60"/>
                    <a:pt x="18" y="62"/>
                  </a:cubicBezTo>
                  <a:cubicBezTo>
                    <a:pt x="19" y="63"/>
                    <a:pt x="21" y="63"/>
                    <a:pt x="21" y="63"/>
                  </a:cubicBezTo>
                  <a:cubicBezTo>
                    <a:pt x="22" y="63"/>
                    <a:pt x="23" y="62"/>
                    <a:pt x="24" y="61"/>
                  </a:cubicBezTo>
                  <a:cubicBezTo>
                    <a:pt x="30" y="53"/>
                    <a:pt x="31" y="53"/>
                    <a:pt x="42" y="46"/>
                  </a:cubicBezTo>
                  <a:cubicBezTo>
                    <a:pt x="45" y="44"/>
                    <a:pt x="48" y="42"/>
                    <a:pt x="51" y="39"/>
                  </a:cubicBezTo>
                  <a:cubicBezTo>
                    <a:pt x="53" y="37"/>
                    <a:pt x="54" y="35"/>
                    <a:pt x="55" y="33"/>
                  </a:cubicBezTo>
                  <a:cubicBezTo>
                    <a:pt x="56" y="31"/>
                    <a:pt x="56" y="29"/>
                    <a:pt x="56" y="28"/>
                  </a:cubicBezTo>
                  <a:cubicBezTo>
                    <a:pt x="55" y="26"/>
                    <a:pt x="53" y="24"/>
                    <a:pt x="52" y="21"/>
                  </a:cubicBezTo>
                  <a:cubicBezTo>
                    <a:pt x="50" y="18"/>
                    <a:pt x="47" y="15"/>
                    <a:pt x="43" y="14"/>
                  </a:cubicBezTo>
                  <a:cubicBezTo>
                    <a:pt x="38" y="13"/>
                    <a:pt x="33" y="10"/>
                    <a:pt x="28" y="8"/>
                  </a:cubicBezTo>
                  <a:cubicBezTo>
                    <a:pt x="23" y="6"/>
                    <a:pt x="18" y="5"/>
                    <a:pt x="14" y="2"/>
                  </a:cubicBezTo>
                  <a:cubicBezTo>
                    <a:pt x="12" y="0"/>
                    <a:pt x="10" y="0"/>
                    <a:pt x="7" y="0"/>
                  </a:cubicBezTo>
                  <a:cubicBezTo>
                    <a:pt x="7" y="0"/>
                    <a:pt x="5" y="0"/>
                    <a:pt x="5" y="1"/>
                  </a:cubicBezTo>
                  <a:cubicBezTo>
                    <a:pt x="2" y="6"/>
                    <a:pt x="0" y="10"/>
                    <a:pt x="3" y="16"/>
                  </a:cubicBezTo>
                  <a:cubicBezTo>
                    <a:pt x="5" y="19"/>
                    <a:pt x="7" y="22"/>
                    <a:pt x="8" y="2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50"/>
            <p:cNvSpPr>
              <a:spLocks/>
            </p:cNvSpPr>
            <p:nvPr/>
          </p:nvSpPr>
          <p:spPr bwMode="auto">
            <a:xfrm>
              <a:off x="5168207" y="4362607"/>
              <a:ext cx="141314" cy="127726"/>
            </a:xfrm>
            <a:custGeom>
              <a:avLst/>
              <a:gdLst>
                <a:gd name="T0" fmla="*/ 48 w 66"/>
                <a:gd name="T1" fmla="*/ 0 h 60"/>
                <a:gd name="T2" fmla="*/ 47 w 66"/>
                <a:gd name="T3" fmla="*/ 2 h 60"/>
                <a:gd name="T4" fmla="*/ 44 w 66"/>
                <a:gd name="T5" fmla="*/ 11 h 60"/>
                <a:gd name="T6" fmla="*/ 37 w 66"/>
                <a:gd name="T7" fmla="*/ 17 h 60"/>
                <a:gd name="T8" fmla="*/ 34 w 66"/>
                <a:gd name="T9" fmla="*/ 20 h 60"/>
                <a:gd name="T10" fmla="*/ 30 w 66"/>
                <a:gd name="T11" fmla="*/ 23 h 60"/>
                <a:gd name="T12" fmla="*/ 26 w 66"/>
                <a:gd name="T13" fmla="*/ 22 h 60"/>
                <a:gd name="T14" fmla="*/ 15 w 66"/>
                <a:gd name="T15" fmla="*/ 22 h 60"/>
                <a:gd name="T16" fmla="*/ 6 w 66"/>
                <a:gd name="T17" fmla="*/ 28 h 60"/>
                <a:gd name="T18" fmla="*/ 0 w 66"/>
                <a:gd name="T19" fmla="*/ 38 h 60"/>
                <a:gd name="T20" fmla="*/ 0 w 66"/>
                <a:gd name="T21" fmla="*/ 38 h 60"/>
                <a:gd name="T22" fmla="*/ 1 w 66"/>
                <a:gd name="T23" fmla="*/ 41 h 60"/>
                <a:gd name="T24" fmla="*/ 4 w 66"/>
                <a:gd name="T25" fmla="*/ 41 h 60"/>
                <a:gd name="T26" fmla="*/ 9 w 66"/>
                <a:gd name="T27" fmla="*/ 36 h 60"/>
                <a:gd name="T28" fmla="*/ 23 w 66"/>
                <a:gd name="T29" fmla="*/ 35 h 60"/>
                <a:gd name="T30" fmla="*/ 28 w 66"/>
                <a:gd name="T31" fmla="*/ 39 h 60"/>
                <a:gd name="T32" fmla="*/ 28 w 66"/>
                <a:gd name="T33" fmla="*/ 45 h 60"/>
                <a:gd name="T34" fmla="*/ 39 w 66"/>
                <a:gd name="T35" fmla="*/ 59 h 60"/>
                <a:gd name="T36" fmla="*/ 47 w 66"/>
                <a:gd name="T37" fmla="*/ 60 h 60"/>
                <a:gd name="T38" fmla="*/ 52 w 66"/>
                <a:gd name="T39" fmla="*/ 58 h 60"/>
                <a:gd name="T40" fmla="*/ 53 w 66"/>
                <a:gd name="T41" fmla="*/ 52 h 60"/>
                <a:gd name="T42" fmla="*/ 51 w 66"/>
                <a:gd name="T43" fmla="*/ 44 h 60"/>
                <a:gd name="T44" fmla="*/ 54 w 66"/>
                <a:gd name="T45" fmla="*/ 42 h 60"/>
                <a:gd name="T46" fmla="*/ 56 w 66"/>
                <a:gd name="T47" fmla="*/ 44 h 60"/>
                <a:gd name="T48" fmla="*/ 61 w 66"/>
                <a:gd name="T49" fmla="*/ 45 h 60"/>
                <a:gd name="T50" fmla="*/ 64 w 66"/>
                <a:gd name="T51" fmla="*/ 34 h 60"/>
                <a:gd name="T52" fmla="*/ 60 w 66"/>
                <a:gd name="T53" fmla="*/ 19 h 60"/>
                <a:gd name="T54" fmla="*/ 56 w 66"/>
                <a:gd name="T55" fmla="*/ 11 h 60"/>
                <a:gd name="T56" fmla="*/ 49 w 66"/>
                <a:gd name="T57" fmla="*/ 2 h 60"/>
                <a:gd name="T58" fmla="*/ 48 w 66"/>
                <a:gd name="T5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 h="60">
                  <a:moveTo>
                    <a:pt x="48" y="0"/>
                  </a:moveTo>
                  <a:cubicBezTo>
                    <a:pt x="47" y="1"/>
                    <a:pt x="47" y="1"/>
                    <a:pt x="47" y="2"/>
                  </a:cubicBezTo>
                  <a:cubicBezTo>
                    <a:pt x="46" y="5"/>
                    <a:pt x="46" y="8"/>
                    <a:pt x="44" y="11"/>
                  </a:cubicBezTo>
                  <a:cubicBezTo>
                    <a:pt x="42" y="13"/>
                    <a:pt x="39" y="15"/>
                    <a:pt x="37" y="17"/>
                  </a:cubicBezTo>
                  <a:cubicBezTo>
                    <a:pt x="36" y="18"/>
                    <a:pt x="35" y="19"/>
                    <a:pt x="34" y="20"/>
                  </a:cubicBezTo>
                  <a:cubicBezTo>
                    <a:pt x="32" y="21"/>
                    <a:pt x="31" y="22"/>
                    <a:pt x="30" y="23"/>
                  </a:cubicBezTo>
                  <a:cubicBezTo>
                    <a:pt x="28" y="25"/>
                    <a:pt x="27" y="23"/>
                    <a:pt x="26" y="22"/>
                  </a:cubicBezTo>
                  <a:cubicBezTo>
                    <a:pt x="22" y="19"/>
                    <a:pt x="20" y="17"/>
                    <a:pt x="15" y="22"/>
                  </a:cubicBezTo>
                  <a:cubicBezTo>
                    <a:pt x="12" y="25"/>
                    <a:pt x="9" y="26"/>
                    <a:pt x="6" y="28"/>
                  </a:cubicBezTo>
                  <a:cubicBezTo>
                    <a:pt x="2" y="30"/>
                    <a:pt x="0" y="33"/>
                    <a:pt x="0" y="38"/>
                  </a:cubicBezTo>
                  <a:cubicBezTo>
                    <a:pt x="0" y="37"/>
                    <a:pt x="0" y="38"/>
                    <a:pt x="0" y="38"/>
                  </a:cubicBezTo>
                  <a:cubicBezTo>
                    <a:pt x="0" y="39"/>
                    <a:pt x="0" y="41"/>
                    <a:pt x="1" y="41"/>
                  </a:cubicBezTo>
                  <a:cubicBezTo>
                    <a:pt x="2" y="42"/>
                    <a:pt x="3" y="41"/>
                    <a:pt x="4" y="41"/>
                  </a:cubicBezTo>
                  <a:cubicBezTo>
                    <a:pt x="6" y="39"/>
                    <a:pt x="7" y="38"/>
                    <a:pt x="9" y="36"/>
                  </a:cubicBezTo>
                  <a:cubicBezTo>
                    <a:pt x="14" y="37"/>
                    <a:pt x="18" y="37"/>
                    <a:pt x="23" y="35"/>
                  </a:cubicBezTo>
                  <a:cubicBezTo>
                    <a:pt x="25" y="35"/>
                    <a:pt x="28" y="38"/>
                    <a:pt x="28" y="39"/>
                  </a:cubicBezTo>
                  <a:cubicBezTo>
                    <a:pt x="28" y="41"/>
                    <a:pt x="28" y="43"/>
                    <a:pt x="28" y="45"/>
                  </a:cubicBezTo>
                  <a:cubicBezTo>
                    <a:pt x="28" y="52"/>
                    <a:pt x="32" y="57"/>
                    <a:pt x="39" y="59"/>
                  </a:cubicBezTo>
                  <a:cubicBezTo>
                    <a:pt x="42" y="59"/>
                    <a:pt x="45" y="60"/>
                    <a:pt x="47" y="60"/>
                  </a:cubicBezTo>
                  <a:cubicBezTo>
                    <a:pt x="49" y="60"/>
                    <a:pt x="51" y="59"/>
                    <a:pt x="52" y="58"/>
                  </a:cubicBezTo>
                  <a:cubicBezTo>
                    <a:pt x="53" y="57"/>
                    <a:pt x="54" y="55"/>
                    <a:pt x="53" y="52"/>
                  </a:cubicBezTo>
                  <a:cubicBezTo>
                    <a:pt x="53" y="49"/>
                    <a:pt x="50" y="47"/>
                    <a:pt x="51" y="44"/>
                  </a:cubicBezTo>
                  <a:cubicBezTo>
                    <a:pt x="52" y="43"/>
                    <a:pt x="53" y="42"/>
                    <a:pt x="54" y="42"/>
                  </a:cubicBezTo>
                  <a:cubicBezTo>
                    <a:pt x="55" y="42"/>
                    <a:pt x="55" y="43"/>
                    <a:pt x="56" y="44"/>
                  </a:cubicBezTo>
                  <a:cubicBezTo>
                    <a:pt x="58" y="47"/>
                    <a:pt x="58" y="47"/>
                    <a:pt x="61" y="45"/>
                  </a:cubicBezTo>
                  <a:cubicBezTo>
                    <a:pt x="64" y="42"/>
                    <a:pt x="66" y="38"/>
                    <a:pt x="64" y="34"/>
                  </a:cubicBezTo>
                  <a:cubicBezTo>
                    <a:pt x="62" y="29"/>
                    <a:pt x="61" y="24"/>
                    <a:pt x="60" y="19"/>
                  </a:cubicBezTo>
                  <a:cubicBezTo>
                    <a:pt x="59" y="15"/>
                    <a:pt x="59" y="13"/>
                    <a:pt x="56" y="11"/>
                  </a:cubicBezTo>
                  <a:cubicBezTo>
                    <a:pt x="53" y="8"/>
                    <a:pt x="50" y="6"/>
                    <a:pt x="49" y="2"/>
                  </a:cubicBezTo>
                  <a:cubicBezTo>
                    <a:pt x="49" y="0"/>
                    <a:pt x="48" y="0"/>
                    <a:pt x="48"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51"/>
            <p:cNvSpPr>
              <a:spLocks/>
            </p:cNvSpPr>
            <p:nvPr/>
          </p:nvSpPr>
          <p:spPr bwMode="auto">
            <a:xfrm>
              <a:off x="3928087" y="4372572"/>
              <a:ext cx="72469" cy="115950"/>
            </a:xfrm>
            <a:custGeom>
              <a:avLst/>
              <a:gdLst>
                <a:gd name="T0" fmla="*/ 10 w 34"/>
                <a:gd name="T1" fmla="*/ 2 h 54"/>
                <a:gd name="T2" fmla="*/ 6 w 34"/>
                <a:gd name="T3" fmla="*/ 1 h 54"/>
                <a:gd name="T4" fmla="*/ 3 w 34"/>
                <a:gd name="T5" fmla="*/ 2 h 54"/>
                <a:gd name="T6" fmla="*/ 4 w 34"/>
                <a:gd name="T7" fmla="*/ 6 h 54"/>
                <a:gd name="T8" fmla="*/ 0 w 34"/>
                <a:gd name="T9" fmla="*/ 24 h 54"/>
                <a:gd name="T10" fmla="*/ 5 w 34"/>
                <a:gd name="T11" fmla="*/ 48 h 54"/>
                <a:gd name="T12" fmla="*/ 14 w 34"/>
                <a:gd name="T13" fmla="*/ 53 h 54"/>
                <a:gd name="T14" fmla="*/ 29 w 34"/>
                <a:gd name="T15" fmla="*/ 31 h 54"/>
                <a:gd name="T16" fmla="*/ 10 w 34"/>
                <a:gd name="T17"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4">
                  <a:moveTo>
                    <a:pt x="10" y="2"/>
                  </a:moveTo>
                  <a:cubicBezTo>
                    <a:pt x="9" y="1"/>
                    <a:pt x="7" y="1"/>
                    <a:pt x="6" y="1"/>
                  </a:cubicBezTo>
                  <a:cubicBezTo>
                    <a:pt x="4" y="0"/>
                    <a:pt x="3" y="1"/>
                    <a:pt x="3" y="2"/>
                  </a:cubicBezTo>
                  <a:cubicBezTo>
                    <a:pt x="4" y="4"/>
                    <a:pt x="5" y="6"/>
                    <a:pt x="4" y="6"/>
                  </a:cubicBezTo>
                  <a:cubicBezTo>
                    <a:pt x="0" y="12"/>
                    <a:pt x="2" y="19"/>
                    <a:pt x="0" y="24"/>
                  </a:cubicBezTo>
                  <a:cubicBezTo>
                    <a:pt x="0" y="34"/>
                    <a:pt x="2" y="41"/>
                    <a:pt x="5" y="48"/>
                  </a:cubicBezTo>
                  <a:cubicBezTo>
                    <a:pt x="6" y="52"/>
                    <a:pt x="10" y="54"/>
                    <a:pt x="14" y="53"/>
                  </a:cubicBezTo>
                  <a:cubicBezTo>
                    <a:pt x="25" y="53"/>
                    <a:pt x="34" y="42"/>
                    <a:pt x="29" y="31"/>
                  </a:cubicBezTo>
                  <a:cubicBezTo>
                    <a:pt x="25" y="20"/>
                    <a:pt x="18" y="11"/>
                    <a:pt x="10" y="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52"/>
            <p:cNvSpPr>
              <a:spLocks/>
            </p:cNvSpPr>
            <p:nvPr/>
          </p:nvSpPr>
          <p:spPr bwMode="auto">
            <a:xfrm>
              <a:off x="2427080" y="1442120"/>
              <a:ext cx="78810" cy="92398"/>
            </a:xfrm>
            <a:custGeom>
              <a:avLst/>
              <a:gdLst>
                <a:gd name="T0" fmla="*/ 6 w 37"/>
                <a:gd name="T1" fmla="*/ 19 h 43"/>
                <a:gd name="T2" fmla="*/ 0 w 37"/>
                <a:gd name="T3" fmla="*/ 26 h 43"/>
                <a:gd name="T4" fmla="*/ 4 w 37"/>
                <a:gd name="T5" fmla="*/ 30 h 43"/>
                <a:gd name="T6" fmla="*/ 4 w 37"/>
                <a:gd name="T7" fmla="*/ 34 h 43"/>
                <a:gd name="T8" fmla="*/ 10 w 37"/>
                <a:gd name="T9" fmla="*/ 42 h 43"/>
                <a:gd name="T10" fmla="*/ 15 w 37"/>
                <a:gd name="T11" fmla="*/ 43 h 43"/>
                <a:gd name="T12" fmla="*/ 21 w 37"/>
                <a:gd name="T13" fmla="*/ 40 h 43"/>
                <a:gd name="T14" fmla="*/ 24 w 37"/>
                <a:gd name="T15" fmla="*/ 33 h 43"/>
                <a:gd name="T16" fmla="*/ 26 w 37"/>
                <a:gd name="T17" fmla="*/ 28 h 43"/>
                <a:gd name="T18" fmla="*/ 35 w 37"/>
                <a:gd name="T19" fmla="*/ 16 h 43"/>
                <a:gd name="T20" fmla="*/ 36 w 37"/>
                <a:gd name="T21" fmla="*/ 9 h 43"/>
                <a:gd name="T22" fmla="*/ 29 w 37"/>
                <a:gd name="T23" fmla="*/ 1 h 43"/>
                <a:gd name="T24" fmla="*/ 26 w 37"/>
                <a:gd name="T25" fmla="*/ 0 h 43"/>
                <a:gd name="T26" fmla="*/ 19 w 37"/>
                <a:gd name="T27" fmla="*/ 8 h 43"/>
                <a:gd name="T28" fmla="*/ 13 w 37"/>
                <a:gd name="T29" fmla="*/ 16 h 43"/>
                <a:gd name="T30" fmla="*/ 14 w 37"/>
                <a:gd name="T31" fmla="*/ 16 h 43"/>
                <a:gd name="T32" fmla="*/ 13 w 37"/>
                <a:gd name="T33" fmla="*/ 16 h 43"/>
                <a:gd name="T34" fmla="*/ 13 w 37"/>
                <a:gd name="T35" fmla="*/ 16 h 43"/>
                <a:gd name="T36" fmla="*/ 6 w 37"/>
                <a:gd name="T37"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43">
                  <a:moveTo>
                    <a:pt x="6" y="19"/>
                  </a:moveTo>
                  <a:cubicBezTo>
                    <a:pt x="2" y="19"/>
                    <a:pt x="1" y="22"/>
                    <a:pt x="0" y="26"/>
                  </a:cubicBezTo>
                  <a:cubicBezTo>
                    <a:pt x="5" y="26"/>
                    <a:pt x="5" y="26"/>
                    <a:pt x="4" y="30"/>
                  </a:cubicBezTo>
                  <a:cubicBezTo>
                    <a:pt x="4" y="31"/>
                    <a:pt x="4" y="33"/>
                    <a:pt x="4" y="34"/>
                  </a:cubicBezTo>
                  <a:cubicBezTo>
                    <a:pt x="4" y="38"/>
                    <a:pt x="6" y="41"/>
                    <a:pt x="10" y="42"/>
                  </a:cubicBezTo>
                  <a:cubicBezTo>
                    <a:pt x="12" y="42"/>
                    <a:pt x="14" y="42"/>
                    <a:pt x="15" y="43"/>
                  </a:cubicBezTo>
                  <a:cubicBezTo>
                    <a:pt x="18" y="43"/>
                    <a:pt x="19" y="42"/>
                    <a:pt x="21" y="40"/>
                  </a:cubicBezTo>
                  <a:cubicBezTo>
                    <a:pt x="22" y="38"/>
                    <a:pt x="24" y="36"/>
                    <a:pt x="24" y="33"/>
                  </a:cubicBezTo>
                  <a:cubicBezTo>
                    <a:pt x="24" y="31"/>
                    <a:pt x="25" y="29"/>
                    <a:pt x="26" y="28"/>
                  </a:cubicBezTo>
                  <a:cubicBezTo>
                    <a:pt x="31" y="25"/>
                    <a:pt x="31" y="19"/>
                    <a:pt x="35" y="16"/>
                  </a:cubicBezTo>
                  <a:cubicBezTo>
                    <a:pt x="37" y="15"/>
                    <a:pt x="37" y="11"/>
                    <a:pt x="36" y="9"/>
                  </a:cubicBezTo>
                  <a:cubicBezTo>
                    <a:pt x="33" y="6"/>
                    <a:pt x="31" y="4"/>
                    <a:pt x="29" y="1"/>
                  </a:cubicBezTo>
                  <a:cubicBezTo>
                    <a:pt x="28" y="0"/>
                    <a:pt x="27" y="0"/>
                    <a:pt x="26" y="0"/>
                  </a:cubicBezTo>
                  <a:cubicBezTo>
                    <a:pt x="21" y="1"/>
                    <a:pt x="19" y="2"/>
                    <a:pt x="19" y="8"/>
                  </a:cubicBezTo>
                  <a:cubicBezTo>
                    <a:pt x="19" y="12"/>
                    <a:pt x="17" y="14"/>
                    <a:pt x="13" y="16"/>
                  </a:cubicBezTo>
                  <a:cubicBezTo>
                    <a:pt x="14" y="16"/>
                    <a:pt x="14" y="16"/>
                    <a:pt x="14" y="16"/>
                  </a:cubicBezTo>
                  <a:cubicBezTo>
                    <a:pt x="13" y="16"/>
                    <a:pt x="13" y="16"/>
                    <a:pt x="13" y="16"/>
                  </a:cubicBezTo>
                  <a:cubicBezTo>
                    <a:pt x="13" y="16"/>
                    <a:pt x="13" y="16"/>
                    <a:pt x="13" y="16"/>
                  </a:cubicBezTo>
                  <a:cubicBezTo>
                    <a:pt x="11" y="18"/>
                    <a:pt x="9" y="19"/>
                    <a:pt x="6" y="1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53"/>
            <p:cNvSpPr>
              <a:spLocks/>
            </p:cNvSpPr>
            <p:nvPr/>
          </p:nvSpPr>
          <p:spPr bwMode="auto">
            <a:xfrm>
              <a:off x="5064939" y="3887032"/>
              <a:ext cx="51634" cy="113232"/>
            </a:xfrm>
            <a:custGeom>
              <a:avLst/>
              <a:gdLst>
                <a:gd name="T0" fmla="*/ 18 w 24"/>
                <a:gd name="T1" fmla="*/ 1 h 53"/>
                <a:gd name="T2" fmla="*/ 15 w 24"/>
                <a:gd name="T3" fmla="*/ 1 h 53"/>
                <a:gd name="T4" fmla="*/ 8 w 24"/>
                <a:gd name="T5" fmla="*/ 8 h 53"/>
                <a:gd name="T6" fmla="*/ 3 w 24"/>
                <a:gd name="T7" fmla="*/ 18 h 53"/>
                <a:gd name="T8" fmla="*/ 1 w 24"/>
                <a:gd name="T9" fmla="*/ 29 h 53"/>
                <a:gd name="T10" fmla="*/ 8 w 24"/>
                <a:gd name="T11" fmla="*/ 48 h 53"/>
                <a:gd name="T12" fmla="*/ 13 w 24"/>
                <a:gd name="T13" fmla="*/ 52 h 53"/>
                <a:gd name="T14" fmla="*/ 15 w 24"/>
                <a:gd name="T15" fmla="*/ 51 h 53"/>
                <a:gd name="T16" fmla="*/ 17 w 24"/>
                <a:gd name="T17" fmla="*/ 44 h 53"/>
                <a:gd name="T18" fmla="*/ 22 w 24"/>
                <a:gd name="T19" fmla="*/ 24 h 53"/>
                <a:gd name="T20" fmla="*/ 24 w 24"/>
                <a:gd name="T21" fmla="*/ 9 h 53"/>
                <a:gd name="T22" fmla="*/ 18 w 24"/>
                <a:gd name="T23"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53">
                  <a:moveTo>
                    <a:pt x="18" y="1"/>
                  </a:moveTo>
                  <a:cubicBezTo>
                    <a:pt x="17" y="0"/>
                    <a:pt x="15" y="0"/>
                    <a:pt x="15" y="1"/>
                  </a:cubicBezTo>
                  <a:cubicBezTo>
                    <a:pt x="12" y="3"/>
                    <a:pt x="10" y="5"/>
                    <a:pt x="8" y="8"/>
                  </a:cubicBezTo>
                  <a:cubicBezTo>
                    <a:pt x="6" y="11"/>
                    <a:pt x="5" y="14"/>
                    <a:pt x="3" y="18"/>
                  </a:cubicBezTo>
                  <a:cubicBezTo>
                    <a:pt x="1" y="21"/>
                    <a:pt x="0" y="25"/>
                    <a:pt x="1" y="29"/>
                  </a:cubicBezTo>
                  <a:cubicBezTo>
                    <a:pt x="1" y="37"/>
                    <a:pt x="2" y="43"/>
                    <a:pt x="8" y="48"/>
                  </a:cubicBezTo>
                  <a:cubicBezTo>
                    <a:pt x="10" y="49"/>
                    <a:pt x="11" y="51"/>
                    <a:pt x="13" y="52"/>
                  </a:cubicBezTo>
                  <a:cubicBezTo>
                    <a:pt x="14" y="53"/>
                    <a:pt x="15" y="53"/>
                    <a:pt x="15" y="51"/>
                  </a:cubicBezTo>
                  <a:cubicBezTo>
                    <a:pt x="16" y="49"/>
                    <a:pt x="16" y="46"/>
                    <a:pt x="17" y="44"/>
                  </a:cubicBezTo>
                  <a:cubicBezTo>
                    <a:pt x="21" y="38"/>
                    <a:pt x="22" y="31"/>
                    <a:pt x="22" y="24"/>
                  </a:cubicBezTo>
                  <a:cubicBezTo>
                    <a:pt x="22" y="19"/>
                    <a:pt x="23" y="14"/>
                    <a:pt x="24" y="9"/>
                  </a:cubicBezTo>
                  <a:cubicBezTo>
                    <a:pt x="24" y="6"/>
                    <a:pt x="22" y="2"/>
                    <a:pt x="18"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54"/>
            <p:cNvSpPr>
              <a:spLocks noEditPoints="1"/>
            </p:cNvSpPr>
            <p:nvPr/>
          </p:nvSpPr>
          <p:spPr bwMode="auto">
            <a:xfrm>
              <a:off x="2546653" y="1356970"/>
              <a:ext cx="79716" cy="102362"/>
            </a:xfrm>
            <a:custGeom>
              <a:avLst/>
              <a:gdLst>
                <a:gd name="T0" fmla="*/ 8 w 37"/>
                <a:gd name="T1" fmla="*/ 35 h 48"/>
                <a:gd name="T2" fmla="*/ 10 w 37"/>
                <a:gd name="T3" fmla="*/ 37 h 48"/>
                <a:gd name="T4" fmla="*/ 10 w 37"/>
                <a:gd name="T5" fmla="*/ 37 h 48"/>
                <a:gd name="T6" fmla="*/ 11 w 37"/>
                <a:gd name="T7" fmla="*/ 38 h 48"/>
                <a:gd name="T8" fmla="*/ 10 w 37"/>
                <a:gd name="T9" fmla="*/ 37 h 48"/>
                <a:gd name="T10" fmla="*/ 10 w 37"/>
                <a:gd name="T11" fmla="*/ 37 h 48"/>
                <a:gd name="T12" fmla="*/ 4 w 37"/>
                <a:gd name="T13" fmla="*/ 39 h 48"/>
                <a:gd name="T14" fmla="*/ 2 w 37"/>
                <a:gd name="T15" fmla="*/ 41 h 48"/>
                <a:gd name="T16" fmla="*/ 4 w 37"/>
                <a:gd name="T17" fmla="*/ 44 h 48"/>
                <a:gd name="T18" fmla="*/ 18 w 37"/>
                <a:gd name="T19" fmla="*/ 48 h 48"/>
                <a:gd name="T20" fmla="*/ 23 w 37"/>
                <a:gd name="T21" fmla="*/ 47 h 48"/>
                <a:gd name="T22" fmla="*/ 25 w 37"/>
                <a:gd name="T23" fmla="*/ 46 h 48"/>
                <a:gd name="T24" fmla="*/ 35 w 37"/>
                <a:gd name="T25" fmla="*/ 36 h 48"/>
                <a:gd name="T26" fmla="*/ 35 w 37"/>
                <a:gd name="T27" fmla="*/ 29 h 48"/>
                <a:gd name="T28" fmla="*/ 33 w 37"/>
                <a:gd name="T29" fmla="*/ 28 h 48"/>
                <a:gd name="T30" fmla="*/ 34 w 37"/>
                <a:gd name="T31" fmla="*/ 28 h 48"/>
                <a:gd name="T32" fmla="*/ 33 w 37"/>
                <a:gd name="T33" fmla="*/ 28 h 48"/>
                <a:gd name="T34" fmla="*/ 33 w 37"/>
                <a:gd name="T35" fmla="*/ 28 h 48"/>
                <a:gd name="T36" fmla="*/ 30 w 37"/>
                <a:gd name="T37" fmla="*/ 28 h 48"/>
                <a:gd name="T38" fmla="*/ 30 w 37"/>
                <a:gd name="T39" fmla="*/ 28 h 48"/>
                <a:gd name="T40" fmla="*/ 30 w 37"/>
                <a:gd name="T41" fmla="*/ 28 h 48"/>
                <a:gd name="T42" fmla="*/ 30 w 37"/>
                <a:gd name="T43" fmla="*/ 28 h 48"/>
                <a:gd name="T44" fmla="*/ 24 w 37"/>
                <a:gd name="T45" fmla="*/ 25 h 48"/>
                <a:gd name="T46" fmla="*/ 23 w 37"/>
                <a:gd name="T47" fmla="*/ 23 h 48"/>
                <a:gd name="T48" fmla="*/ 22 w 37"/>
                <a:gd name="T49" fmla="*/ 5 h 48"/>
                <a:gd name="T50" fmla="*/ 20 w 37"/>
                <a:gd name="T51" fmla="*/ 2 h 48"/>
                <a:gd name="T52" fmla="*/ 10 w 37"/>
                <a:gd name="T53" fmla="*/ 6 h 48"/>
                <a:gd name="T54" fmla="*/ 7 w 37"/>
                <a:gd name="T55" fmla="*/ 21 h 48"/>
                <a:gd name="T56" fmla="*/ 8 w 37"/>
                <a:gd name="T57" fmla="*/ 25 h 48"/>
                <a:gd name="T58" fmla="*/ 10 w 37"/>
                <a:gd name="T59" fmla="*/ 26 h 48"/>
                <a:gd name="T60" fmla="*/ 8 w 37"/>
                <a:gd name="T61" fmla="*/ 27 h 48"/>
                <a:gd name="T62" fmla="*/ 1 w 37"/>
                <a:gd name="T63" fmla="*/ 30 h 48"/>
                <a:gd name="T64" fmla="*/ 8 w 37"/>
                <a:gd name="T65" fmla="*/ 35 h 48"/>
                <a:gd name="T66" fmla="*/ 20 w 37"/>
                <a:gd name="T67" fmla="*/ 31 h 48"/>
                <a:gd name="T68" fmla="*/ 21 w 37"/>
                <a:gd name="T69" fmla="*/ 32 h 48"/>
                <a:gd name="T70" fmla="*/ 19 w 37"/>
                <a:gd name="T71" fmla="*/ 31 h 48"/>
                <a:gd name="T72" fmla="*/ 19 w 37"/>
                <a:gd name="T73" fmla="*/ 30 h 48"/>
                <a:gd name="T74" fmla="*/ 20 w 37"/>
                <a:gd name="T75" fmla="*/ 3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 h="48">
                  <a:moveTo>
                    <a:pt x="8" y="35"/>
                  </a:moveTo>
                  <a:cubicBezTo>
                    <a:pt x="8" y="36"/>
                    <a:pt x="9" y="36"/>
                    <a:pt x="10" y="37"/>
                  </a:cubicBezTo>
                  <a:cubicBezTo>
                    <a:pt x="10" y="37"/>
                    <a:pt x="10" y="37"/>
                    <a:pt x="10" y="37"/>
                  </a:cubicBezTo>
                  <a:cubicBezTo>
                    <a:pt x="11" y="38"/>
                    <a:pt x="11" y="38"/>
                    <a:pt x="11" y="38"/>
                  </a:cubicBezTo>
                  <a:cubicBezTo>
                    <a:pt x="10" y="37"/>
                    <a:pt x="10" y="37"/>
                    <a:pt x="10" y="37"/>
                  </a:cubicBezTo>
                  <a:cubicBezTo>
                    <a:pt x="10" y="37"/>
                    <a:pt x="10" y="37"/>
                    <a:pt x="10" y="37"/>
                  </a:cubicBezTo>
                  <a:cubicBezTo>
                    <a:pt x="8" y="38"/>
                    <a:pt x="6" y="38"/>
                    <a:pt x="4" y="39"/>
                  </a:cubicBezTo>
                  <a:cubicBezTo>
                    <a:pt x="3" y="39"/>
                    <a:pt x="2" y="40"/>
                    <a:pt x="2" y="41"/>
                  </a:cubicBezTo>
                  <a:cubicBezTo>
                    <a:pt x="2" y="42"/>
                    <a:pt x="3" y="43"/>
                    <a:pt x="4" y="44"/>
                  </a:cubicBezTo>
                  <a:cubicBezTo>
                    <a:pt x="8" y="46"/>
                    <a:pt x="14" y="45"/>
                    <a:pt x="18" y="48"/>
                  </a:cubicBezTo>
                  <a:cubicBezTo>
                    <a:pt x="19" y="48"/>
                    <a:pt x="21" y="48"/>
                    <a:pt x="23" y="47"/>
                  </a:cubicBezTo>
                  <a:cubicBezTo>
                    <a:pt x="24" y="47"/>
                    <a:pt x="25" y="47"/>
                    <a:pt x="25" y="46"/>
                  </a:cubicBezTo>
                  <a:cubicBezTo>
                    <a:pt x="27" y="41"/>
                    <a:pt x="31" y="39"/>
                    <a:pt x="35" y="36"/>
                  </a:cubicBezTo>
                  <a:cubicBezTo>
                    <a:pt x="37" y="34"/>
                    <a:pt x="37" y="32"/>
                    <a:pt x="35" y="29"/>
                  </a:cubicBezTo>
                  <a:cubicBezTo>
                    <a:pt x="34" y="29"/>
                    <a:pt x="34" y="28"/>
                    <a:pt x="33" y="28"/>
                  </a:cubicBezTo>
                  <a:cubicBezTo>
                    <a:pt x="34" y="28"/>
                    <a:pt x="34" y="28"/>
                    <a:pt x="34" y="28"/>
                  </a:cubicBezTo>
                  <a:cubicBezTo>
                    <a:pt x="34" y="28"/>
                    <a:pt x="33" y="28"/>
                    <a:pt x="33" y="28"/>
                  </a:cubicBezTo>
                  <a:cubicBezTo>
                    <a:pt x="33" y="28"/>
                    <a:pt x="33" y="28"/>
                    <a:pt x="33" y="28"/>
                  </a:cubicBezTo>
                  <a:cubicBezTo>
                    <a:pt x="32" y="29"/>
                    <a:pt x="31" y="29"/>
                    <a:pt x="30" y="28"/>
                  </a:cubicBezTo>
                  <a:cubicBezTo>
                    <a:pt x="30" y="28"/>
                    <a:pt x="30" y="28"/>
                    <a:pt x="30" y="28"/>
                  </a:cubicBezTo>
                  <a:cubicBezTo>
                    <a:pt x="30" y="28"/>
                    <a:pt x="30" y="28"/>
                    <a:pt x="30" y="28"/>
                  </a:cubicBezTo>
                  <a:cubicBezTo>
                    <a:pt x="30" y="28"/>
                    <a:pt x="30" y="28"/>
                    <a:pt x="30" y="28"/>
                  </a:cubicBezTo>
                  <a:cubicBezTo>
                    <a:pt x="28" y="27"/>
                    <a:pt x="26" y="27"/>
                    <a:pt x="24" y="25"/>
                  </a:cubicBezTo>
                  <a:cubicBezTo>
                    <a:pt x="24" y="25"/>
                    <a:pt x="23" y="24"/>
                    <a:pt x="23" y="23"/>
                  </a:cubicBezTo>
                  <a:cubicBezTo>
                    <a:pt x="24" y="17"/>
                    <a:pt x="19" y="11"/>
                    <a:pt x="22" y="5"/>
                  </a:cubicBezTo>
                  <a:cubicBezTo>
                    <a:pt x="22" y="4"/>
                    <a:pt x="21" y="3"/>
                    <a:pt x="20" y="2"/>
                  </a:cubicBezTo>
                  <a:cubicBezTo>
                    <a:pt x="15" y="0"/>
                    <a:pt x="11" y="2"/>
                    <a:pt x="10" y="6"/>
                  </a:cubicBezTo>
                  <a:cubicBezTo>
                    <a:pt x="10" y="11"/>
                    <a:pt x="10" y="17"/>
                    <a:pt x="7" y="21"/>
                  </a:cubicBezTo>
                  <a:cubicBezTo>
                    <a:pt x="6" y="23"/>
                    <a:pt x="7" y="24"/>
                    <a:pt x="8" y="25"/>
                  </a:cubicBezTo>
                  <a:cubicBezTo>
                    <a:pt x="9" y="25"/>
                    <a:pt x="9" y="25"/>
                    <a:pt x="10" y="26"/>
                  </a:cubicBezTo>
                  <a:cubicBezTo>
                    <a:pt x="10" y="27"/>
                    <a:pt x="9" y="27"/>
                    <a:pt x="8" y="27"/>
                  </a:cubicBezTo>
                  <a:cubicBezTo>
                    <a:pt x="5" y="28"/>
                    <a:pt x="1" y="27"/>
                    <a:pt x="1" y="30"/>
                  </a:cubicBezTo>
                  <a:cubicBezTo>
                    <a:pt x="0" y="35"/>
                    <a:pt x="5" y="34"/>
                    <a:pt x="8" y="35"/>
                  </a:cubicBezTo>
                  <a:close/>
                  <a:moveTo>
                    <a:pt x="20" y="31"/>
                  </a:moveTo>
                  <a:cubicBezTo>
                    <a:pt x="21" y="32"/>
                    <a:pt x="21" y="32"/>
                    <a:pt x="21" y="32"/>
                  </a:cubicBezTo>
                  <a:cubicBezTo>
                    <a:pt x="19" y="31"/>
                    <a:pt x="19" y="31"/>
                    <a:pt x="19" y="31"/>
                  </a:cubicBezTo>
                  <a:cubicBezTo>
                    <a:pt x="19" y="30"/>
                    <a:pt x="19" y="30"/>
                    <a:pt x="19" y="30"/>
                  </a:cubicBezTo>
                  <a:lnTo>
                    <a:pt x="20" y="31"/>
                  </a:ln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55"/>
            <p:cNvSpPr>
              <a:spLocks/>
            </p:cNvSpPr>
            <p:nvPr/>
          </p:nvSpPr>
          <p:spPr bwMode="auto">
            <a:xfrm>
              <a:off x="4602952" y="1339758"/>
              <a:ext cx="106891" cy="42575"/>
            </a:xfrm>
            <a:custGeom>
              <a:avLst/>
              <a:gdLst>
                <a:gd name="T0" fmla="*/ 8 w 50"/>
                <a:gd name="T1" fmla="*/ 14 h 20"/>
                <a:gd name="T2" fmla="*/ 33 w 50"/>
                <a:gd name="T3" fmla="*/ 20 h 20"/>
                <a:gd name="T4" fmla="*/ 40 w 50"/>
                <a:gd name="T5" fmla="*/ 19 h 20"/>
                <a:gd name="T6" fmla="*/ 49 w 50"/>
                <a:gd name="T7" fmla="*/ 11 h 20"/>
                <a:gd name="T8" fmla="*/ 49 w 50"/>
                <a:gd name="T9" fmla="*/ 7 h 20"/>
                <a:gd name="T10" fmla="*/ 37 w 50"/>
                <a:gd name="T11" fmla="*/ 0 h 20"/>
                <a:gd name="T12" fmla="*/ 26 w 50"/>
                <a:gd name="T13" fmla="*/ 2 h 20"/>
                <a:gd name="T14" fmla="*/ 13 w 50"/>
                <a:gd name="T15" fmla="*/ 1 h 20"/>
                <a:gd name="T16" fmla="*/ 10 w 50"/>
                <a:gd name="T17" fmla="*/ 2 h 20"/>
                <a:gd name="T18" fmla="*/ 2 w 50"/>
                <a:gd name="T19" fmla="*/ 3 h 20"/>
                <a:gd name="T20" fmla="*/ 1 w 50"/>
                <a:gd name="T21" fmla="*/ 6 h 20"/>
                <a:gd name="T22" fmla="*/ 8 w 50"/>
                <a:gd name="T23"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0">
                  <a:moveTo>
                    <a:pt x="8" y="14"/>
                  </a:moveTo>
                  <a:cubicBezTo>
                    <a:pt x="16" y="18"/>
                    <a:pt x="25" y="19"/>
                    <a:pt x="33" y="20"/>
                  </a:cubicBezTo>
                  <a:cubicBezTo>
                    <a:pt x="36" y="20"/>
                    <a:pt x="38" y="20"/>
                    <a:pt x="40" y="19"/>
                  </a:cubicBezTo>
                  <a:cubicBezTo>
                    <a:pt x="44" y="18"/>
                    <a:pt x="48" y="15"/>
                    <a:pt x="49" y="11"/>
                  </a:cubicBezTo>
                  <a:cubicBezTo>
                    <a:pt x="50" y="10"/>
                    <a:pt x="50" y="8"/>
                    <a:pt x="49" y="7"/>
                  </a:cubicBezTo>
                  <a:cubicBezTo>
                    <a:pt x="47" y="2"/>
                    <a:pt x="42" y="0"/>
                    <a:pt x="37" y="0"/>
                  </a:cubicBezTo>
                  <a:cubicBezTo>
                    <a:pt x="33" y="0"/>
                    <a:pt x="30" y="2"/>
                    <a:pt x="26" y="2"/>
                  </a:cubicBezTo>
                  <a:cubicBezTo>
                    <a:pt x="22" y="2"/>
                    <a:pt x="18" y="1"/>
                    <a:pt x="13" y="1"/>
                  </a:cubicBezTo>
                  <a:cubicBezTo>
                    <a:pt x="12" y="1"/>
                    <a:pt x="11" y="1"/>
                    <a:pt x="10" y="2"/>
                  </a:cubicBezTo>
                  <a:cubicBezTo>
                    <a:pt x="8" y="4"/>
                    <a:pt x="5" y="3"/>
                    <a:pt x="2" y="3"/>
                  </a:cubicBezTo>
                  <a:cubicBezTo>
                    <a:pt x="1" y="3"/>
                    <a:pt x="0" y="5"/>
                    <a:pt x="1" y="6"/>
                  </a:cubicBezTo>
                  <a:cubicBezTo>
                    <a:pt x="3" y="10"/>
                    <a:pt x="5" y="13"/>
                    <a:pt x="8" y="1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57"/>
            <p:cNvSpPr>
              <a:spLocks/>
            </p:cNvSpPr>
            <p:nvPr/>
          </p:nvSpPr>
          <p:spPr bwMode="auto">
            <a:xfrm>
              <a:off x="4576682" y="1501907"/>
              <a:ext cx="86057" cy="53446"/>
            </a:xfrm>
            <a:custGeom>
              <a:avLst/>
              <a:gdLst>
                <a:gd name="T0" fmla="*/ 1 w 40"/>
                <a:gd name="T1" fmla="*/ 24 h 25"/>
                <a:gd name="T2" fmla="*/ 3 w 40"/>
                <a:gd name="T3" fmla="*/ 25 h 25"/>
                <a:gd name="T4" fmla="*/ 18 w 40"/>
                <a:gd name="T5" fmla="*/ 21 h 25"/>
                <a:gd name="T6" fmla="*/ 36 w 40"/>
                <a:gd name="T7" fmla="*/ 19 h 25"/>
                <a:gd name="T8" fmla="*/ 39 w 40"/>
                <a:gd name="T9" fmla="*/ 13 h 25"/>
                <a:gd name="T10" fmla="*/ 26 w 40"/>
                <a:gd name="T11" fmla="*/ 3 h 25"/>
                <a:gd name="T12" fmla="*/ 19 w 40"/>
                <a:gd name="T13" fmla="*/ 0 h 25"/>
                <a:gd name="T14" fmla="*/ 10 w 40"/>
                <a:gd name="T15" fmla="*/ 0 h 25"/>
                <a:gd name="T16" fmla="*/ 4 w 40"/>
                <a:gd name="T17" fmla="*/ 5 h 25"/>
                <a:gd name="T18" fmla="*/ 2 w 40"/>
                <a:gd name="T19" fmla="*/ 17 h 25"/>
                <a:gd name="T20" fmla="*/ 0 w 40"/>
                <a:gd name="T21" fmla="*/ 23 h 25"/>
                <a:gd name="T22" fmla="*/ 1 w 40"/>
                <a:gd name="T23"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25">
                  <a:moveTo>
                    <a:pt x="1" y="24"/>
                  </a:moveTo>
                  <a:cubicBezTo>
                    <a:pt x="2" y="24"/>
                    <a:pt x="3" y="25"/>
                    <a:pt x="3" y="25"/>
                  </a:cubicBezTo>
                  <a:cubicBezTo>
                    <a:pt x="7" y="21"/>
                    <a:pt x="13" y="21"/>
                    <a:pt x="18" y="21"/>
                  </a:cubicBezTo>
                  <a:cubicBezTo>
                    <a:pt x="24" y="21"/>
                    <a:pt x="30" y="20"/>
                    <a:pt x="36" y="19"/>
                  </a:cubicBezTo>
                  <a:cubicBezTo>
                    <a:pt x="39" y="19"/>
                    <a:pt x="40" y="15"/>
                    <a:pt x="39" y="13"/>
                  </a:cubicBezTo>
                  <a:cubicBezTo>
                    <a:pt x="36" y="8"/>
                    <a:pt x="32" y="5"/>
                    <a:pt x="26" y="3"/>
                  </a:cubicBezTo>
                  <a:cubicBezTo>
                    <a:pt x="24" y="2"/>
                    <a:pt x="21" y="1"/>
                    <a:pt x="19" y="0"/>
                  </a:cubicBezTo>
                  <a:cubicBezTo>
                    <a:pt x="16" y="0"/>
                    <a:pt x="13" y="0"/>
                    <a:pt x="10" y="0"/>
                  </a:cubicBezTo>
                  <a:cubicBezTo>
                    <a:pt x="8" y="0"/>
                    <a:pt x="5" y="3"/>
                    <a:pt x="4" y="5"/>
                  </a:cubicBezTo>
                  <a:cubicBezTo>
                    <a:pt x="4" y="8"/>
                    <a:pt x="3" y="11"/>
                    <a:pt x="2" y="17"/>
                  </a:cubicBezTo>
                  <a:cubicBezTo>
                    <a:pt x="2" y="17"/>
                    <a:pt x="1" y="20"/>
                    <a:pt x="0" y="23"/>
                  </a:cubicBezTo>
                  <a:cubicBezTo>
                    <a:pt x="0" y="23"/>
                    <a:pt x="1" y="24"/>
                    <a:pt x="1" y="24"/>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58"/>
            <p:cNvSpPr>
              <a:spLocks/>
            </p:cNvSpPr>
            <p:nvPr/>
          </p:nvSpPr>
          <p:spPr bwMode="auto">
            <a:xfrm>
              <a:off x="4747889" y="4061863"/>
              <a:ext cx="70657" cy="60693"/>
            </a:xfrm>
            <a:custGeom>
              <a:avLst/>
              <a:gdLst>
                <a:gd name="T0" fmla="*/ 33 w 33"/>
                <a:gd name="T1" fmla="*/ 6 h 28"/>
                <a:gd name="T2" fmla="*/ 30 w 33"/>
                <a:gd name="T3" fmla="*/ 2 h 28"/>
                <a:gd name="T4" fmla="*/ 25 w 33"/>
                <a:gd name="T5" fmla="*/ 0 h 28"/>
                <a:gd name="T6" fmla="*/ 23 w 33"/>
                <a:gd name="T7" fmla="*/ 0 h 28"/>
                <a:gd name="T8" fmla="*/ 3 w 33"/>
                <a:gd name="T9" fmla="*/ 9 h 28"/>
                <a:gd name="T10" fmla="*/ 1 w 33"/>
                <a:gd name="T11" fmla="*/ 12 h 28"/>
                <a:gd name="T12" fmla="*/ 9 w 33"/>
                <a:gd name="T13" fmla="*/ 26 h 28"/>
                <a:gd name="T14" fmla="*/ 27 w 33"/>
                <a:gd name="T15" fmla="*/ 20 h 28"/>
                <a:gd name="T16" fmla="*/ 33 w 33"/>
                <a:gd name="T1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8">
                  <a:moveTo>
                    <a:pt x="33" y="6"/>
                  </a:moveTo>
                  <a:cubicBezTo>
                    <a:pt x="33" y="4"/>
                    <a:pt x="32" y="3"/>
                    <a:pt x="30" y="2"/>
                  </a:cubicBezTo>
                  <a:cubicBezTo>
                    <a:pt x="29" y="1"/>
                    <a:pt x="26" y="0"/>
                    <a:pt x="25" y="0"/>
                  </a:cubicBezTo>
                  <a:cubicBezTo>
                    <a:pt x="24" y="0"/>
                    <a:pt x="23" y="0"/>
                    <a:pt x="23" y="0"/>
                  </a:cubicBezTo>
                  <a:cubicBezTo>
                    <a:pt x="14" y="0"/>
                    <a:pt x="8" y="3"/>
                    <a:pt x="3" y="9"/>
                  </a:cubicBezTo>
                  <a:cubicBezTo>
                    <a:pt x="2" y="10"/>
                    <a:pt x="2" y="11"/>
                    <a:pt x="1" y="12"/>
                  </a:cubicBezTo>
                  <a:cubicBezTo>
                    <a:pt x="0" y="17"/>
                    <a:pt x="3" y="24"/>
                    <a:pt x="9" y="26"/>
                  </a:cubicBezTo>
                  <a:cubicBezTo>
                    <a:pt x="15" y="28"/>
                    <a:pt x="23" y="25"/>
                    <a:pt x="27" y="20"/>
                  </a:cubicBezTo>
                  <a:cubicBezTo>
                    <a:pt x="30" y="16"/>
                    <a:pt x="32" y="11"/>
                    <a:pt x="33"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59"/>
            <p:cNvSpPr>
              <a:spLocks/>
            </p:cNvSpPr>
            <p:nvPr/>
          </p:nvSpPr>
          <p:spPr bwMode="auto">
            <a:xfrm>
              <a:off x="1810190" y="3425950"/>
              <a:ext cx="45293" cy="89680"/>
            </a:xfrm>
            <a:custGeom>
              <a:avLst/>
              <a:gdLst>
                <a:gd name="T0" fmla="*/ 1 w 21"/>
                <a:gd name="T1" fmla="*/ 12 h 42"/>
                <a:gd name="T2" fmla="*/ 3 w 21"/>
                <a:gd name="T3" fmla="*/ 30 h 42"/>
                <a:gd name="T4" fmla="*/ 17 w 21"/>
                <a:gd name="T5" fmla="*/ 36 h 42"/>
                <a:gd name="T6" fmla="*/ 20 w 21"/>
                <a:gd name="T7" fmla="*/ 32 h 42"/>
                <a:gd name="T8" fmla="*/ 20 w 21"/>
                <a:gd name="T9" fmla="*/ 22 h 42"/>
                <a:gd name="T10" fmla="*/ 21 w 21"/>
                <a:gd name="T11" fmla="*/ 22 h 42"/>
                <a:gd name="T12" fmla="*/ 21 w 21"/>
                <a:gd name="T13" fmla="*/ 16 h 42"/>
                <a:gd name="T14" fmla="*/ 20 w 21"/>
                <a:gd name="T15" fmla="*/ 11 h 42"/>
                <a:gd name="T16" fmla="*/ 8 w 21"/>
                <a:gd name="T17" fmla="*/ 5 h 42"/>
                <a:gd name="T18" fmla="*/ 2 w 21"/>
                <a:gd name="T19" fmla="*/ 8 h 42"/>
                <a:gd name="T20" fmla="*/ 1 w 21"/>
                <a:gd name="T21"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2">
                  <a:moveTo>
                    <a:pt x="1" y="12"/>
                  </a:moveTo>
                  <a:cubicBezTo>
                    <a:pt x="3" y="18"/>
                    <a:pt x="3" y="24"/>
                    <a:pt x="3" y="30"/>
                  </a:cubicBezTo>
                  <a:cubicBezTo>
                    <a:pt x="3" y="40"/>
                    <a:pt x="8" y="42"/>
                    <a:pt x="17" y="36"/>
                  </a:cubicBezTo>
                  <a:cubicBezTo>
                    <a:pt x="19" y="35"/>
                    <a:pt x="20" y="34"/>
                    <a:pt x="20" y="32"/>
                  </a:cubicBezTo>
                  <a:cubicBezTo>
                    <a:pt x="21" y="28"/>
                    <a:pt x="20" y="25"/>
                    <a:pt x="20" y="22"/>
                  </a:cubicBezTo>
                  <a:cubicBezTo>
                    <a:pt x="21" y="22"/>
                    <a:pt x="21" y="22"/>
                    <a:pt x="21" y="22"/>
                  </a:cubicBezTo>
                  <a:cubicBezTo>
                    <a:pt x="21" y="20"/>
                    <a:pt x="21" y="18"/>
                    <a:pt x="21" y="16"/>
                  </a:cubicBezTo>
                  <a:cubicBezTo>
                    <a:pt x="20" y="14"/>
                    <a:pt x="21" y="13"/>
                    <a:pt x="20" y="11"/>
                  </a:cubicBezTo>
                  <a:cubicBezTo>
                    <a:pt x="20" y="6"/>
                    <a:pt x="14" y="0"/>
                    <a:pt x="8" y="5"/>
                  </a:cubicBezTo>
                  <a:cubicBezTo>
                    <a:pt x="6" y="6"/>
                    <a:pt x="4" y="7"/>
                    <a:pt x="2" y="8"/>
                  </a:cubicBezTo>
                  <a:cubicBezTo>
                    <a:pt x="1" y="9"/>
                    <a:pt x="0" y="11"/>
                    <a:pt x="1" y="12"/>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61"/>
            <p:cNvSpPr>
              <a:spLocks/>
            </p:cNvSpPr>
            <p:nvPr/>
          </p:nvSpPr>
          <p:spPr bwMode="auto">
            <a:xfrm>
              <a:off x="2649921" y="1410415"/>
              <a:ext cx="47105" cy="55257"/>
            </a:xfrm>
            <a:custGeom>
              <a:avLst/>
              <a:gdLst>
                <a:gd name="T0" fmla="*/ 3 w 22"/>
                <a:gd name="T1" fmla="*/ 6 h 26"/>
                <a:gd name="T2" fmla="*/ 1 w 22"/>
                <a:gd name="T3" fmla="*/ 8 h 26"/>
                <a:gd name="T4" fmla="*/ 2 w 22"/>
                <a:gd name="T5" fmla="*/ 22 h 26"/>
                <a:gd name="T6" fmla="*/ 7 w 22"/>
                <a:gd name="T7" fmla="*/ 26 h 26"/>
                <a:gd name="T8" fmla="*/ 21 w 22"/>
                <a:gd name="T9" fmla="*/ 22 h 26"/>
                <a:gd name="T10" fmla="*/ 21 w 22"/>
                <a:gd name="T11" fmla="*/ 18 h 26"/>
                <a:gd name="T12" fmla="*/ 20 w 22"/>
                <a:gd name="T13" fmla="*/ 17 h 26"/>
                <a:gd name="T14" fmla="*/ 19 w 22"/>
                <a:gd name="T15" fmla="*/ 14 h 26"/>
                <a:gd name="T16" fmla="*/ 19 w 22"/>
                <a:gd name="T17" fmla="*/ 9 h 26"/>
                <a:gd name="T18" fmla="*/ 20 w 22"/>
                <a:gd name="T19" fmla="*/ 2 h 26"/>
                <a:gd name="T20" fmla="*/ 13 w 22"/>
                <a:gd name="T21" fmla="*/ 1 h 26"/>
                <a:gd name="T22" fmla="*/ 9 w 22"/>
                <a:gd name="T23" fmla="*/ 3 h 26"/>
                <a:gd name="T24" fmla="*/ 9 w 22"/>
                <a:gd name="T25" fmla="*/ 3 h 26"/>
                <a:gd name="T26" fmla="*/ 9 w 22"/>
                <a:gd name="T27" fmla="*/ 3 h 26"/>
                <a:gd name="T28" fmla="*/ 9 w 22"/>
                <a:gd name="T29" fmla="*/ 3 h 26"/>
                <a:gd name="T30" fmla="*/ 3 w 22"/>
                <a:gd name="T31"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3" y="6"/>
                  </a:moveTo>
                  <a:cubicBezTo>
                    <a:pt x="2" y="6"/>
                    <a:pt x="1" y="7"/>
                    <a:pt x="1" y="8"/>
                  </a:cubicBezTo>
                  <a:cubicBezTo>
                    <a:pt x="0" y="13"/>
                    <a:pt x="0" y="17"/>
                    <a:pt x="2" y="22"/>
                  </a:cubicBezTo>
                  <a:cubicBezTo>
                    <a:pt x="3" y="23"/>
                    <a:pt x="5" y="25"/>
                    <a:pt x="7" y="26"/>
                  </a:cubicBezTo>
                  <a:cubicBezTo>
                    <a:pt x="12" y="26"/>
                    <a:pt x="17" y="25"/>
                    <a:pt x="21" y="22"/>
                  </a:cubicBezTo>
                  <a:cubicBezTo>
                    <a:pt x="22" y="21"/>
                    <a:pt x="22" y="19"/>
                    <a:pt x="21" y="18"/>
                  </a:cubicBezTo>
                  <a:cubicBezTo>
                    <a:pt x="21" y="17"/>
                    <a:pt x="21" y="17"/>
                    <a:pt x="20" y="17"/>
                  </a:cubicBezTo>
                  <a:cubicBezTo>
                    <a:pt x="20" y="16"/>
                    <a:pt x="19" y="15"/>
                    <a:pt x="19" y="14"/>
                  </a:cubicBezTo>
                  <a:cubicBezTo>
                    <a:pt x="17" y="12"/>
                    <a:pt x="17" y="12"/>
                    <a:pt x="19" y="9"/>
                  </a:cubicBezTo>
                  <a:cubicBezTo>
                    <a:pt x="22" y="6"/>
                    <a:pt x="22" y="4"/>
                    <a:pt x="20" y="2"/>
                  </a:cubicBezTo>
                  <a:cubicBezTo>
                    <a:pt x="18" y="0"/>
                    <a:pt x="16" y="0"/>
                    <a:pt x="13" y="1"/>
                  </a:cubicBezTo>
                  <a:cubicBezTo>
                    <a:pt x="12" y="2"/>
                    <a:pt x="10" y="2"/>
                    <a:pt x="9" y="3"/>
                  </a:cubicBezTo>
                  <a:cubicBezTo>
                    <a:pt x="9" y="3"/>
                    <a:pt x="9" y="3"/>
                    <a:pt x="9" y="3"/>
                  </a:cubicBezTo>
                  <a:cubicBezTo>
                    <a:pt x="9" y="3"/>
                    <a:pt x="9" y="3"/>
                    <a:pt x="9" y="3"/>
                  </a:cubicBezTo>
                  <a:cubicBezTo>
                    <a:pt x="9" y="3"/>
                    <a:pt x="9" y="3"/>
                    <a:pt x="9" y="3"/>
                  </a:cubicBezTo>
                  <a:cubicBezTo>
                    <a:pt x="7" y="4"/>
                    <a:pt x="5" y="5"/>
                    <a:pt x="3"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62"/>
            <p:cNvSpPr>
              <a:spLocks/>
            </p:cNvSpPr>
            <p:nvPr/>
          </p:nvSpPr>
          <p:spPr bwMode="auto">
            <a:xfrm>
              <a:off x="2381787" y="1457520"/>
              <a:ext cx="73375" cy="48916"/>
            </a:xfrm>
            <a:custGeom>
              <a:avLst/>
              <a:gdLst>
                <a:gd name="T0" fmla="*/ 5 w 34"/>
                <a:gd name="T1" fmla="*/ 20 h 23"/>
                <a:gd name="T2" fmla="*/ 17 w 34"/>
                <a:gd name="T3" fmla="*/ 23 h 23"/>
                <a:gd name="T4" fmla="*/ 21 w 34"/>
                <a:gd name="T5" fmla="*/ 18 h 23"/>
                <a:gd name="T6" fmla="*/ 19 w 34"/>
                <a:gd name="T7" fmla="*/ 17 h 23"/>
                <a:gd name="T8" fmla="*/ 20 w 34"/>
                <a:gd name="T9" fmla="*/ 10 h 23"/>
                <a:gd name="T10" fmla="*/ 27 w 34"/>
                <a:gd name="T11" fmla="*/ 8 h 23"/>
                <a:gd name="T12" fmla="*/ 34 w 34"/>
                <a:gd name="T13" fmla="*/ 9 h 23"/>
                <a:gd name="T14" fmla="*/ 34 w 34"/>
                <a:gd name="T15" fmla="*/ 6 h 23"/>
                <a:gd name="T16" fmla="*/ 21 w 34"/>
                <a:gd name="T17" fmla="*/ 0 h 23"/>
                <a:gd name="T18" fmla="*/ 14 w 34"/>
                <a:gd name="T19" fmla="*/ 1 h 23"/>
                <a:gd name="T20" fmla="*/ 1 w 34"/>
                <a:gd name="T21" fmla="*/ 13 h 23"/>
                <a:gd name="T22" fmla="*/ 5 w 34"/>
                <a:gd name="T23"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23">
                  <a:moveTo>
                    <a:pt x="5" y="20"/>
                  </a:moveTo>
                  <a:cubicBezTo>
                    <a:pt x="9" y="21"/>
                    <a:pt x="13" y="22"/>
                    <a:pt x="17" y="23"/>
                  </a:cubicBezTo>
                  <a:cubicBezTo>
                    <a:pt x="21" y="23"/>
                    <a:pt x="20" y="20"/>
                    <a:pt x="21" y="18"/>
                  </a:cubicBezTo>
                  <a:cubicBezTo>
                    <a:pt x="20" y="18"/>
                    <a:pt x="20" y="17"/>
                    <a:pt x="19" y="17"/>
                  </a:cubicBezTo>
                  <a:cubicBezTo>
                    <a:pt x="18" y="14"/>
                    <a:pt x="18" y="11"/>
                    <a:pt x="20" y="10"/>
                  </a:cubicBezTo>
                  <a:cubicBezTo>
                    <a:pt x="22" y="8"/>
                    <a:pt x="24" y="7"/>
                    <a:pt x="27" y="8"/>
                  </a:cubicBezTo>
                  <a:cubicBezTo>
                    <a:pt x="29" y="10"/>
                    <a:pt x="32" y="10"/>
                    <a:pt x="34" y="9"/>
                  </a:cubicBezTo>
                  <a:cubicBezTo>
                    <a:pt x="34" y="8"/>
                    <a:pt x="34" y="7"/>
                    <a:pt x="34" y="6"/>
                  </a:cubicBezTo>
                  <a:cubicBezTo>
                    <a:pt x="30" y="3"/>
                    <a:pt x="26" y="1"/>
                    <a:pt x="21" y="0"/>
                  </a:cubicBezTo>
                  <a:cubicBezTo>
                    <a:pt x="19" y="0"/>
                    <a:pt x="16" y="0"/>
                    <a:pt x="14" y="1"/>
                  </a:cubicBezTo>
                  <a:cubicBezTo>
                    <a:pt x="9" y="4"/>
                    <a:pt x="5" y="8"/>
                    <a:pt x="1" y="13"/>
                  </a:cubicBezTo>
                  <a:cubicBezTo>
                    <a:pt x="0" y="15"/>
                    <a:pt x="1" y="19"/>
                    <a:pt x="5" y="2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63"/>
            <p:cNvSpPr>
              <a:spLocks/>
            </p:cNvSpPr>
            <p:nvPr/>
          </p:nvSpPr>
          <p:spPr bwMode="auto">
            <a:xfrm>
              <a:off x="2427080" y="1495566"/>
              <a:ext cx="0" cy="2718"/>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0"/>
                    <a:pt x="0" y="0"/>
                    <a:pt x="0" y="0"/>
                  </a:cubicBezTo>
                  <a:cubicBezTo>
                    <a:pt x="0" y="0"/>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64"/>
            <p:cNvSpPr>
              <a:spLocks/>
            </p:cNvSpPr>
            <p:nvPr/>
          </p:nvSpPr>
          <p:spPr bwMode="auto">
            <a:xfrm>
              <a:off x="2593758" y="1463861"/>
              <a:ext cx="57975" cy="47105"/>
            </a:xfrm>
            <a:custGeom>
              <a:avLst/>
              <a:gdLst>
                <a:gd name="T0" fmla="*/ 2 w 27"/>
                <a:gd name="T1" fmla="*/ 7 h 22"/>
                <a:gd name="T2" fmla="*/ 1 w 27"/>
                <a:gd name="T3" fmla="*/ 10 h 22"/>
                <a:gd name="T4" fmla="*/ 5 w 27"/>
                <a:gd name="T5" fmla="*/ 20 h 22"/>
                <a:gd name="T6" fmla="*/ 11 w 27"/>
                <a:gd name="T7" fmla="*/ 21 h 22"/>
                <a:gd name="T8" fmla="*/ 17 w 27"/>
                <a:gd name="T9" fmla="*/ 18 h 22"/>
                <a:gd name="T10" fmla="*/ 22 w 27"/>
                <a:gd name="T11" fmla="*/ 13 h 22"/>
                <a:gd name="T12" fmla="*/ 25 w 27"/>
                <a:gd name="T13" fmla="*/ 9 h 22"/>
                <a:gd name="T14" fmla="*/ 24 w 27"/>
                <a:gd name="T15" fmla="*/ 3 h 22"/>
                <a:gd name="T16" fmla="*/ 18 w 27"/>
                <a:gd name="T17" fmla="*/ 0 h 22"/>
                <a:gd name="T18" fmla="*/ 15 w 27"/>
                <a:gd name="T19" fmla="*/ 0 h 22"/>
                <a:gd name="T20" fmla="*/ 2 w 27"/>
                <a:gd name="T21"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2">
                  <a:moveTo>
                    <a:pt x="2" y="7"/>
                  </a:moveTo>
                  <a:cubicBezTo>
                    <a:pt x="1" y="7"/>
                    <a:pt x="1" y="9"/>
                    <a:pt x="1" y="10"/>
                  </a:cubicBezTo>
                  <a:cubicBezTo>
                    <a:pt x="0" y="14"/>
                    <a:pt x="2" y="17"/>
                    <a:pt x="5" y="20"/>
                  </a:cubicBezTo>
                  <a:cubicBezTo>
                    <a:pt x="6" y="21"/>
                    <a:pt x="9" y="22"/>
                    <a:pt x="11" y="21"/>
                  </a:cubicBezTo>
                  <a:cubicBezTo>
                    <a:pt x="13" y="20"/>
                    <a:pt x="15" y="18"/>
                    <a:pt x="17" y="18"/>
                  </a:cubicBezTo>
                  <a:cubicBezTo>
                    <a:pt x="20" y="18"/>
                    <a:pt x="21" y="16"/>
                    <a:pt x="22" y="13"/>
                  </a:cubicBezTo>
                  <a:cubicBezTo>
                    <a:pt x="23" y="12"/>
                    <a:pt x="25" y="10"/>
                    <a:pt x="25" y="9"/>
                  </a:cubicBezTo>
                  <a:cubicBezTo>
                    <a:pt x="27" y="6"/>
                    <a:pt x="26" y="4"/>
                    <a:pt x="24" y="3"/>
                  </a:cubicBezTo>
                  <a:cubicBezTo>
                    <a:pt x="22" y="2"/>
                    <a:pt x="20" y="1"/>
                    <a:pt x="18" y="0"/>
                  </a:cubicBezTo>
                  <a:cubicBezTo>
                    <a:pt x="17" y="0"/>
                    <a:pt x="15" y="0"/>
                    <a:pt x="15" y="0"/>
                  </a:cubicBezTo>
                  <a:cubicBezTo>
                    <a:pt x="11" y="4"/>
                    <a:pt x="7" y="6"/>
                    <a:pt x="2" y="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5"/>
            <p:cNvSpPr>
              <a:spLocks/>
            </p:cNvSpPr>
            <p:nvPr/>
          </p:nvSpPr>
          <p:spPr bwMode="auto">
            <a:xfrm>
              <a:off x="2687967" y="1354252"/>
              <a:ext cx="42575" cy="57975"/>
            </a:xfrm>
            <a:custGeom>
              <a:avLst/>
              <a:gdLst>
                <a:gd name="T0" fmla="*/ 9 w 20"/>
                <a:gd name="T1" fmla="*/ 27 h 27"/>
                <a:gd name="T2" fmla="*/ 12 w 20"/>
                <a:gd name="T3" fmla="*/ 26 h 27"/>
                <a:gd name="T4" fmla="*/ 19 w 20"/>
                <a:gd name="T5" fmla="*/ 16 h 27"/>
                <a:gd name="T6" fmla="*/ 20 w 20"/>
                <a:gd name="T7" fmla="*/ 13 h 27"/>
                <a:gd name="T8" fmla="*/ 12 w 20"/>
                <a:gd name="T9" fmla="*/ 0 h 27"/>
                <a:gd name="T10" fmla="*/ 7 w 20"/>
                <a:gd name="T11" fmla="*/ 0 h 27"/>
                <a:gd name="T12" fmla="*/ 1 w 20"/>
                <a:gd name="T13" fmla="*/ 8 h 27"/>
                <a:gd name="T14" fmla="*/ 0 w 20"/>
                <a:gd name="T15" fmla="*/ 12 h 27"/>
                <a:gd name="T16" fmla="*/ 9 w 20"/>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7">
                  <a:moveTo>
                    <a:pt x="9" y="27"/>
                  </a:moveTo>
                  <a:cubicBezTo>
                    <a:pt x="10" y="27"/>
                    <a:pt x="12" y="27"/>
                    <a:pt x="12" y="26"/>
                  </a:cubicBezTo>
                  <a:cubicBezTo>
                    <a:pt x="15" y="23"/>
                    <a:pt x="15" y="18"/>
                    <a:pt x="19" y="16"/>
                  </a:cubicBezTo>
                  <a:cubicBezTo>
                    <a:pt x="20" y="16"/>
                    <a:pt x="20" y="14"/>
                    <a:pt x="20" y="13"/>
                  </a:cubicBezTo>
                  <a:cubicBezTo>
                    <a:pt x="17" y="9"/>
                    <a:pt x="15" y="4"/>
                    <a:pt x="12" y="0"/>
                  </a:cubicBezTo>
                  <a:cubicBezTo>
                    <a:pt x="11" y="0"/>
                    <a:pt x="8" y="0"/>
                    <a:pt x="7" y="0"/>
                  </a:cubicBezTo>
                  <a:cubicBezTo>
                    <a:pt x="5" y="3"/>
                    <a:pt x="3" y="5"/>
                    <a:pt x="1" y="8"/>
                  </a:cubicBezTo>
                  <a:cubicBezTo>
                    <a:pt x="0" y="9"/>
                    <a:pt x="0" y="11"/>
                    <a:pt x="0" y="12"/>
                  </a:cubicBezTo>
                  <a:cubicBezTo>
                    <a:pt x="0" y="20"/>
                    <a:pt x="2" y="24"/>
                    <a:pt x="9" y="2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68"/>
            <p:cNvSpPr>
              <a:spLocks/>
            </p:cNvSpPr>
            <p:nvPr/>
          </p:nvSpPr>
          <p:spPr bwMode="auto">
            <a:xfrm>
              <a:off x="4987941" y="4888911"/>
              <a:ext cx="94209" cy="29893"/>
            </a:xfrm>
            <a:custGeom>
              <a:avLst/>
              <a:gdLst>
                <a:gd name="T0" fmla="*/ 1 w 44"/>
                <a:gd name="T1" fmla="*/ 10 h 14"/>
                <a:gd name="T2" fmla="*/ 11 w 44"/>
                <a:gd name="T3" fmla="*/ 13 h 14"/>
                <a:gd name="T4" fmla="*/ 17 w 44"/>
                <a:gd name="T5" fmla="*/ 14 h 14"/>
                <a:gd name="T6" fmla="*/ 43 w 44"/>
                <a:gd name="T7" fmla="*/ 9 h 14"/>
                <a:gd name="T8" fmla="*/ 43 w 44"/>
                <a:gd name="T9" fmla="*/ 7 h 14"/>
                <a:gd name="T10" fmla="*/ 27 w 44"/>
                <a:gd name="T11" fmla="*/ 1 h 14"/>
                <a:gd name="T12" fmla="*/ 25 w 44"/>
                <a:gd name="T13" fmla="*/ 3 h 14"/>
                <a:gd name="T14" fmla="*/ 24 w 44"/>
                <a:gd name="T15" fmla="*/ 5 h 14"/>
                <a:gd name="T16" fmla="*/ 6 w 44"/>
                <a:gd name="T17" fmla="*/ 4 h 14"/>
                <a:gd name="T18" fmla="*/ 1 w 44"/>
                <a:gd name="T19" fmla="*/ 6 h 14"/>
                <a:gd name="T20" fmla="*/ 1 w 44"/>
                <a:gd name="T21"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4">
                  <a:moveTo>
                    <a:pt x="1" y="10"/>
                  </a:moveTo>
                  <a:cubicBezTo>
                    <a:pt x="5" y="11"/>
                    <a:pt x="8" y="12"/>
                    <a:pt x="11" y="13"/>
                  </a:cubicBezTo>
                  <a:cubicBezTo>
                    <a:pt x="13" y="14"/>
                    <a:pt x="15" y="14"/>
                    <a:pt x="17" y="14"/>
                  </a:cubicBezTo>
                  <a:cubicBezTo>
                    <a:pt x="26" y="13"/>
                    <a:pt x="34" y="12"/>
                    <a:pt x="43" y="9"/>
                  </a:cubicBezTo>
                  <a:cubicBezTo>
                    <a:pt x="44" y="9"/>
                    <a:pt x="44" y="8"/>
                    <a:pt x="43" y="7"/>
                  </a:cubicBezTo>
                  <a:cubicBezTo>
                    <a:pt x="39" y="2"/>
                    <a:pt x="34" y="0"/>
                    <a:pt x="27" y="1"/>
                  </a:cubicBezTo>
                  <a:cubicBezTo>
                    <a:pt x="27" y="1"/>
                    <a:pt x="26" y="2"/>
                    <a:pt x="25" y="3"/>
                  </a:cubicBezTo>
                  <a:cubicBezTo>
                    <a:pt x="25" y="4"/>
                    <a:pt x="24" y="4"/>
                    <a:pt x="24" y="5"/>
                  </a:cubicBezTo>
                  <a:cubicBezTo>
                    <a:pt x="18" y="2"/>
                    <a:pt x="12" y="6"/>
                    <a:pt x="6" y="4"/>
                  </a:cubicBezTo>
                  <a:cubicBezTo>
                    <a:pt x="4" y="3"/>
                    <a:pt x="2" y="4"/>
                    <a:pt x="1" y="6"/>
                  </a:cubicBezTo>
                  <a:cubicBezTo>
                    <a:pt x="0" y="8"/>
                    <a:pt x="0" y="10"/>
                    <a:pt x="1" y="1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69"/>
            <p:cNvSpPr>
              <a:spLocks/>
            </p:cNvSpPr>
            <p:nvPr/>
          </p:nvSpPr>
          <p:spPr bwMode="auto">
            <a:xfrm>
              <a:off x="5099362" y="4891629"/>
              <a:ext cx="96021" cy="23552"/>
            </a:xfrm>
            <a:custGeom>
              <a:avLst/>
              <a:gdLst>
                <a:gd name="T0" fmla="*/ 38 w 45"/>
                <a:gd name="T1" fmla="*/ 8 h 11"/>
                <a:gd name="T2" fmla="*/ 42 w 45"/>
                <a:gd name="T3" fmla="*/ 6 h 11"/>
                <a:gd name="T4" fmla="*/ 44 w 45"/>
                <a:gd name="T5" fmla="*/ 4 h 11"/>
                <a:gd name="T6" fmla="*/ 43 w 45"/>
                <a:gd name="T7" fmla="*/ 1 h 11"/>
                <a:gd name="T8" fmla="*/ 42 w 45"/>
                <a:gd name="T9" fmla="*/ 0 h 11"/>
                <a:gd name="T10" fmla="*/ 28 w 45"/>
                <a:gd name="T11" fmla="*/ 3 h 11"/>
                <a:gd name="T12" fmla="*/ 13 w 45"/>
                <a:gd name="T13" fmla="*/ 1 h 11"/>
                <a:gd name="T14" fmla="*/ 12 w 45"/>
                <a:gd name="T15" fmla="*/ 0 h 11"/>
                <a:gd name="T16" fmla="*/ 1 w 45"/>
                <a:gd name="T17" fmla="*/ 4 h 11"/>
                <a:gd name="T18" fmla="*/ 0 w 45"/>
                <a:gd name="T19" fmla="*/ 7 h 11"/>
                <a:gd name="T20" fmla="*/ 2 w 45"/>
                <a:gd name="T21" fmla="*/ 9 h 11"/>
                <a:gd name="T22" fmla="*/ 15 w 45"/>
                <a:gd name="T23" fmla="*/ 11 h 11"/>
                <a:gd name="T24" fmla="*/ 38 w 45"/>
                <a:gd name="T25"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1">
                  <a:moveTo>
                    <a:pt x="38" y="8"/>
                  </a:moveTo>
                  <a:cubicBezTo>
                    <a:pt x="39" y="8"/>
                    <a:pt x="41" y="7"/>
                    <a:pt x="42" y="6"/>
                  </a:cubicBezTo>
                  <a:cubicBezTo>
                    <a:pt x="43" y="5"/>
                    <a:pt x="43" y="4"/>
                    <a:pt x="44" y="4"/>
                  </a:cubicBezTo>
                  <a:cubicBezTo>
                    <a:pt x="45" y="2"/>
                    <a:pt x="44" y="2"/>
                    <a:pt x="43" y="1"/>
                  </a:cubicBezTo>
                  <a:cubicBezTo>
                    <a:pt x="43" y="1"/>
                    <a:pt x="42" y="0"/>
                    <a:pt x="42" y="0"/>
                  </a:cubicBezTo>
                  <a:cubicBezTo>
                    <a:pt x="37" y="1"/>
                    <a:pt x="33" y="4"/>
                    <a:pt x="28" y="3"/>
                  </a:cubicBezTo>
                  <a:cubicBezTo>
                    <a:pt x="23" y="2"/>
                    <a:pt x="18" y="1"/>
                    <a:pt x="13" y="1"/>
                  </a:cubicBezTo>
                  <a:cubicBezTo>
                    <a:pt x="13" y="1"/>
                    <a:pt x="12" y="1"/>
                    <a:pt x="12" y="0"/>
                  </a:cubicBezTo>
                  <a:cubicBezTo>
                    <a:pt x="8" y="0"/>
                    <a:pt x="4" y="1"/>
                    <a:pt x="1" y="4"/>
                  </a:cubicBezTo>
                  <a:cubicBezTo>
                    <a:pt x="0" y="5"/>
                    <a:pt x="0" y="6"/>
                    <a:pt x="0" y="7"/>
                  </a:cubicBezTo>
                  <a:cubicBezTo>
                    <a:pt x="0" y="8"/>
                    <a:pt x="1" y="9"/>
                    <a:pt x="2" y="9"/>
                  </a:cubicBezTo>
                  <a:cubicBezTo>
                    <a:pt x="6" y="10"/>
                    <a:pt x="11" y="11"/>
                    <a:pt x="15" y="11"/>
                  </a:cubicBezTo>
                  <a:cubicBezTo>
                    <a:pt x="23" y="10"/>
                    <a:pt x="30" y="9"/>
                    <a:pt x="38" y="8"/>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71"/>
            <p:cNvSpPr>
              <a:spLocks/>
            </p:cNvSpPr>
            <p:nvPr/>
          </p:nvSpPr>
          <p:spPr bwMode="auto">
            <a:xfrm>
              <a:off x="3945299" y="1647750"/>
              <a:ext cx="42575" cy="38952"/>
            </a:xfrm>
            <a:custGeom>
              <a:avLst/>
              <a:gdLst>
                <a:gd name="T0" fmla="*/ 1 w 20"/>
                <a:gd name="T1" fmla="*/ 10 h 18"/>
                <a:gd name="T2" fmla="*/ 6 w 20"/>
                <a:gd name="T3" fmla="*/ 17 h 18"/>
                <a:gd name="T4" fmla="*/ 11 w 20"/>
                <a:gd name="T5" fmla="*/ 18 h 18"/>
                <a:gd name="T6" fmla="*/ 12 w 20"/>
                <a:gd name="T7" fmla="*/ 18 h 18"/>
                <a:gd name="T8" fmla="*/ 19 w 20"/>
                <a:gd name="T9" fmla="*/ 11 h 18"/>
                <a:gd name="T10" fmla="*/ 16 w 20"/>
                <a:gd name="T11" fmla="*/ 2 h 18"/>
                <a:gd name="T12" fmla="*/ 10 w 20"/>
                <a:gd name="T13" fmla="*/ 1 h 18"/>
                <a:gd name="T14" fmla="*/ 2 w 20"/>
                <a:gd name="T15" fmla="*/ 4 h 18"/>
                <a:gd name="T16" fmla="*/ 0 w 20"/>
                <a:gd name="T17" fmla="*/ 9 h 18"/>
                <a:gd name="T18" fmla="*/ 1 w 20"/>
                <a:gd name="T19"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8">
                  <a:moveTo>
                    <a:pt x="1" y="10"/>
                  </a:moveTo>
                  <a:cubicBezTo>
                    <a:pt x="0" y="14"/>
                    <a:pt x="3" y="16"/>
                    <a:pt x="6" y="17"/>
                  </a:cubicBezTo>
                  <a:cubicBezTo>
                    <a:pt x="8" y="17"/>
                    <a:pt x="9" y="17"/>
                    <a:pt x="11" y="18"/>
                  </a:cubicBezTo>
                  <a:cubicBezTo>
                    <a:pt x="11" y="18"/>
                    <a:pt x="12" y="18"/>
                    <a:pt x="12" y="18"/>
                  </a:cubicBezTo>
                  <a:cubicBezTo>
                    <a:pt x="17" y="18"/>
                    <a:pt x="20" y="15"/>
                    <a:pt x="19" y="11"/>
                  </a:cubicBezTo>
                  <a:cubicBezTo>
                    <a:pt x="19" y="8"/>
                    <a:pt x="17" y="5"/>
                    <a:pt x="16" y="2"/>
                  </a:cubicBezTo>
                  <a:cubicBezTo>
                    <a:pt x="14" y="1"/>
                    <a:pt x="12" y="0"/>
                    <a:pt x="10" y="1"/>
                  </a:cubicBezTo>
                  <a:cubicBezTo>
                    <a:pt x="7" y="1"/>
                    <a:pt x="5" y="2"/>
                    <a:pt x="2" y="4"/>
                  </a:cubicBezTo>
                  <a:cubicBezTo>
                    <a:pt x="0" y="5"/>
                    <a:pt x="0" y="6"/>
                    <a:pt x="0" y="9"/>
                  </a:cubicBezTo>
                  <a:cubicBezTo>
                    <a:pt x="0" y="9"/>
                    <a:pt x="1" y="10"/>
                    <a:pt x="1" y="1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172"/>
            <p:cNvSpPr>
              <a:spLocks/>
            </p:cNvSpPr>
            <p:nvPr/>
          </p:nvSpPr>
          <p:spPr bwMode="auto">
            <a:xfrm>
              <a:off x="1816531" y="3377034"/>
              <a:ext cx="32611" cy="48916"/>
            </a:xfrm>
            <a:custGeom>
              <a:avLst/>
              <a:gdLst>
                <a:gd name="T0" fmla="*/ 11 w 15"/>
                <a:gd name="T1" fmla="*/ 21 h 23"/>
                <a:gd name="T2" fmla="*/ 13 w 15"/>
                <a:gd name="T3" fmla="*/ 17 h 23"/>
                <a:gd name="T4" fmla="*/ 15 w 15"/>
                <a:gd name="T5" fmla="*/ 9 h 23"/>
                <a:gd name="T6" fmla="*/ 14 w 15"/>
                <a:gd name="T7" fmla="*/ 5 h 23"/>
                <a:gd name="T8" fmla="*/ 14 w 15"/>
                <a:gd name="T9" fmla="*/ 3 h 23"/>
                <a:gd name="T10" fmla="*/ 9 w 15"/>
                <a:gd name="T11" fmla="*/ 0 h 23"/>
                <a:gd name="T12" fmla="*/ 4 w 15"/>
                <a:gd name="T13" fmla="*/ 3 h 23"/>
                <a:gd name="T14" fmla="*/ 1 w 15"/>
                <a:gd name="T15" fmla="*/ 10 h 23"/>
                <a:gd name="T16" fmla="*/ 5 w 15"/>
                <a:gd name="T17" fmla="*/ 21 h 23"/>
                <a:gd name="T18" fmla="*/ 11 w 15"/>
                <a:gd name="T19" fmla="*/ 2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3">
                  <a:moveTo>
                    <a:pt x="11" y="21"/>
                  </a:moveTo>
                  <a:cubicBezTo>
                    <a:pt x="12" y="20"/>
                    <a:pt x="13" y="18"/>
                    <a:pt x="13" y="17"/>
                  </a:cubicBezTo>
                  <a:cubicBezTo>
                    <a:pt x="14" y="14"/>
                    <a:pt x="14" y="11"/>
                    <a:pt x="15" y="9"/>
                  </a:cubicBezTo>
                  <a:cubicBezTo>
                    <a:pt x="14" y="7"/>
                    <a:pt x="14" y="6"/>
                    <a:pt x="14" y="5"/>
                  </a:cubicBezTo>
                  <a:cubicBezTo>
                    <a:pt x="14" y="4"/>
                    <a:pt x="14" y="4"/>
                    <a:pt x="14" y="3"/>
                  </a:cubicBezTo>
                  <a:cubicBezTo>
                    <a:pt x="14" y="1"/>
                    <a:pt x="12" y="0"/>
                    <a:pt x="9" y="0"/>
                  </a:cubicBezTo>
                  <a:cubicBezTo>
                    <a:pt x="7" y="1"/>
                    <a:pt x="5" y="2"/>
                    <a:pt x="4" y="3"/>
                  </a:cubicBezTo>
                  <a:cubicBezTo>
                    <a:pt x="1" y="5"/>
                    <a:pt x="0" y="7"/>
                    <a:pt x="1" y="10"/>
                  </a:cubicBezTo>
                  <a:cubicBezTo>
                    <a:pt x="1" y="14"/>
                    <a:pt x="3" y="18"/>
                    <a:pt x="5" y="21"/>
                  </a:cubicBezTo>
                  <a:cubicBezTo>
                    <a:pt x="6" y="23"/>
                    <a:pt x="10" y="23"/>
                    <a:pt x="11" y="2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74"/>
            <p:cNvSpPr>
              <a:spLocks/>
            </p:cNvSpPr>
            <p:nvPr/>
          </p:nvSpPr>
          <p:spPr bwMode="auto">
            <a:xfrm>
              <a:off x="5075810" y="4923334"/>
              <a:ext cx="51634" cy="29893"/>
            </a:xfrm>
            <a:custGeom>
              <a:avLst/>
              <a:gdLst>
                <a:gd name="T0" fmla="*/ 1 w 24"/>
                <a:gd name="T1" fmla="*/ 6 h 14"/>
                <a:gd name="T2" fmla="*/ 15 w 24"/>
                <a:gd name="T3" fmla="*/ 13 h 14"/>
                <a:gd name="T4" fmla="*/ 20 w 24"/>
                <a:gd name="T5" fmla="*/ 13 h 14"/>
                <a:gd name="T6" fmla="*/ 23 w 24"/>
                <a:gd name="T7" fmla="*/ 9 h 14"/>
                <a:gd name="T8" fmla="*/ 21 w 24"/>
                <a:gd name="T9" fmla="*/ 6 h 14"/>
                <a:gd name="T10" fmla="*/ 5 w 24"/>
                <a:gd name="T11" fmla="*/ 0 h 14"/>
                <a:gd name="T12" fmla="*/ 1 w 24"/>
                <a:gd name="T13" fmla="*/ 1 h 14"/>
                <a:gd name="T14" fmla="*/ 0 w 24"/>
                <a:gd name="T15" fmla="*/ 4 h 14"/>
                <a:gd name="T16" fmla="*/ 1 w 24"/>
                <a:gd name="T17"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4">
                  <a:moveTo>
                    <a:pt x="1" y="6"/>
                  </a:moveTo>
                  <a:cubicBezTo>
                    <a:pt x="6" y="8"/>
                    <a:pt x="10" y="11"/>
                    <a:pt x="15" y="13"/>
                  </a:cubicBezTo>
                  <a:cubicBezTo>
                    <a:pt x="17" y="14"/>
                    <a:pt x="19" y="13"/>
                    <a:pt x="20" y="13"/>
                  </a:cubicBezTo>
                  <a:cubicBezTo>
                    <a:pt x="22" y="13"/>
                    <a:pt x="24" y="10"/>
                    <a:pt x="23" y="9"/>
                  </a:cubicBezTo>
                  <a:cubicBezTo>
                    <a:pt x="22" y="8"/>
                    <a:pt x="21" y="7"/>
                    <a:pt x="21" y="6"/>
                  </a:cubicBezTo>
                  <a:cubicBezTo>
                    <a:pt x="17" y="2"/>
                    <a:pt x="12" y="0"/>
                    <a:pt x="5" y="0"/>
                  </a:cubicBezTo>
                  <a:cubicBezTo>
                    <a:pt x="4" y="0"/>
                    <a:pt x="3" y="0"/>
                    <a:pt x="1" y="1"/>
                  </a:cubicBezTo>
                  <a:cubicBezTo>
                    <a:pt x="1" y="1"/>
                    <a:pt x="0" y="3"/>
                    <a:pt x="0" y="4"/>
                  </a:cubicBezTo>
                  <a:cubicBezTo>
                    <a:pt x="0" y="4"/>
                    <a:pt x="0" y="6"/>
                    <a:pt x="1" y="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77"/>
            <p:cNvSpPr>
              <a:spLocks/>
            </p:cNvSpPr>
            <p:nvPr/>
          </p:nvSpPr>
          <p:spPr bwMode="auto">
            <a:xfrm>
              <a:off x="4540447" y="1482884"/>
              <a:ext cx="28082" cy="32611"/>
            </a:xfrm>
            <a:custGeom>
              <a:avLst/>
              <a:gdLst>
                <a:gd name="T0" fmla="*/ 7 w 13"/>
                <a:gd name="T1" fmla="*/ 0 h 15"/>
                <a:gd name="T2" fmla="*/ 2 w 13"/>
                <a:gd name="T3" fmla="*/ 1 h 15"/>
                <a:gd name="T4" fmla="*/ 1 w 13"/>
                <a:gd name="T5" fmla="*/ 5 h 15"/>
                <a:gd name="T6" fmla="*/ 8 w 13"/>
                <a:gd name="T7" fmla="*/ 14 h 15"/>
                <a:gd name="T8" fmla="*/ 12 w 13"/>
                <a:gd name="T9" fmla="*/ 13 h 15"/>
                <a:gd name="T10" fmla="*/ 13 w 13"/>
                <a:gd name="T11" fmla="*/ 9 h 15"/>
                <a:gd name="T12" fmla="*/ 7 w 13"/>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7" y="0"/>
                  </a:moveTo>
                  <a:cubicBezTo>
                    <a:pt x="6" y="0"/>
                    <a:pt x="3" y="0"/>
                    <a:pt x="2" y="1"/>
                  </a:cubicBezTo>
                  <a:cubicBezTo>
                    <a:pt x="1" y="2"/>
                    <a:pt x="0" y="4"/>
                    <a:pt x="1" y="5"/>
                  </a:cubicBezTo>
                  <a:cubicBezTo>
                    <a:pt x="1" y="9"/>
                    <a:pt x="4" y="12"/>
                    <a:pt x="8" y="14"/>
                  </a:cubicBezTo>
                  <a:cubicBezTo>
                    <a:pt x="9" y="15"/>
                    <a:pt x="11" y="14"/>
                    <a:pt x="12" y="13"/>
                  </a:cubicBezTo>
                  <a:cubicBezTo>
                    <a:pt x="13" y="11"/>
                    <a:pt x="13" y="10"/>
                    <a:pt x="13" y="9"/>
                  </a:cubicBezTo>
                  <a:cubicBezTo>
                    <a:pt x="13" y="4"/>
                    <a:pt x="10" y="2"/>
                    <a:pt x="7"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78"/>
            <p:cNvSpPr>
              <a:spLocks/>
            </p:cNvSpPr>
            <p:nvPr/>
          </p:nvSpPr>
          <p:spPr bwMode="auto">
            <a:xfrm>
              <a:off x="1782109" y="1688514"/>
              <a:ext cx="28082" cy="38952"/>
            </a:xfrm>
            <a:custGeom>
              <a:avLst/>
              <a:gdLst>
                <a:gd name="T0" fmla="*/ 2 w 13"/>
                <a:gd name="T1" fmla="*/ 0 h 18"/>
                <a:gd name="T2" fmla="*/ 0 w 13"/>
                <a:gd name="T3" fmla="*/ 2 h 18"/>
                <a:gd name="T4" fmla="*/ 12 w 13"/>
                <a:gd name="T5" fmla="*/ 18 h 18"/>
                <a:gd name="T6" fmla="*/ 13 w 13"/>
                <a:gd name="T7" fmla="*/ 17 h 18"/>
                <a:gd name="T8" fmla="*/ 13 w 13"/>
                <a:gd name="T9" fmla="*/ 16 h 18"/>
                <a:gd name="T10" fmla="*/ 3 w 13"/>
                <a:gd name="T11" fmla="*/ 0 h 18"/>
                <a:gd name="T12" fmla="*/ 2 w 13"/>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2" y="0"/>
                  </a:moveTo>
                  <a:cubicBezTo>
                    <a:pt x="1" y="0"/>
                    <a:pt x="0" y="1"/>
                    <a:pt x="0" y="2"/>
                  </a:cubicBezTo>
                  <a:cubicBezTo>
                    <a:pt x="1" y="9"/>
                    <a:pt x="5" y="14"/>
                    <a:pt x="12" y="18"/>
                  </a:cubicBezTo>
                  <a:cubicBezTo>
                    <a:pt x="12" y="18"/>
                    <a:pt x="12" y="18"/>
                    <a:pt x="13" y="17"/>
                  </a:cubicBezTo>
                  <a:cubicBezTo>
                    <a:pt x="13" y="17"/>
                    <a:pt x="13" y="16"/>
                    <a:pt x="13" y="16"/>
                  </a:cubicBezTo>
                  <a:cubicBezTo>
                    <a:pt x="11" y="10"/>
                    <a:pt x="6" y="6"/>
                    <a:pt x="3" y="0"/>
                  </a:cubicBezTo>
                  <a:cubicBezTo>
                    <a:pt x="3" y="0"/>
                    <a:pt x="2" y="0"/>
                    <a:pt x="2"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83"/>
            <p:cNvSpPr>
              <a:spLocks/>
            </p:cNvSpPr>
            <p:nvPr/>
          </p:nvSpPr>
          <p:spPr bwMode="auto">
            <a:xfrm>
              <a:off x="6180957" y="6362743"/>
              <a:ext cx="23552" cy="23552"/>
            </a:xfrm>
            <a:custGeom>
              <a:avLst/>
              <a:gdLst>
                <a:gd name="T0" fmla="*/ 5 w 11"/>
                <a:gd name="T1" fmla="*/ 1 h 11"/>
                <a:gd name="T2" fmla="*/ 0 w 11"/>
                <a:gd name="T3" fmla="*/ 10 h 11"/>
                <a:gd name="T4" fmla="*/ 1 w 11"/>
                <a:gd name="T5" fmla="*/ 11 h 11"/>
                <a:gd name="T6" fmla="*/ 8 w 11"/>
                <a:gd name="T7" fmla="*/ 10 h 11"/>
                <a:gd name="T8" fmla="*/ 9 w 11"/>
                <a:gd name="T9" fmla="*/ 2 h 11"/>
                <a:gd name="T10" fmla="*/ 5 w 11"/>
                <a:gd name="T11" fmla="*/ 1 h 11"/>
              </a:gdLst>
              <a:ahLst/>
              <a:cxnLst>
                <a:cxn ang="0">
                  <a:pos x="T0" y="T1"/>
                </a:cxn>
                <a:cxn ang="0">
                  <a:pos x="T2" y="T3"/>
                </a:cxn>
                <a:cxn ang="0">
                  <a:pos x="T4" y="T5"/>
                </a:cxn>
                <a:cxn ang="0">
                  <a:pos x="T6" y="T7"/>
                </a:cxn>
                <a:cxn ang="0">
                  <a:pos x="T8" y="T9"/>
                </a:cxn>
                <a:cxn ang="0">
                  <a:pos x="T10" y="T11"/>
                </a:cxn>
              </a:cxnLst>
              <a:rect l="0" t="0" r="r" b="b"/>
              <a:pathLst>
                <a:path w="11" h="11">
                  <a:moveTo>
                    <a:pt x="5" y="1"/>
                  </a:moveTo>
                  <a:cubicBezTo>
                    <a:pt x="3" y="4"/>
                    <a:pt x="0" y="6"/>
                    <a:pt x="0" y="10"/>
                  </a:cubicBezTo>
                  <a:cubicBezTo>
                    <a:pt x="1" y="11"/>
                    <a:pt x="1" y="11"/>
                    <a:pt x="1" y="11"/>
                  </a:cubicBezTo>
                  <a:cubicBezTo>
                    <a:pt x="3" y="11"/>
                    <a:pt x="6" y="11"/>
                    <a:pt x="8" y="10"/>
                  </a:cubicBezTo>
                  <a:cubicBezTo>
                    <a:pt x="11" y="8"/>
                    <a:pt x="11" y="5"/>
                    <a:pt x="9" y="2"/>
                  </a:cubicBezTo>
                  <a:cubicBezTo>
                    <a:pt x="9" y="1"/>
                    <a:pt x="6" y="0"/>
                    <a:pt x="5"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86"/>
            <p:cNvSpPr>
              <a:spLocks/>
            </p:cNvSpPr>
            <p:nvPr/>
          </p:nvSpPr>
          <p:spPr bwMode="auto">
            <a:xfrm>
              <a:off x="2546653" y="1470202"/>
              <a:ext cx="28082" cy="19023"/>
            </a:xfrm>
            <a:custGeom>
              <a:avLst/>
              <a:gdLst>
                <a:gd name="T0" fmla="*/ 10 w 13"/>
                <a:gd name="T1" fmla="*/ 1 h 9"/>
                <a:gd name="T2" fmla="*/ 5 w 13"/>
                <a:gd name="T3" fmla="*/ 0 h 9"/>
                <a:gd name="T4" fmla="*/ 2 w 13"/>
                <a:gd name="T5" fmla="*/ 1 h 9"/>
                <a:gd name="T6" fmla="*/ 0 w 13"/>
                <a:gd name="T7" fmla="*/ 4 h 9"/>
                <a:gd name="T8" fmla="*/ 2 w 13"/>
                <a:gd name="T9" fmla="*/ 6 h 9"/>
                <a:gd name="T10" fmla="*/ 13 w 13"/>
                <a:gd name="T11" fmla="*/ 9 h 9"/>
                <a:gd name="T12" fmla="*/ 13 w 13"/>
                <a:gd name="T13" fmla="*/ 5 h 9"/>
                <a:gd name="T14" fmla="*/ 10 w 13"/>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
                  <a:moveTo>
                    <a:pt x="10" y="1"/>
                  </a:moveTo>
                  <a:cubicBezTo>
                    <a:pt x="8" y="1"/>
                    <a:pt x="7" y="1"/>
                    <a:pt x="5" y="0"/>
                  </a:cubicBezTo>
                  <a:cubicBezTo>
                    <a:pt x="4" y="0"/>
                    <a:pt x="3" y="1"/>
                    <a:pt x="2" y="1"/>
                  </a:cubicBezTo>
                  <a:cubicBezTo>
                    <a:pt x="1" y="2"/>
                    <a:pt x="1" y="3"/>
                    <a:pt x="0" y="4"/>
                  </a:cubicBezTo>
                  <a:cubicBezTo>
                    <a:pt x="0" y="5"/>
                    <a:pt x="0" y="6"/>
                    <a:pt x="2" y="6"/>
                  </a:cubicBezTo>
                  <a:cubicBezTo>
                    <a:pt x="6" y="6"/>
                    <a:pt x="10" y="8"/>
                    <a:pt x="13" y="9"/>
                  </a:cubicBezTo>
                  <a:cubicBezTo>
                    <a:pt x="13" y="8"/>
                    <a:pt x="13" y="6"/>
                    <a:pt x="13" y="5"/>
                  </a:cubicBezTo>
                  <a:cubicBezTo>
                    <a:pt x="13" y="2"/>
                    <a:pt x="13" y="2"/>
                    <a:pt x="10"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87"/>
            <p:cNvSpPr>
              <a:spLocks/>
            </p:cNvSpPr>
            <p:nvPr/>
          </p:nvSpPr>
          <p:spPr bwMode="auto">
            <a:xfrm>
              <a:off x="2574735" y="1489225"/>
              <a:ext cx="1812" cy="2718"/>
            </a:xfrm>
            <a:custGeom>
              <a:avLst/>
              <a:gdLst>
                <a:gd name="T0" fmla="*/ 0 w 1"/>
                <a:gd name="T1" fmla="*/ 0 h 1"/>
                <a:gd name="T2" fmla="*/ 0 w 1"/>
                <a:gd name="T3" fmla="*/ 1 h 1"/>
                <a:gd name="T4" fmla="*/ 1 w 1"/>
                <a:gd name="T5" fmla="*/ 0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1" y="1"/>
                    <a:pt x="1" y="0"/>
                    <a:pt x="1" y="0"/>
                  </a:cubicBezTo>
                  <a:cubicBezTo>
                    <a:pt x="1" y="0"/>
                    <a:pt x="1" y="0"/>
                    <a:pt x="1" y="0"/>
                  </a:cubicBezTo>
                  <a:cubicBezTo>
                    <a:pt x="1" y="0"/>
                    <a:pt x="1"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91"/>
            <p:cNvSpPr>
              <a:spLocks/>
            </p:cNvSpPr>
            <p:nvPr/>
          </p:nvSpPr>
          <p:spPr bwMode="auto">
            <a:xfrm>
              <a:off x="5612984" y="3149663"/>
              <a:ext cx="2718" cy="1812"/>
            </a:xfrm>
            <a:custGeom>
              <a:avLst/>
              <a:gdLst>
                <a:gd name="T0" fmla="*/ 1 w 1"/>
                <a:gd name="T1" fmla="*/ 0 h 1"/>
                <a:gd name="T2" fmla="*/ 0 w 1"/>
                <a:gd name="T3" fmla="*/ 0 h 1"/>
                <a:gd name="T4" fmla="*/ 0 w 1"/>
                <a:gd name="T5" fmla="*/ 0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0" y="0"/>
                  </a:cubicBezTo>
                  <a:cubicBezTo>
                    <a:pt x="0" y="0"/>
                    <a:pt x="0" y="0"/>
                    <a:pt x="0" y="0"/>
                  </a:cubicBezTo>
                  <a:cubicBezTo>
                    <a:pt x="1" y="0"/>
                    <a:pt x="1" y="1"/>
                    <a:pt x="1" y="1"/>
                  </a:cubicBezTo>
                  <a:cubicBezTo>
                    <a:pt x="1" y="0"/>
                    <a:pt x="1" y="0"/>
                    <a:pt x="1"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92"/>
            <p:cNvSpPr>
              <a:spLocks/>
            </p:cNvSpPr>
            <p:nvPr/>
          </p:nvSpPr>
          <p:spPr bwMode="auto">
            <a:xfrm>
              <a:off x="5612984" y="3119770"/>
              <a:ext cx="19929" cy="29893"/>
            </a:xfrm>
            <a:custGeom>
              <a:avLst/>
              <a:gdLst>
                <a:gd name="T0" fmla="*/ 8 w 9"/>
                <a:gd name="T1" fmla="*/ 1 h 14"/>
                <a:gd name="T2" fmla="*/ 5 w 9"/>
                <a:gd name="T3" fmla="*/ 0 h 14"/>
                <a:gd name="T4" fmla="*/ 3 w 9"/>
                <a:gd name="T5" fmla="*/ 3 h 14"/>
                <a:gd name="T6" fmla="*/ 1 w 9"/>
                <a:gd name="T7" fmla="*/ 14 h 14"/>
                <a:gd name="T8" fmla="*/ 9 w 9"/>
                <a:gd name="T9" fmla="*/ 2 h 14"/>
                <a:gd name="T10" fmla="*/ 8 w 9"/>
                <a:gd name="T11" fmla="*/ 1 h 14"/>
              </a:gdLst>
              <a:ahLst/>
              <a:cxnLst>
                <a:cxn ang="0">
                  <a:pos x="T0" y="T1"/>
                </a:cxn>
                <a:cxn ang="0">
                  <a:pos x="T2" y="T3"/>
                </a:cxn>
                <a:cxn ang="0">
                  <a:pos x="T4" y="T5"/>
                </a:cxn>
                <a:cxn ang="0">
                  <a:pos x="T6" y="T7"/>
                </a:cxn>
                <a:cxn ang="0">
                  <a:pos x="T8" y="T9"/>
                </a:cxn>
                <a:cxn ang="0">
                  <a:pos x="T10" y="T11"/>
                </a:cxn>
              </a:cxnLst>
              <a:rect l="0" t="0" r="r" b="b"/>
              <a:pathLst>
                <a:path w="9" h="14">
                  <a:moveTo>
                    <a:pt x="8" y="1"/>
                  </a:moveTo>
                  <a:cubicBezTo>
                    <a:pt x="7" y="0"/>
                    <a:pt x="6" y="0"/>
                    <a:pt x="5" y="0"/>
                  </a:cubicBezTo>
                  <a:cubicBezTo>
                    <a:pt x="4" y="1"/>
                    <a:pt x="4" y="2"/>
                    <a:pt x="3" y="3"/>
                  </a:cubicBezTo>
                  <a:cubicBezTo>
                    <a:pt x="1" y="6"/>
                    <a:pt x="0" y="10"/>
                    <a:pt x="1" y="14"/>
                  </a:cubicBezTo>
                  <a:cubicBezTo>
                    <a:pt x="6" y="10"/>
                    <a:pt x="8" y="6"/>
                    <a:pt x="9" y="2"/>
                  </a:cubicBezTo>
                  <a:cubicBezTo>
                    <a:pt x="9" y="2"/>
                    <a:pt x="9" y="1"/>
                    <a:pt x="8" y="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94"/>
            <p:cNvSpPr>
              <a:spLocks/>
            </p:cNvSpPr>
            <p:nvPr/>
          </p:nvSpPr>
          <p:spPr bwMode="auto">
            <a:xfrm>
              <a:off x="2544842" y="1498283"/>
              <a:ext cx="29893" cy="14494"/>
            </a:xfrm>
            <a:custGeom>
              <a:avLst/>
              <a:gdLst>
                <a:gd name="T0" fmla="*/ 5 w 14"/>
                <a:gd name="T1" fmla="*/ 7 h 7"/>
                <a:gd name="T2" fmla="*/ 14 w 14"/>
                <a:gd name="T3" fmla="*/ 0 h 7"/>
                <a:gd name="T4" fmla="*/ 4 w 14"/>
                <a:gd name="T5" fmla="*/ 0 h 7"/>
                <a:gd name="T6" fmla="*/ 0 w 14"/>
                <a:gd name="T7" fmla="*/ 4 h 7"/>
                <a:gd name="T8" fmla="*/ 2 w 14"/>
                <a:gd name="T9" fmla="*/ 7 h 7"/>
                <a:gd name="T10" fmla="*/ 5 w 14"/>
                <a:gd name="T11" fmla="*/ 7 h 7"/>
              </a:gdLst>
              <a:ahLst/>
              <a:cxnLst>
                <a:cxn ang="0">
                  <a:pos x="T0" y="T1"/>
                </a:cxn>
                <a:cxn ang="0">
                  <a:pos x="T2" y="T3"/>
                </a:cxn>
                <a:cxn ang="0">
                  <a:pos x="T4" y="T5"/>
                </a:cxn>
                <a:cxn ang="0">
                  <a:pos x="T6" y="T7"/>
                </a:cxn>
                <a:cxn ang="0">
                  <a:pos x="T8" y="T9"/>
                </a:cxn>
                <a:cxn ang="0">
                  <a:pos x="T10" y="T11"/>
                </a:cxn>
              </a:cxnLst>
              <a:rect l="0" t="0" r="r" b="b"/>
              <a:pathLst>
                <a:path w="14" h="7">
                  <a:moveTo>
                    <a:pt x="5" y="7"/>
                  </a:moveTo>
                  <a:cubicBezTo>
                    <a:pt x="8" y="5"/>
                    <a:pt x="11" y="2"/>
                    <a:pt x="14" y="0"/>
                  </a:cubicBezTo>
                  <a:cubicBezTo>
                    <a:pt x="10" y="0"/>
                    <a:pt x="7" y="0"/>
                    <a:pt x="4" y="0"/>
                  </a:cubicBezTo>
                  <a:cubicBezTo>
                    <a:pt x="2" y="0"/>
                    <a:pt x="0" y="2"/>
                    <a:pt x="0" y="4"/>
                  </a:cubicBezTo>
                  <a:cubicBezTo>
                    <a:pt x="0" y="5"/>
                    <a:pt x="1" y="6"/>
                    <a:pt x="2" y="7"/>
                  </a:cubicBezTo>
                  <a:cubicBezTo>
                    <a:pt x="2" y="7"/>
                    <a:pt x="4" y="7"/>
                    <a:pt x="5" y="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95"/>
            <p:cNvSpPr>
              <a:spLocks/>
            </p:cNvSpPr>
            <p:nvPr/>
          </p:nvSpPr>
          <p:spPr bwMode="auto">
            <a:xfrm>
              <a:off x="1414330" y="2832613"/>
              <a:ext cx="0" cy="1812"/>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1"/>
                    <a:pt x="0" y="1"/>
                  </a:cubicBezTo>
                  <a:cubicBezTo>
                    <a:pt x="0" y="1"/>
                    <a:pt x="0" y="0"/>
                    <a:pt x="0" y="0"/>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96"/>
            <p:cNvSpPr>
              <a:spLocks/>
            </p:cNvSpPr>
            <p:nvPr/>
          </p:nvSpPr>
          <p:spPr bwMode="auto">
            <a:xfrm>
              <a:off x="1414330" y="2809060"/>
              <a:ext cx="19023" cy="23552"/>
            </a:xfrm>
            <a:custGeom>
              <a:avLst/>
              <a:gdLst>
                <a:gd name="T0" fmla="*/ 9 w 9"/>
                <a:gd name="T1" fmla="*/ 3 h 11"/>
                <a:gd name="T2" fmla="*/ 8 w 9"/>
                <a:gd name="T3" fmla="*/ 1 h 11"/>
                <a:gd name="T4" fmla="*/ 6 w 9"/>
                <a:gd name="T5" fmla="*/ 0 h 11"/>
                <a:gd name="T6" fmla="*/ 1 w 9"/>
                <a:gd name="T7" fmla="*/ 6 h 11"/>
                <a:gd name="T8" fmla="*/ 0 w 9"/>
                <a:gd name="T9" fmla="*/ 11 h 11"/>
                <a:gd name="T10" fmla="*/ 3 w 9"/>
                <a:gd name="T11" fmla="*/ 10 h 11"/>
                <a:gd name="T12" fmla="*/ 9 w 9"/>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9" y="3"/>
                  </a:moveTo>
                  <a:cubicBezTo>
                    <a:pt x="9" y="2"/>
                    <a:pt x="9" y="1"/>
                    <a:pt x="8" y="1"/>
                  </a:cubicBezTo>
                  <a:cubicBezTo>
                    <a:pt x="7" y="0"/>
                    <a:pt x="7" y="0"/>
                    <a:pt x="6" y="0"/>
                  </a:cubicBezTo>
                  <a:cubicBezTo>
                    <a:pt x="3" y="1"/>
                    <a:pt x="1" y="3"/>
                    <a:pt x="1" y="6"/>
                  </a:cubicBezTo>
                  <a:cubicBezTo>
                    <a:pt x="0" y="7"/>
                    <a:pt x="0" y="9"/>
                    <a:pt x="0" y="11"/>
                  </a:cubicBezTo>
                  <a:cubicBezTo>
                    <a:pt x="1" y="11"/>
                    <a:pt x="2" y="11"/>
                    <a:pt x="3" y="10"/>
                  </a:cubicBezTo>
                  <a:cubicBezTo>
                    <a:pt x="6" y="9"/>
                    <a:pt x="8" y="6"/>
                    <a:pt x="9"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203"/>
            <p:cNvSpPr>
              <a:spLocks/>
            </p:cNvSpPr>
            <p:nvPr/>
          </p:nvSpPr>
          <p:spPr bwMode="auto">
            <a:xfrm>
              <a:off x="5427283" y="4656106"/>
              <a:ext cx="19023" cy="12682"/>
            </a:xfrm>
            <a:custGeom>
              <a:avLst/>
              <a:gdLst>
                <a:gd name="T0" fmla="*/ 1 w 9"/>
                <a:gd name="T1" fmla="*/ 3 h 6"/>
                <a:gd name="T2" fmla="*/ 0 w 9"/>
                <a:gd name="T3" fmla="*/ 4 h 6"/>
                <a:gd name="T4" fmla="*/ 2 w 9"/>
                <a:gd name="T5" fmla="*/ 6 h 6"/>
                <a:gd name="T6" fmla="*/ 8 w 9"/>
                <a:gd name="T7" fmla="*/ 5 h 6"/>
                <a:gd name="T8" fmla="*/ 9 w 9"/>
                <a:gd name="T9" fmla="*/ 4 h 6"/>
                <a:gd name="T10" fmla="*/ 9 w 9"/>
                <a:gd name="T11" fmla="*/ 3 h 6"/>
                <a:gd name="T12" fmla="*/ 1 w 9"/>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3"/>
                  </a:moveTo>
                  <a:cubicBezTo>
                    <a:pt x="0" y="3"/>
                    <a:pt x="0" y="4"/>
                    <a:pt x="0" y="4"/>
                  </a:cubicBezTo>
                  <a:cubicBezTo>
                    <a:pt x="1" y="5"/>
                    <a:pt x="1" y="6"/>
                    <a:pt x="2" y="6"/>
                  </a:cubicBezTo>
                  <a:cubicBezTo>
                    <a:pt x="4" y="6"/>
                    <a:pt x="6" y="6"/>
                    <a:pt x="8" y="5"/>
                  </a:cubicBezTo>
                  <a:cubicBezTo>
                    <a:pt x="8" y="5"/>
                    <a:pt x="8" y="5"/>
                    <a:pt x="9" y="4"/>
                  </a:cubicBezTo>
                  <a:cubicBezTo>
                    <a:pt x="9" y="4"/>
                    <a:pt x="9" y="3"/>
                    <a:pt x="9" y="3"/>
                  </a:cubicBezTo>
                  <a:cubicBezTo>
                    <a:pt x="6" y="0"/>
                    <a:pt x="3" y="0"/>
                    <a:pt x="1" y="3"/>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34"/>
            <p:cNvSpPr>
              <a:spLocks/>
            </p:cNvSpPr>
            <p:nvPr/>
          </p:nvSpPr>
          <p:spPr bwMode="auto">
            <a:xfrm>
              <a:off x="4386452" y="4493051"/>
              <a:ext cx="340603" cy="329732"/>
            </a:xfrm>
            <a:custGeom>
              <a:avLst/>
              <a:gdLst>
                <a:gd name="T0" fmla="*/ 151 w 159"/>
                <a:gd name="T1" fmla="*/ 117 h 154"/>
                <a:gd name="T2" fmla="*/ 150 w 159"/>
                <a:gd name="T3" fmla="*/ 117 h 154"/>
                <a:gd name="T4" fmla="*/ 146 w 159"/>
                <a:gd name="T5" fmla="*/ 114 h 154"/>
                <a:gd name="T6" fmla="*/ 146 w 159"/>
                <a:gd name="T7" fmla="*/ 113 h 154"/>
                <a:gd name="T8" fmla="*/ 145 w 159"/>
                <a:gd name="T9" fmla="*/ 111 h 154"/>
                <a:gd name="T10" fmla="*/ 146 w 159"/>
                <a:gd name="T11" fmla="*/ 111 h 154"/>
                <a:gd name="T12" fmla="*/ 146 w 159"/>
                <a:gd name="T13" fmla="*/ 113 h 154"/>
                <a:gd name="T14" fmla="*/ 147 w 159"/>
                <a:gd name="T15" fmla="*/ 113 h 154"/>
                <a:gd name="T16" fmla="*/ 151 w 159"/>
                <a:gd name="T17" fmla="*/ 117 h 154"/>
                <a:gd name="T18" fmla="*/ 151 w 159"/>
                <a:gd name="T19" fmla="*/ 117 h 154"/>
                <a:gd name="T20" fmla="*/ 155 w 159"/>
                <a:gd name="T21" fmla="*/ 118 h 154"/>
                <a:gd name="T22" fmla="*/ 157 w 159"/>
                <a:gd name="T23" fmla="*/ 118 h 154"/>
                <a:gd name="T24" fmla="*/ 159 w 159"/>
                <a:gd name="T25" fmla="*/ 114 h 154"/>
                <a:gd name="T26" fmla="*/ 149 w 159"/>
                <a:gd name="T27" fmla="*/ 100 h 154"/>
                <a:gd name="T28" fmla="*/ 146 w 159"/>
                <a:gd name="T29" fmla="*/ 99 h 154"/>
                <a:gd name="T30" fmla="*/ 140 w 159"/>
                <a:gd name="T31" fmla="*/ 102 h 154"/>
                <a:gd name="T32" fmla="*/ 139 w 159"/>
                <a:gd name="T33" fmla="*/ 105 h 154"/>
                <a:gd name="T34" fmla="*/ 133 w 159"/>
                <a:gd name="T35" fmla="*/ 104 h 154"/>
                <a:gd name="T36" fmla="*/ 130 w 159"/>
                <a:gd name="T37" fmla="*/ 96 h 154"/>
                <a:gd name="T38" fmla="*/ 125 w 159"/>
                <a:gd name="T39" fmla="*/ 92 h 154"/>
                <a:gd name="T40" fmla="*/ 119 w 159"/>
                <a:gd name="T41" fmla="*/ 90 h 154"/>
                <a:gd name="T42" fmla="*/ 117 w 159"/>
                <a:gd name="T43" fmla="*/ 88 h 154"/>
                <a:gd name="T44" fmla="*/ 118 w 159"/>
                <a:gd name="T45" fmla="*/ 79 h 154"/>
                <a:gd name="T46" fmla="*/ 118 w 159"/>
                <a:gd name="T47" fmla="*/ 75 h 154"/>
                <a:gd name="T48" fmla="*/ 109 w 159"/>
                <a:gd name="T49" fmla="*/ 64 h 154"/>
                <a:gd name="T50" fmla="*/ 106 w 159"/>
                <a:gd name="T51" fmla="*/ 61 h 154"/>
                <a:gd name="T52" fmla="*/ 97 w 159"/>
                <a:gd name="T53" fmla="*/ 57 h 154"/>
                <a:gd name="T54" fmla="*/ 93 w 159"/>
                <a:gd name="T55" fmla="*/ 55 h 154"/>
                <a:gd name="T56" fmla="*/ 84 w 159"/>
                <a:gd name="T57" fmla="*/ 48 h 154"/>
                <a:gd name="T58" fmla="*/ 73 w 159"/>
                <a:gd name="T59" fmla="*/ 41 h 154"/>
                <a:gd name="T60" fmla="*/ 67 w 159"/>
                <a:gd name="T61" fmla="*/ 37 h 154"/>
                <a:gd name="T62" fmla="*/ 59 w 159"/>
                <a:gd name="T63" fmla="*/ 29 h 154"/>
                <a:gd name="T64" fmla="*/ 36 w 159"/>
                <a:gd name="T65" fmla="*/ 9 h 154"/>
                <a:gd name="T66" fmla="*/ 27 w 159"/>
                <a:gd name="T67" fmla="*/ 5 h 154"/>
                <a:gd name="T68" fmla="*/ 7 w 159"/>
                <a:gd name="T69" fmla="*/ 0 h 154"/>
                <a:gd name="T70" fmla="*/ 2 w 159"/>
                <a:gd name="T71" fmla="*/ 1 h 154"/>
                <a:gd name="T72" fmla="*/ 0 w 159"/>
                <a:gd name="T73" fmla="*/ 7 h 154"/>
                <a:gd name="T74" fmla="*/ 4 w 159"/>
                <a:gd name="T75" fmla="*/ 14 h 154"/>
                <a:gd name="T76" fmla="*/ 19 w 159"/>
                <a:gd name="T77" fmla="*/ 26 h 154"/>
                <a:gd name="T78" fmla="*/ 28 w 159"/>
                <a:gd name="T79" fmla="*/ 33 h 154"/>
                <a:gd name="T80" fmla="*/ 34 w 159"/>
                <a:gd name="T81" fmla="*/ 40 h 154"/>
                <a:gd name="T82" fmla="*/ 46 w 159"/>
                <a:gd name="T83" fmla="*/ 54 h 154"/>
                <a:gd name="T84" fmla="*/ 50 w 159"/>
                <a:gd name="T85" fmla="*/ 59 h 154"/>
                <a:gd name="T86" fmla="*/ 54 w 159"/>
                <a:gd name="T87" fmla="*/ 70 h 154"/>
                <a:gd name="T88" fmla="*/ 58 w 159"/>
                <a:gd name="T89" fmla="*/ 75 h 154"/>
                <a:gd name="T90" fmla="*/ 71 w 159"/>
                <a:gd name="T91" fmla="*/ 94 h 154"/>
                <a:gd name="T92" fmla="*/ 75 w 159"/>
                <a:gd name="T93" fmla="*/ 104 h 154"/>
                <a:gd name="T94" fmla="*/ 81 w 159"/>
                <a:gd name="T95" fmla="*/ 114 h 154"/>
                <a:gd name="T96" fmla="*/ 95 w 159"/>
                <a:gd name="T97" fmla="*/ 128 h 154"/>
                <a:gd name="T98" fmla="*/ 111 w 159"/>
                <a:gd name="T99" fmla="*/ 142 h 154"/>
                <a:gd name="T100" fmla="*/ 124 w 159"/>
                <a:gd name="T101" fmla="*/ 152 h 154"/>
                <a:gd name="T102" fmla="*/ 129 w 159"/>
                <a:gd name="T103" fmla="*/ 154 h 154"/>
                <a:gd name="T104" fmla="*/ 147 w 159"/>
                <a:gd name="T105" fmla="*/ 154 h 154"/>
                <a:gd name="T106" fmla="*/ 147 w 159"/>
                <a:gd name="T107" fmla="*/ 136 h 154"/>
                <a:gd name="T108" fmla="*/ 151 w 159"/>
                <a:gd name="T109" fmla="*/ 11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 h="154">
                  <a:moveTo>
                    <a:pt x="151" y="117"/>
                  </a:moveTo>
                  <a:cubicBezTo>
                    <a:pt x="151" y="117"/>
                    <a:pt x="150" y="117"/>
                    <a:pt x="150" y="117"/>
                  </a:cubicBezTo>
                  <a:cubicBezTo>
                    <a:pt x="149" y="116"/>
                    <a:pt x="148" y="115"/>
                    <a:pt x="146" y="114"/>
                  </a:cubicBezTo>
                  <a:cubicBezTo>
                    <a:pt x="146" y="113"/>
                    <a:pt x="146" y="113"/>
                    <a:pt x="146" y="113"/>
                  </a:cubicBezTo>
                  <a:cubicBezTo>
                    <a:pt x="146" y="112"/>
                    <a:pt x="145" y="112"/>
                    <a:pt x="145" y="111"/>
                  </a:cubicBezTo>
                  <a:cubicBezTo>
                    <a:pt x="145" y="111"/>
                    <a:pt x="146" y="111"/>
                    <a:pt x="146" y="111"/>
                  </a:cubicBezTo>
                  <a:cubicBezTo>
                    <a:pt x="146" y="111"/>
                    <a:pt x="146" y="112"/>
                    <a:pt x="146" y="113"/>
                  </a:cubicBezTo>
                  <a:cubicBezTo>
                    <a:pt x="146" y="113"/>
                    <a:pt x="147" y="113"/>
                    <a:pt x="147" y="113"/>
                  </a:cubicBezTo>
                  <a:cubicBezTo>
                    <a:pt x="148" y="114"/>
                    <a:pt x="149" y="116"/>
                    <a:pt x="151" y="117"/>
                  </a:cubicBezTo>
                  <a:cubicBezTo>
                    <a:pt x="151" y="117"/>
                    <a:pt x="151" y="117"/>
                    <a:pt x="151" y="117"/>
                  </a:cubicBezTo>
                  <a:cubicBezTo>
                    <a:pt x="152" y="117"/>
                    <a:pt x="154" y="118"/>
                    <a:pt x="155" y="118"/>
                  </a:cubicBezTo>
                  <a:cubicBezTo>
                    <a:pt x="156" y="118"/>
                    <a:pt x="156" y="118"/>
                    <a:pt x="157" y="118"/>
                  </a:cubicBezTo>
                  <a:cubicBezTo>
                    <a:pt x="158" y="118"/>
                    <a:pt x="159" y="115"/>
                    <a:pt x="159" y="114"/>
                  </a:cubicBezTo>
                  <a:cubicBezTo>
                    <a:pt x="155" y="109"/>
                    <a:pt x="152" y="105"/>
                    <a:pt x="149" y="100"/>
                  </a:cubicBezTo>
                  <a:cubicBezTo>
                    <a:pt x="148" y="99"/>
                    <a:pt x="147" y="99"/>
                    <a:pt x="146" y="99"/>
                  </a:cubicBezTo>
                  <a:cubicBezTo>
                    <a:pt x="144" y="100"/>
                    <a:pt x="142" y="100"/>
                    <a:pt x="140" y="102"/>
                  </a:cubicBezTo>
                  <a:cubicBezTo>
                    <a:pt x="140" y="103"/>
                    <a:pt x="139" y="104"/>
                    <a:pt x="139" y="105"/>
                  </a:cubicBezTo>
                  <a:cubicBezTo>
                    <a:pt x="137" y="107"/>
                    <a:pt x="134" y="106"/>
                    <a:pt x="133" y="104"/>
                  </a:cubicBezTo>
                  <a:cubicBezTo>
                    <a:pt x="132" y="101"/>
                    <a:pt x="131" y="99"/>
                    <a:pt x="130" y="96"/>
                  </a:cubicBezTo>
                  <a:cubicBezTo>
                    <a:pt x="129" y="94"/>
                    <a:pt x="127" y="92"/>
                    <a:pt x="125" y="92"/>
                  </a:cubicBezTo>
                  <a:cubicBezTo>
                    <a:pt x="123" y="91"/>
                    <a:pt x="121" y="91"/>
                    <a:pt x="119" y="90"/>
                  </a:cubicBezTo>
                  <a:cubicBezTo>
                    <a:pt x="118" y="90"/>
                    <a:pt x="117" y="88"/>
                    <a:pt x="117" y="88"/>
                  </a:cubicBezTo>
                  <a:cubicBezTo>
                    <a:pt x="119" y="85"/>
                    <a:pt x="116" y="82"/>
                    <a:pt x="118" y="79"/>
                  </a:cubicBezTo>
                  <a:cubicBezTo>
                    <a:pt x="119" y="78"/>
                    <a:pt x="119" y="76"/>
                    <a:pt x="118" y="75"/>
                  </a:cubicBezTo>
                  <a:cubicBezTo>
                    <a:pt x="116" y="71"/>
                    <a:pt x="110" y="69"/>
                    <a:pt x="109" y="64"/>
                  </a:cubicBezTo>
                  <a:cubicBezTo>
                    <a:pt x="109" y="63"/>
                    <a:pt x="107" y="62"/>
                    <a:pt x="106" y="61"/>
                  </a:cubicBezTo>
                  <a:cubicBezTo>
                    <a:pt x="103" y="60"/>
                    <a:pt x="100" y="58"/>
                    <a:pt x="97" y="57"/>
                  </a:cubicBezTo>
                  <a:cubicBezTo>
                    <a:pt x="95" y="56"/>
                    <a:pt x="93" y="56"/>
                    <a:pt x="93" y="55"/>
                  </a:cubicBezTo>
                  <a:cubicBezTo>
                    <a:pt x="91" y="51"/>
                    <a:pt x="87" y="50"/>
                    <a:pt x="84" y="48"/>
                  </a:cubicBezTo>
                  <a:cubicBezTo>
                    <a:pt x="81" y="45"/>
                    <a:pt x="77" y="43"/>
                    <a:pt x="73" y="41"/>
                  </a:cubicBezTo>
                  <a:cubicBezTo>
                    <a:pt x="70" y="41"/>
                    <a:pt x="68" y="39"/>
                    <a:pt x="67" y="37"/>
                  </a:cubicBezTo>
                  <a:cubicBezTo>
                    <a:pt x="65" y="33"/>
                    <a:pt x="62" y="31"/>
                    <a:pt x="59" y="29"/>
                  </a:cubicBezTo>
                  <a:cubicBezTo>
                    <a:pt x="49" y="24"/>
                    <a:pt x="41" y="18"/>
                    <a:pt x="36" y="9"/>
                  </a:cubicBezTo>
                  <a:cubicBezTo>
                    <a:pt x="34" y="7"/>
                    <a:pt x="31" y="5"/>
                    <a:pt x="27" y="5"/>
                  </a:cubicBezTo>
                  <a:cubicBezTo>
                    <a:pt x="20" y="4"/>
                    <a:pt x="13" y="3"/>
                    <a:pt x="7" y="0"/>
                  </a:cubicBezTo>
                  <a:cubicBezTo>
                    <a:pt x="5" y="0"/>
                    <a:pt x="3" y="1"/>
                    <a:pt x="2" y="1"/>
                  </a:cubicBezTo>
                  <a:cubicBezTo>
                    <a:pt x="0" y="2"/>
                    <a:pt x="0" y="5"/>
                    <a:pt x="0" y="7"/>
                  </a:cubicBezTo>
                  <a:cubicBezTo>
                    <a:pt x="1" y="9"/>
                    <a:pt x="2" y="12"/>
                    <a:pt x="4" y="14"/>
                  </a:cubicBezTo>
                  <a:cubicBezTo>
                    <a:pt x="8" y="18"/>
                    <a:pt x="13" y="23"/>
                    <a:pt x="19" y="26"/>
                  </a:cubicBezTo>
                  <a:cubicBezTo>
                    <a:pt x="23" y="27"/>
                    <a:pt x="25" y="30"/>
                    <a:pt x="28" y="33"/>
                  </a:cubicBezTo>
                  <a:cubicBezTo>
                    <a:pt x="29" y="35"/>
                    <a:pt x="32" y="37"/>
                    <a:pt x="34" y="40"/>
                  </a:cubicBezTo>
                  <a:cubicBezTo>
                    <a:pt x="37" y="46"/>
                    <a:pt x="41" y="50"/>
                    <a:pt x="46" y="54"/>
                  </a:cubicBezTo>
                  <a:cubicBezTo>
                    <a:pt x="48" y="56"/>
                    <a:pt x="49" y="58"/>
                    <a:pt x="50" y="59"/>
                  </a:cubicBezTo>
                  <a:cubicBezTo>
                    <a:pt x="51" y="63"/>
                    <a:pt x="53" y="66"/>
                    <a:pt x="54" y="70"/>
                  </a:cubicBezTo>
                  <a:cubicBezTo>
                    <a:pt x="55" y="71"/>
                    <a:pt x="56" y="73"/>
                    <a:pt x="58" y="75"/>
                  </a:cubicBezTo>
                  <a:cubicBezTo>
                    <a:pt x="64" y="80"/>
                    <a:pt x="68" y="86"/>
                    <a:pt x="71" y="94"/>
                  </a:cubicBezTo>
                  <a:cubicBezTo>
                    <a:pt x="72" y="98"/>
                    <a:pt x="74" y="101"/>
                    <a:pt x="75" y="104"/>
                  </a:cubicBezTo>
                  <a:cubicBezTo>
                    <a:pt x="76" y="108"/>
                    <a:pt x="78" y="111"/>
                    <a:pt x="81" y="114"/>
                  </a:cubicBezTo>
                  <a:cubicBezTo>
                    <a:pt x="85" y="119"/>
                    <a:pt x="91" y="123"/>
                    <a:pt x="95" y="128"/>
                  </a:cubicBezTo>
                  <a:cubicBezTo>
                    <a:pt x="100" y="133"/>
                    <a:pt x="105" y="138"/>
                    <a:pt x="111" y="142"/>
                  </a:cubicBezTo>
                  <a:cubicBezTo>
                    <a:pt x="115" y="145"/>
                    <a:pt x="120" y="148"/>
                    <a:pt x="124" y="152"/>
                  </a:cubicBezTo>
                  <a:cubicBezTo>
                    <a:pt x="125" y="154"/>
                    <a:pt x="127" y="154"/>
                    <a:pt x="129" y="154"/>
                  </a:cubicBezTo>
                  <a:cubicBezTo>
                    <a:pt x="135" y="154"/>
                    <a:pt x="141" y="153"/>
                    <a:pt x="147" y="154"/>
                  </a:cubicBezTo>
                  <a:cubicBezTo>
                    <a:pt x="147" y="148"/>
                    <a:pt x="148" y="142"/>
                    <a:pt x="147" y="136"/>
                  </a:cubicBezTo>
                  <a:cubicBezTo>
                    <a:pt x="147" y="130"/>
                    <a:pt x="150" y="124"/>
                    <a:pt x="151" y="117"/>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28"/>
            <p:cNvSpPr>
              <a:spLocks/>
            </p:cNvSpPr>
            <p:nvPr/>
          </p:nvSpPr>
          <p:spPr bwMode="auto">
            <a:xfrm>
              <a:off x="4854780" y="4973156"/>
              <a:ext cx="1175804" cy="982856"/>
            </a:xfrm>
            <a:custGeom>
              <a:avLst/>
              <a:gdLst>
                <a:gd name="T0" fmla="*/ 527 w 549"/>
                <a:gd name="T1" fmla="*/ 195 h 459"/>
                <a:gd name="T2" fmla="*/ 505 w 549"/>
                <a:gd name="T3" fmla="*/ 164 h 459"/>
                <a:gd name="T4" fmla="*/ 472 w 549"/>
                <a:gd name="T5" fmla="*/ 120 h 459"/>
                <a:gd name="T6" fmla="*/ 459 w 549"/>
                <a:gd name="T7" fmla="*/ 73 h 459"/>
                <a:gd name="T8" fmla="*/ 439 w 549"/>
                <a:gd name="T9" fmla="*/ 44 h 459"/>
                <a:gd name="T10" fmla="*/ 424 w 549"/>
                <a:gd name="T11" fmla="*/ 1 h 459"/>
                <a:gd name="T12" fmla="*/ 411 w 549"/>
                <a:gd name="T13" fmla="*/ 30 h 459"/>
                <a:gd name="T14" fmla="*/ 396 w 549"/>
                <a:gd name="T15" fmla="*/ 91 h 459"/>
                <a:gd name="T16" fmla="*/ 368 w 549"/>
                <a:gd name="T17" fmla="*/ 84 h 459"/>
                <a:gd name="T18" fmla="*/ 329 w 549"/>
                <a:gd name="T19" fmla="*/ 59 h 459"/>
                <a:gd name="T20" fmla="*/ 340 w 549"/>
                <a:gd name="T21" fmla="*/ 32 h 459"/>
                <a:gd name="T22" fmla="*/ 330 w 549"/>
                <a:gd name="T23" fmla="*/ 15 h 459"/>
                <a:gd name="T24" fmla="*/ 284 w 549"/>
                <a:gd name="T25" fmla="*/ 4 h 459"/>
                <a:gd name="T26" fmla="*/ 285 w 549"/>
                <a:gd name="T27" fmla="*/ 10 h 459"/>
                <a:gd name="T28" fmla="*/ 254 w 549"/>
                <a:gd name="T29" fmla="*/ 27 h 459"/>
                <a:gd name="T30" fmla="*/ 227 w 549"/>
                <a:gd name="T31" fmla="*/ 54 h 459"/>
                <a:gd name="T32" fmla="*/ 195 w 549"/>
                <a:gd name="T33" fmla="*/ 45 h 459"/>
                <a:gd name="T34" fmla="*/ 170 w 549"/>
                <a:gd name="T35" fmla="*/ 70 h 459"/>
                <a:gd name="T36" fmla="*/ 157 w 549"/>
                <a:gd name="T37" fmla="*/ 80 h 459"/>
                <a:gd name="T38" fmla="*/ 151 w 549"/>
                <a:gd name="T39" fmla="*/ 80 h 459"/>
                <a:gd name="T40" fmla="*/ 128 w 549"/>
                <a:gd name="T41" fmla="*/ 109 h 459"/>
                <a:gd name="T42" fmla="*/ 70 w 549"/>
                <a:gd name="T43" fmla="*/ 135 h 459"/>
                <a:gd name="T44" fmla="*/ 23 w 549"/>
                <a:gd name="T45" fmla="*/ 155 h 459"/>
                <a:gd name="T46" fmla="*/ 13 w 549"/>
                <a:gd name="T47" fmla="*/ 168 h 459"/>
                <a:gd name="T48" fmla="*/ 11 w 549"/>
                <a:gd name="T49" fmla="*/ 213 h 459"/>
                <a:gd name="T50" fmla="*/ 4 w 549"/>
                <a:gd name="T51" fmla="*/ 225 h 459"/>
                <a:gd name="T52" fmla="*/ 7 w 549"/>
                <a:gd name="T53" fmla="*/ 240 h 459"/>
                <a:gd name="T54" fmla="*/ 16 w 549"/>
                <a:gd name="T55" fmla="*/ 308 h 459"/>
                <a:gd name="T56" fmla="*/ 10 w 549"/>
                <a:gd name="T57" fmla="*/ 354 h 459"/>
                <a:gd name="T58" fmla="*/ 65 w 549"/>
                <a:gd name="T59" fmla="*/ 347 h 459"/>
                <a:gd name="T60" fmla="*/ 119 w 549"/>
                <a:gd name="T61" fmla="*/ 341 h 459"/>
                <a:gd name="T62" fmla="*/ 188 w 549"/>
                <a:gd name="T63" fmla="*/ 315 h 459"/>
                <a:gd name="T64" fmla="*/ 245 w 549"/>
                <a:gd name="T65" fmla="*/ 320 h 459"/>
                <a:gd name="T66" fmla="*/ 271 w 549"/>
                <a:gd name="T67" fmla="*/ 349 h 459"/>
                <a:gd name="T68" fmla="*/ 276 w 549"/>
                <a:gd name="T69" fmla="*/ 369 h 459"/>
                <a:gd name="T70" fmla="*/ 308 w 549"/>
                <a:gd name="T71" fmla="*/ 341 h 459"/>
                <a:gd name="T72" fmla="*/ 302 w 549"/>
                <a:gd name="T73" fmla="*/ 361 h 459"/>
                <a:gd name="T74" fmla="*/ 297 w 549"/>
                <a:gd name="T75" fmla="*/ 377 h 459"/>
                <a:gd name="T76" fmla="*/ 312 w 549"/>
                <a:gd name="T77" fmla="*/ 369 h 459"/>
                <a:gd name="T78" fmla="*/ 318 w 549"/>
                <a:gd name="T79" fmla="*/ 385 h 459"/>
                <a:gd name="T80" fmla="*/ 318 w 549"/>
                <a:gd name="T81" fmla="*/ 387 h 459"/>
                <a:gd name="T82" fmla="*/ 341 w 549"/>
                <a:gd name="T83" fmla="*/ 439 h 459"/>
                <a:gd name="T84" fmla="*/ 383 w 549"/>
                <a:gd name="T85" fmla="*/ 438 h 459"/>
                <a:gd name="T86" fmla="*/ 395 w 549"/>
                <a:gd name="T87" fmla="*/ 458 h 459"/>
                <a:gd name="T88" fmla="*/ 446 w 549"/>
                <a:gd name="T89" fmla="*/ 439 h 459"/>
                <a:gd name="T90" fmla="*/ 482 w 549"/>
                <a:gd name="T91" fmla="*/ 378 h 459"/>
                <a:gd name="T92" fmla="*/ 525 w 549"/>
                <a:gd name="T93" fmla="*/ 320 h 459"/>
                <a:gd name="T94" fmla="*/ 542 w 549"/>
                <a:gd name="T95" fmla="*/ 255 h 459"/>
                <a:gd name="T96" fmla="*/ 549 w 549"/>
                <a:gd name="T97" fmla="*/ 212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9" h="459">
                  <a:moveTo>
                    <a:pt x="546" y="211"/>
                  </a:moveTo>
                  <a:cubicBezTo>
                    <a:pt x="541" y="215"/>
                    <a:pt x="541" y="215"/>
                    <a:pt x="538" y="210"/>
                  </a:cubicBezTo>
                  <a:cubicBezTo>
                    <a:pt x="538" y="209"/>
                    <a:pt x="537" y="209"/>
                    <a:pt x="536" y="208"/>
                  </a:cubicBezTo>
                  <a:cubicBezTo>
                    <a:pt x="534" y="203"/>
                    <a:pt x="533" y="198"/>
                    <a:pt x="527" y="195"/>
                  </a:cubicBezTo>
                  <a:cubicBezTo>
                    <a:pt x="525" y="189"/>
                    <a:pt x="518" y="185"/>
                    <a:pt x="520" y="177"/>
                  </a:cubicBezTo>
                  <a:cubicBezTo>
                    <a:pt x="521" y="173"/>
                    <a:pt x="519" y="171"/>
                    <a:pt x="515" y="170"/>
                  </a:cubicBezTo>
                  <a:cubicBezTo>
                    <a:pt x="512" y="169"/>
                    <a:pt x="509" y="167"/>
                    <a:pt x="506" y="166"/>
                  </a:cubicBezTo>
                  <a:cubicBezTo>
                    <a:pt x="505" y="166"/>
                    <a:pt x="505" y="165"/>
                    <a:pt x="505" y="164"/>
                  </a:cubicBezTo>
                  <a:cubicBezTo>
                    <a:pt x="504" y="159"/>
                    <a:pt x="504" y="155"/>
                    <a:pt x="501" y="150"/>
                  </a:cubicBezTo>
                  <a:cubicBezTo>
                    <a:pt x="499" y="147"/>
                    <a:pt x="497" y="143"/>
                    <a:pt x="497" y="139"/>
                  </a:cubicBezTo>
                  <a:cubicBezTo>
                    <a:pt x="497" y="137"/>
                    <a:pt x="496" y="136"/>
                    <a:pt x="494" y="135"/>
                  </a:cubicBezTo>
                  <a:cubicBezTo>
                    <a:pt x="486" y="130"/>
                    <a:pt x="480" y="123"/>
                    <a:pt x="472" y="120"/>
                  </a:cubicBezTo>
                  <a:cubicBezTo>
                    <a:pt x="469" y="119"/>
                    <a:pt x="468" y="117"/>
                    <a:pt x="468" y="115"/>
                  </a:cubicBezTo>
                  <a:cubicBezTo>
                    <a:pt x="467" y="111"/>
                    <a:pt x="466" y="107"/>
                    <a:pt x="466" y="103"/>
                  </a:cubicBezTo>
                  <a:cubicBezTo>
                    <a:pt x="467" y="97"/>
                    <a:pt x="465" y="91"/>
                    <a:pt x="462" y="86"/>
                  </a:cubicBezTo>
                  <a:cubicBezTo>
                    <a:pt x="459" y="82"/>
                    <a:pt x="458" y="78"/>
                    <a:pt x="459" y="73"/>
                  </a:cubicBezTo>
                  <a:cubicBezTo>
                    <a:pt x="459" y="69"/>
                    <a:pt x="458" y="66"/>
                    <a:pt x="458" y="62"/>
                  </a:cubicBezTo>
                  <a:cubicBezTo>
                    <a:pt x="458" y="57"/>
                    <a:pt x="456" y="53"/>
                    <a:pt x="452" y="50"/>
                  </a:cubicBezTo>
                  <a:cubicBezTo>
                    <a:pt x="450" y="47"/>
                    <a:pt x="447" y="46"/>
                    <a:pt x="444" y="47"/>
                  </a:cubicBezTo>
                  <a:cubicBezTo>
                    <a:pt x="441" y="48"/>
                    <a:pt x="439" y="46"/>
                    <a:pt x="439" y="44"/>
                  </a:cubicBezTo>
                  <a:cubicBezTo>
                    <a:pt x="438" y="42"/>
                    <a:pt x="438" y="41"/>
                    <a:pt x="438" y="39"/>
                  </a:cubicBezTo>
                  <a:cubicBezTo>
                    <a:pt x="438" y="34"/>
                    <a:pt x="436" y="29"/>
                    <a:pt x="435" y="24"/>
                  </a:cubicBezTo>
                  <a:cubicBezTo>
                    <a:pt x="434" y="17"/>
                    <a:pt x="429" y="11"/>
                    <a:pt x="428" y="3"/>
                  </a:cubicBezTo>
                  <a:cubicBezTo>
                    <a:pt x="427" y="2"/>
                    <a:pt x="425" y="1"/>
                    <a:pt x="424" y="1"/>
                  </a:cubicBezTo>
                  <a:cubicBezTo>
                    <a:pt x="423" y="0"/>
                    <a:pt x="422" y="1"/>
                    <a:pt x="421" y="1"/>
                  </a:cubicBezTo>
                  <a:cubicBezTo>
                    <a:pt x="420" y="2"/>
                    <a:pt x="420" y="3"/>
                    <a:pt x="419" y="4"/>
                  </a:cubicBezTo>
                  <a:cubicBezTo>
                    <a:pt x="417" y="8"/>
                    <a:pt x="416" y="13"/>
                    <a:pt x="414" y="17"/>
                  </a:cubicBezTo>
                  <a:cubicBezTo>
                    <a:pt x="412" y="21"/>
                    <a:pt x="412" y="26"/>
                    <a:pt x="411" y="30"/>
                  </a:cubicBezTo>
                  <a:cubicBezTo>
                    <a:pt x="408" y="38"/>
                    <a:pt x="407" y="45"/>
                    <a:pt x="407" y="53"/>
                  </a:cubicBezTo>
                  <a:cubicBezTo>
                    <a:pt x="408" y="56"/>
                    <a:pt x="407" y="59"/>
                    <a:pt x="406" y="61"/>
                  </a:cubicBezTo>
                  <a:cubicBezTo>
                    <a:pt x="405" y="67"/>
                    <a:pt x="403" y="73"/>
                    <a:pt x="401" y="79"/>
                  </a:cubicBezTo>
                  <a:cubicBezTo>
                    <a:pt x="399" y="83"/>
                    <a:pt x="398" y="87"/>
                    <a:pt x="396" y="91"/>
                  </a:cubicBezTo>
                  <a:cubicBezTo>
                    <a:pt x="395" y="94"/>
                    <a:pt x="392" y="96"/>
                    <a:pt x="389" y="96"/>
                  </a:cubicBezTo>
                  <a:cubicBezTo>
                    <a:pt x="383" y="97"/>
                    <a:pt x="379" y="96"/>
                    <a:pt x="375" y="92"/>
                  </a:cubicBezTo>
                  <a:cubicBezTo>
                    <a:pt x="373" y="90"/>
                    <a:pt x="371" y="87"/>
                    <a:pt x="371" y="84"/>
                  </a:cubicBezTo>
                  <a:cubicBezTo>
                    <a:pt x="370" y="84"/>
                    <a:pt x="369" y="84"/>
                    <a:pt x="368" y="84"/>
                  </a:cubicBezTo>
                  <a:cubicBezTo>
                    <a:pt x="363" y="84"/>
                    <a:pt x="359" y="83"/>
                    <a:pt x="356" y="79"/>
                  </a:cubicBezTo>
                  <a:cubicBezTo>
                    <a:pt x="353" y="75"/>
                    <a:pt x="347" y="73"/>
                    <a:pt x="343" y="70"/>
                  </a:cubicBezTo>
                  <a:cubicBezTo>
                    <a:pt x="339" y="69"/>
                    <a:pt x="337" y="67"/>
                    <a:pt x="335" y="65"/>
                  </a:cubicBezTo>
                  <a:cubicBezTo>
                    <a:pt x="333" y="63"/>
                    <a:pt x="331" y="61"/>
                    <a:pt x="329" y="59"/>
                  </a:cubicBezTo>
                  <a:cubicBezTo>
                    <a:pt x="327" y="57"/>
                    <a:pt x="326" y="55"/>
                    <a:pt x="327" y="52"/>
                  </a:cubicBezTo>
                  <a:cubicBezTo>
                    <a:pt x="329" y="47"/>
                    <a:pt x="333" y="43"/>
                    <a:pt x="332" y="38"/>
                  </a:cubicBezTo>
                  <a:cubicBezTo>
                    <a:pt x="332" y="36"/>
                    <a:pt x="334" y="35"/>
                    <a:pt x="336" y="34"/>
                  </a:cubicBezTo>
                  <a:cubicBezTo>
                    <a:pt x="337" y="34"/>
                    <a:pt x="339" y="33"/>
                    <a:pt x="340" y="32"/>
                  </a:cubicBezTo>
                  <a:cubicBezTo>
                    <a:pt x="342" y="28"/>
                    <a:pt x="345" y="24"/>
                    <a:pt x="347" y="20"/>
                  </a:cubicBezTo>
                  <a:cubicBezTo>
                    <a:pt x="347" y="19"/>
                    <a:pt x="346" y="18"/>
                    <a:pt x="345" y="17"/>
                  </a:cubicBezTo>
                  <a:cubicBezTo>
                    <a:pt x="343" y="15"/>
                    <a:pt x="341" y="14"/>
                    <a:pt x="338" y="15"/>
                  </a:cubicBezTo>
                  <a:cubicBezTo>
                    <a:pt x="335" y="16"/>
                    <a:pt x="333" y="17"/>
                    <a:pt x="330" y="15"/>
                  </a:cubicBezTo>
                  <a:cubicBezTo>
                    <a:pt x="329" y="14"/>
                    <a:pt x="327" y="15"/>
                    <a:pt x="326" y="15"/>
                  </a:cubicBezTo>
                  <a:cubicBezTo>
                    <a:pt x="324" y="16"/>
                    <a:pt x="322" y="17"/>
                    <a:pt x="321" y="16"/>
                  </a:cubicBezTo>
                  <a:cubicBezTo>
                    <a:pt x="313" y="14"/>
                    <a:pt x="304" y="13"/>
                    <a:pt x="297" y="8"/>
                  </a:cubicBezTo>
                  <a:cubicBezTo>
                    <a:pt x="293" y="6"/>
                    <a:pt x="289" y="5"/>
                    <a:pt x="284" y="4"/>
                  </a:cubicBezTo>
                  <a:cubicBezTo>
                    <a:pt x="283" y="3"/>
                    <a:pt x="282" y="4"/>
                    <a:pt x="281" y="4"/>
                  </a:cubicBezTo>
                  <a:cubicBezTo>
                    <a:pt x="281" y="4"/>
                    <a:pt x="280" y="4"/>
                    <a:pt x="280" y="5"/>
                  </a:cubicBezTo>
                  <a:cubicBezTo>
                    <a:pt x="280" y="5"/>
                    <a:pt x="280" y="6"/>
                    <a:pt x="280" y="6"/>
                  </a:cubicBezTo>
                  <a:cubicBezTo>
                    <a:pt x="281" y="8"/>
                    <a:pt x="283" y="9"/>
                    <a:pt x="285" y="10"/>
                  </a:cubicBezTo>
                  <a:cubicBezTo>
                    <a:pt x="286" y="12"/>
                    <a:pt x="286" y="14"/>
                    <a:pt x="284" y="15"/>
                  </a:cubicBezTo>
                  <a:cubicBezTo>
                    <a:pt x="280" y="17"/>
                    <a:pt x="276" y="17"/>
                    <a:pt x="272" y="17"/>
                  </a:cubicBezTo>
                  <a:cubicBezTo>
                    <a:pt x="270" y="17"/>
                    <a:pt x="268" y="17"/>
                    <a:pt x="266" y="18"/>
                  </a:cubicBezTo>
                  <a:cubicBezTo>
                    <a:pt x="262" y="20"/>
                    <a:pt x="257" y="23"/>
                    <a:pt x="254" y="27"/>
                  </a:cubicBezTo>
                  <a:cubicBezTo>
                    <a:pt x="250" y="32"/>
                    <a:pt x="246" y="37"/>
                    <a:pt x="242" y="43"/>
                  </a:cubicBezTo>
                  <a:cubicBezTo>
                    <a:pt x="239" y="46"/>
                    <a:pt x="239" y="48"/>
                    <a:pt x="241" y="52"/>
                  </a:cubicBezTo>
                  <a:cubicBezTo>
                    <a:pt x="241" y="53"/>
                    <a:pt x="239" y="55"/>
                    <a:pt x="237" y="55"/>
                  </a:cubicBezTo>
                  <a:cubicBezTo>
                    <a:pt x="233" y="55"/>
                    <a:pt x="230" y="53"/>
                    <a:pt x="227" y="54"/>
                  </a:cubicBezTo>
                  <a:cubicBezTo>
                    <a:pt x="225" y="55"/>
                    <a:pt x="223" y="54"/>
                    <a:pt x="221" y="52"/>
                  </a:cubicBezTo>
                  <a:cubicBezTo>
                    <a:pt x="219" y="49"/>
                    <a:pt x="217" y="46"/>
                    <a:pt x="214" y="44"/>
                  </a:cubicBezTo>
                  <a:cubicBezTo>
                    <a:pt x="212" y="41"/>
                    <a:pt x="209" y="40"/>
                    <a:pt x="205" y="41"/>
                  </a:cubicBezTo>
                  <a:cubicBezTo>
                    <a:pt x="202" y="42"/>
                    <a:pt x="198" y="43"/>
                    <a:pt x="195" y="45"/>
                  </a:cubicBezTo>
                  <a:cubicBezTo>
                    <a:pt x="192" y="47"/>
                    <a:pt x="190" y="48"/>
                    <a:pt x="186" y="49"/>
                  </a:cubicBezTo>
                  <a:cubicBezTo>
                    <a:pt x="181" y="50"/>
                    <a:pt x="182" y="55"/>
                    <a:pt x="179" y="57"/>
                  </a:cubicBezTo>
                  <a:cubicBezTo>
                    <a:pt x="178" y="58"/>
                    <a:pt x="177" y="60"/>
                    <a:pt x="175" y="60"/>
                  </a:cubicBezTo>
                  <a:cubicBezTo>
                    <a:pt x="170" y="62"/>
                    <a:pt x="169" y="65"/>
                    <a:pt x="170" y="70"/>
                  </a:cubicBezTo>
                  <a:cubicBezTo>
                    <a:pt x="170" y="71"/>
                    <a:pt x="169" y="72"/>
                    <a:pt x="169" y="73"/>
                  </a:cubicBezTo>
                  <a:cubicBezTo>
                    <a:pt x="169" y="74"/>
                    <a:pt x="168" y="76"/>
                    <a:pt x="166" y="75"/>
                  </a:cubicBezTo>
                  <a:cubicBezTo>
                    <a:pt x="164" y="75"/>
                    <a:pt x="163" y="75"/>
                    <a:pt x="161" y="75"/>
                  </a:cubicBezTo>
                  <a:cubicBezTo>
                    <a:pt x="159" y="75"/>
                    <a:pt x="157" y="77"/>
                    <a:pt x="157" y="80"/>
                  </a:cubicBezTo>
                  <a:cubicBezTo>
                    <a:pt x="158" y="82"/>
                    <a:pt x="158" y="84"/>
                    <a:pt x="159" y="86"/>
                  </a:cubicBezTo>
                  <a:cubicBezTo>
                    <a:pt x="159" y="86"/>
                    <a:pt x="158" y="87"/>
                    <a:pt x="158" y="87"/>
                  </a:cubicBezTo>
                  <a:cubicBezTo>
                    <a:pt x="157" y="88"/>
                    <a:pt x="156" y="88"/>
                    <a:pt x="155" y="87"/>
                  </a:cubicBezTo>
                  <a:cubicBezTo>
                    <a:pt x="154" y="85"/>
                    <a:pt x="152" y="83"/>
                    <a:pt x="151" y="80"/>
                  </a:cubicBezTo>
                  <a:cubicBezTo>
                    <a:pt x="149" y="79"/>
                    <a:pt x="147" y="79"/>
                    <a:pt x="146" y="80"/>
                  </a:cubicBezTo>
                  <a:cubicBezTo>
                    <a:pt x="144" y="82"/>
                    <a:pt x="141" y="84"/>
                    <a:pt x="139" y="86"/>
                  </a:cubicBezTo>
                  <a:cubicBezTo>
                    <a:pt x="137" y="87"/>
                    <a:pt x="136" y="89"/>
                    <a:pt x="136" y="91"/>
                  </a:cubicBezTo>
                  <a:cubicBezTo>
                    <a:pt x="137" y="98"/>
                    <a:pt x="134" y="104"/>
                    <a:pt x="128" y="109"/>
                  </a:cubicBezTo>
                  <a:cubicBezTo>
                    <a:pt x="127" y="110"/>
                    <a:pt x="126" y="113"/>
                    <a:pt x="125" y="114"/>
                  </a:cubicBezTo>
                  <a:cubicBezTo>
                    <a:pt x="121" y="120"/>
                    <a:pt x="115" y="124"/>
                    <a:pt x="107" y="124"/>
                  </a:cubicBezTo>
                  <a:cubicBezTo>
                    <a:pt x="102" y="125"/>
                    <a:pt x="97" y="126"/>
                    <a:pt x="92" y="127"/>
                  </a:cubicBezTo>
                  <a:cubicBezTo>
                    <a:pt x="86" y="131"/>
                    <a:pt x="76" y="130"/>
                    <a:pt x="70" y="135"/>
                  </a:cubicBezTo>
                  <a:cubicBezTo>
                    <a:pt x="69" y="136"/>
                    <a:pt x="66" y="136"/>
                    <a:pt x="65" y="136"/>
                  </a:cubicBezTo>
                  <a:cubicBezTo>
                    <a:pt x="59" y="135"/>
                    <a:pt x="54" y="137"/>
                    <a:pt x="49" y="139"/>
                  </a:cubicBezTo>
                  <a:cubicBezTo>
                    <a:pt x="43" y="143"/>
                    <a:pt x="37" y="147"/>
                    <a:pt x="30" y="149"/>
                  </a:cubicBezTo>
                  <a:cubicBezTo>
                    <a:pt x="27" y="150"/>
                    <a:pt x="25" y="153"/>
                    <a:pt x="23" y="155"/>
                  </a:cubicBezTo>
                  <a:cubicBezTo>
                    <a:pt x="22" y="158"/>
                    <a:pt x="21" y="154"/>
                    <a:pt x="20" y="154"/>
                  </a:cubicBezTo>
                  <a:cubicBezTo>
                    <a:pt x="19" y="154"/>
                    <a:pt x="17" y="154"/>
                    <a:pt x="17" y="155"/>
                  </a:cubicBezTo>
                  <a:cubicBezTo>
                    <a:pt x="16" y="157"/>
                    <a:pt x="14" y="158"/>
                    <a:pt x="14" y="160"/>
                  </a:cubicBezTo>
                  <a:cubicBezTo>
                    <a:pt x="13" y="163"/>
                    <a:pt x="13" y="166"/>
                    <a:pt x="13" y="168"/>
                  </a:cubicBezTo>
                  <a:cubicBezTo>
                    <a:pt x="13" y="172"/>
                    <a:pt x="12" y="176"/>
                    <a:pt x="10" y="180"/>
                  </a:cubicBezTo>
                  <a:cubicBezTo>
                    <a:pt x="7" y="184"/>
                    <a:pt x="6" y="188"/>
                    <a:pt x="6" y="192"/>
                  </a:cubicBezTo>
                  <a:cubicBezTo>
                    <a:pt x="6" y="198"/>
                    <a:pt x="7" y="203"/>
                    <a:pt x="10" y="209"/>
                  </a:cubicBezTo>
                  <a:cubicBezTo>
                    <a:pt x="11" y="210"/>
                    <a:pt x="11" y="212"/>
                    <a:pt x="11" y="213"/>
                  </a:cubicBezTo>
                  <a:cubicBezTo>
                    <a:pt x="12" y="215"/>
                    <a:pt x="11" y="216"/>
                    <a:pt x="10" y="217"/>
                  </a:cubicBezTo>
                  <a:cubicBezTo>
                    <a:pt x="9" y="218"/>
                    <a:pt x="8" y="218"/>
                    <a:pt x="7" y="219"/>
                  </a:cubicBezTo>
                  <a:cubicBezTo>
                    <a:pt x="6" y="221"/>
                    <a:pt x="5" y="223"/>
                    <a:pt x="4" y="225"/>
                  </a:cubicBezTo>
                  <a:cubicBezTo>
                    <a:pt x="4" y="225"/>
                    <a:pt x="4" y="225"/>
                    <a:pt x="4" y="225"/>
                  </a:cubicBezTo>
                  <a:cubicBezTo>
                    <a:pt x="4" y="225"/>
                    <a:pt x="4" y="225"/>
                    <a:pt x="4" y="226"/>
                  </a:cubicBezTo>
                  <a:cubicBezTo>
                    <a:pt x="4" y="225"/>
                    <a:pt x="4" y="225"/>
                    <a:pt x="4" y="225"/>
                  </a:cubicBezTo>
                  <a:cubicBezTo>
                    <a:pt x="4" y="227"/>
                    <a:pt x="4" y="228"/>
                    <a:pt x="5" y="230"/>
                  </a:cubicBezTo>
                  <a:cubicBezTo>
                    <a:pt x="6" y="233"/>
                    <a:pt x="7" y="237"/>
                    <a:pt x="7" y="240"/>
                  </a:cubicBezTo>
                  <a:cubicBezTo>
                    <a:pt x="6" y="247"/>
                    <a:pt x="8" y="253"/>
                    <a:pt x="10" y="259"/>
                  </a:cubicBezTo>
                  <a:cubicBezTo>
                    <a:pt x="13" y="265"/>
                    <a:pt x="13" y="272"/>
                    <a:pt x="13" y="279"/>
                  </a:cubicBezTo>
                  <a:cubicBezTo>
                    <a:pt x="13" y="287"/>
                    <a:pt x="13" y="294"/>
                    <a:pt x="16" y="302"/>
                  </a:cubicBezTo>
                  <a:cubicBezTo>
                    <a:pt x="16" y="304"/>
                    <a:pt x="16" y="306"/>
                    <a:pt x="16" y="308"/>
                  </a:cubicBezTo>
                  <a:cubicBezTo>
                    <a:pt x="15" y="312"/>
                    <a:pt x="14" y="316"/>
                    <a:pt x="13" y="321"/>
                  </a:cubicBezTo>
                  <a:cubicBezTo>
                    <a:pt x="12" y="326"/>
                    <a:pt x="9" y="331"/>
                    <a:pt x="4" y="335"/>
                  </a:cubicBezTo>
                  <a:cubicBezTo>
                    <a:pt x="0" y="338"/>
                    <a:pt x="0" y="344"/>
                    <a:pt x="3" y="347"/>
                  </a:cubicBezTo>
                  <a:cubicBezTo>
                    <a:pt x="5" y="349"/>
                    <a:pt x="8" y="351"/>
                    <a:pt x="10" y="354"/>
                  </a:cubicBezTo>
                  <a:cubicBezTo>
                    <a:pt x="13" y="358"/>
                    <a:pt x="18" y="360"/>
                    <a:pt x="23" y="360"/>
                  </a:cubicBezTo>
                  <a:cubicBezTo>
                    <a:pt x="26" y="361"/>
                    <a:pt x="30" y="361"/>
                    <a:pt x="34" y="361"/>
                  </a:cubicBezTo>
                  <a:cubicBezTo>
                    <a:pt x="36" y="361"/>
                    <a:pt x="39" y="360"/>
                    <a:pt x="40" y="359"/>
                  </a:cubicBezTo>
                  <a:cubicBezTo>
                    <a:pt x="48" y="354"/>
                    <a:pt x="58" y="354"/>
                    <a:pt x="65" y="347"/>
                  </a:cubicBezTo>
                  <a:cubicBezTo>
                    <a:pt x="65" y="346"/>
                    <a:pt x="67" y="345"/>
                    <a:pt x="68" y="345"/>
                  </a:cubicBezTo>
                  <a:cubicBezTo>
                    <a:pt x="75" y="344"/>
                    <a:pt x="83" y="342"/>
                    <a:pt x="91" y="344"/>
                  </a:cubicBezTo>
                  <a:cubicBezTo>
                    <a:pt x="97" y="345"/>
                    <a:pt x="104" y="345"/>
                    <a:pt x="110" y="345"/>
                  </a:cubicBezTo>
                  <a:cubicBezTo>
                    <a:pt x="114" y="345"/>
                    <a:pt x="117" y="344"/>
                    <a:pt x="119" y="341"/>
                  </a:cubicBezTo>
                  <a:cubicBezTo>
                    <a:pt x="126" y="335"/>
                    <a:pt x="131" y="331"/>
                    <a:pt x="141" y="327"/>
                  </a:cubicBezTo>
                  <a:cubicBezTo>
                    <a:pt x="144" y="325"/>
                    <a:pt x="146" y="324"/>
                    <a:pt x="148" y="322"/>
                  </a:cubicBezTo>
                  <a:cubicBezTo>
                    <a:pt x="151" y="320"/>
                    <a:pt x="155" y="319"/>
                    <a:pt x="159" y="320"/>
                  </a:cubicBezTo>
                  <a:cubicBezTo>
                    <a:pt x="169" y="321"/>
                    <a:pt x="179" y="319"/>
                    <a:pt x="188" y="315"/>
                  </a:cubicBezTo>
                  <a:cubicBezTo>
                    <a:pt x="195" y="311"/>
                    <a:pt x="202" y="310"/>
                    <a:pt x="210" y="311"/>
                  </a:cubicBezTo>
                  <a:cubicBezTo>
                    <a:pt x="216" y="311"/>
                    <a:pt x="221" y="311"/>
                    <a:pt x="227" y="311"/>
                  </a:cubicBezTo>
                  <a:cubicBezTo>
                    <a:pt x="230" y="311"/>
                    <a:pt x="232" y="312"/>
                    <a:pt x="234" y="314"/>
                  </a:cubicBezTo>
                  <a:cubicBezTo>
                    <a:pt x="237" y="318"/>
                    <a:pt x="241" y="319"/>
                    <a:pt x="245" y="320"/>
                  </a:cubicBezTo>
                  <a:cubicBezTo>
                    <a:pt x="250" y="320"/>
                    <a:pt x="255" y="323"/>
                    <a:pt x="259" y="325"/>
                  </a:cubicBezTo>
                  <a:cubicBezTo>
                    <a:pt x="261" y="326"/>
                    <a:pt x="264" y="328"/>
                    <a:pt x="263" y="331"/>
                  </a:cubicBezTo>
                  <a:cubicBezTo>
                    <a:pt x="263" y="334"/>
                    <a:pt x="264" y="337"/>
                    <a:pt x="266" y="339"/>
                  </a:cubicBezTo>
                  <a:cubicBezTo>
                    <a:pt x="269" y="342"/>
                    <a:pt x="271" y="345"/>
                    <a:pt x="271" y="349"/>
                  </a:cubicBezTo>
                  <a:cubicBezTo>
                    <a:pt x="271" y="353"/>
                    <a:pt x="272" y="356"/>
                    <a:pt x="272" y="360"/>
                  </a:cubicBezTo>
                  <a:cubicBezTo>
                    <a:pt x="272" y="361"/>
                    <a:pt x="272" y="363"/>
                    <a:pt x="272" y="365"/>
                  </a:cubicBezTo>
                  <a:cubicBezTo>
                    <a:pt x="272" y="365"/>
                    <a:pt x="272" y="366"/>
                    <a:pt x="273" y="366"/>
                  </a:cubicBezTo>
                  <a:cubicBezTo>
                    <a:pt x="274" y="367"/>
                    <a:pt x="275" y="368"/>
                    <a:pt x="276" y="369"/>
                  </a:cubicBezTo>
                  <a:cubicBezTo>
                    <a:pt x="277" y="369"/>
                    <a:pt x="279" y="369"/>
                    <a:pt x="279" y="368"/>
                  </a:cubicBezTo>
                  <a:cubicBezTo>
                    <a:pt x="284" y="364"/>
                    <a:pt x="288" y="359"/>
                    <a:pt x="293" y="355"/>
                  </a:cubicBezTo>
                  <a:cubicBezTo>
                    <a:pt x="295" y="352"/>
                    <a:pt x="298" y="351"/>
                    <a:pt x="301" y="349"/>
                  </a:cubicBezTo>
                  <a:cubicBezTo>
                    <a:pt x="303" y="347"/>
                    <a:pt x="306" y="344"/>
                    <a:pt x="308" y="341"/>
                  </a:cubicBezTo>
                  <a:cubicBezTo>
                    <a:pt x="309" y="341"/>
                    <a:pt x="309" y="340"/>
                    <a:pt x="310" y="341"/>
                  </a:cubicBezTo>
                  <a:cubicBezTo>
                    <a:pt x="310" y="341"/>
                    <a:pt x="311" y="341"/>
                    <a:pt x="311" y="342"/>
                  </a:cubicBezTo>
                  <a:cubicBezTo>
                    <a:pt x="311" y="344"/>
                    <a:pt x="311" y="346"/>
                    <a:pt x="309" y="348"/>
                  </a:cubicBezTo>
                  <a:cubicBezTo>
                    <a:pt x="305" y="352"/>
                    <a:pt x="303" y="356"/>
                    <a:pt x="302" y="361"/>
                  </a:cubicBezTo>
                  <a:cubicBezTo>
                    <a:pt x="300" y="366"/>
                    <a:pt x="297" y="370"/>
                    <a:pt x="293" y="372"/>
                  </a:cubicBezTo>
                  <a:cubicBezTo>
                    <a:pt x="292" y="372"/>
                    <a:pt x="291" y="374"/>
                    <a:pt x="291" y="375"/>
                  </a:cubicBezTo>
                  <a:cubicBezTo>
                    <a:pt x="291" y="375"/>
                    <a:pt x="292" y="377"/>
                    <a:pt x="292" y="377"/>
                  </a:cubicBezTo>
                  <a:cubicBezTo>
                    <a:pt x="294" y="377"/>
                    <a:pt x="295" y="377"/>
                    <a:pt x="297" y="377"/>
                  </a:cubicBezTo>
                  <a:cubicBezTo>
                    <a:pt x="302" y="377"/>
                    <a:pt x="305" y="375"/>
                    <a:pt x="307" y="371"/>
                  </a:cubicBezTo>
                  <a:cubicBezTo>
                    <a:pt x="308" y="370"/>
                    <a:pt x="308" y="369"/>
                    <a:pt x="309" y="368"/>
                  </a:cubicBezTo>
                  <a:cubicBezTo>
                    <a:pt x="309" y="367"/>
                    <a:pt x="310" y="367"/>
                    <a:pt x="310" y="367"/>
                  </a:cubicBezTo>
                  <a:cubicBezTo>
                    <a:pt x="311" y="367"/>
                    <a:pt x="312" y="368"/>
                    <a:pt x="312" y="369"/>
                  </a:cubicBezTo>
                  <a:cubicBezTo>
                    <a:pt x="312" y="374"/>
                    <a:pt x="312" y="378"/>
                    <a:pt x="309" y="382"/>
                  </a:cubicBezTo>
                  <a:cubicBezTo>
                    <a:pt x="307" y="383"/>
                    <a:pt x="308" y="385"/>
                    <a:pt x="310" y="385"/>
                  </a:cubicBezTo>
                  <a:cubicBezTo>
                    <a:pt x="313" y="386"/>
                    <a:pt x="315" y="386"/>
                    <a:pt x="318" y="386"/>
                  </a:cubicBezTo>
                  <a:cubicBezTo>
                    <a:pt x="318" y="386"/>
                    <a:pt x="318" y="386"/>
                    <a:pt x="318" y="385"/>
                  </a:cubicBezTo>
                  <a:cubicBezTo>
                    <a:pt x="319" y="385"/>
                    <a:pt x="319" y="385"/>
                    <a:pt x="319" y="385"/>
                  </a:cubicBezTo>
                  <a:cubicBezTo>
                    <a:pt x="318" y="386"/>
                    <a:pt x="318" y="386"/>
                    <a:pt x="318" y="386"/>
                  </a:cubicBezTo>
                  <a:cubicBezTo>
                    <a:pt x="318" y="386"/>
                    <a:pt x="318" y="386"/>
                    <a:pt x="318" y="386"/>
                  </a:cubicBezTo>
                  <a:cubicBezTo>
                    <a:pt x="318" y="386"/>
                    <a:pt x="318" y="387"/>
                    <a:pt x="318" y="387"/>
                  </a:cubicBezTo>
                  <a:cubicBezTo>
                    <a:pt x="322" y="395"/>
                    <a:pt x="323" y="404"/>
                    <a:pt x="319" y="413"/>
                  </a:cubicBezTo>
                  <a:cubicBezTo>
                    <a:pt x="319" y="415"/>
                    <a:pt x="320" y="417"/>
                    <a:pt x="320" y="419"/>
                  </a:cubicBezTo>
                  <a:cubicBezTo>
                    <a:pt x="321" y="421"/>
                    <a:pt x="323" y="424"/>
                    <a:pt x="324" y="426"/>
                  </a:cubicBezTo>
                  <a:cubicBezTo>
                    <a:pt x="327" y="433"/>
                    <a:pt x="333" y="437"/>
                    <a:pt x="341" y="439"/>
                  </a:cubicBezTo>
                  <a:cubicBezTo>
                    <a:pt x="345" y="440"/>
                    <a:pt x="349" y="443"/>
                    <a:pt x="352" y="445"/>
                  </a:cubicBezTo>
                  <a:cubicBezTo>
                    <a:pt x="354" y="447"/>
                    <a:pt x="356" y="449"/>
                    <a:pt x="358" y="450"/>
                  </a:cubicBezTo>
                  <a:cubicBezTo>
                    <a:pt x="360" y="452"/>
                    <a:pt x="362" y="452"/>
                    <a:pt x="365" y="451"/>
                  </a:cubicBezTo>
                  <a:cubicBezTo>
                    <a:pt x="371" y="448"/>
                    <a:pt x="379" y="445"/>
                    <a:pt x="383" y="438"/>
                  </a:cubicBezTo>
                  <a:cubicBezTo>
                    <a:pt x="383" y="437"/>
                    <a:pt x="384" y="437"/>
                    <a:pt x="385" y="438"/>
                  </a:cubicBezTo>
                  <a:cubicBezTo>
                    <a:pt x="386" y="439"/>
                    <a:pt x="386" y="439"/>
                    <a:pt x="386" y="439"/>
                  </a:cubicBezTo>
                  <a:cubicBezTo>
                    <a:pt x="385" y="441"/>
                    <a:pt x="384" y="443"/>
                    <a:pt x="385" y="444"/>
                  </a:cubicBezTo>
                  <a:cubicBezTo>
                    <a:pt x="389" y="448"/>
                    <a:pt x="391" y="454"/>
                    <a:pt x="395" y="458"/>
                  </a:cubicBezTo>
                  <a:cubicBezTo>
                    <a:pt x="397" y="459"/>
                    <a:pt x="399" y="459"/>
                    <a:pt x="400" y="459"/>
                  </a:cubicBezTo>
                  <a:cubicBezTo>
                    <a:pt x="405" y="454"/>
                    <a:pt x="412" y="450"/>
                    <a:pt x="418" y="445"/>
                  </a:cubicBezTo>
                  <a:cubicBezTo>
                    <a:pt x="424" y="441"/>
                    <a:pt x="430" y="439"/>
                    <a:pt x="438" y="439"/>
                  </a:cubicBezTo>
                  <a:cubicBezTo>
                    <a:pt x="441" y="439"/>
                    <a:pt x="443" y="439"/>
                    <a:pt x="446" y="439"/>
                  </a:cubicBezTo>
                  <a:cubicBezTo>
                    <a:pt x="451" y="438"/>
                    <a:pt x="457" y="433"/>
                    <a:pt x="457" y="428"/>
                  </a:cubicBezTo>
                  <a:cubicBezTo>
                    <a:pt x="458" y="421"/>
                    <a:pt x="461" y="416"/>
                    <a:pt x="463" y="409"/>
                  </a:cubicBezTo>
                  <a:cubicBezTo>
                    <a:pt x="465" y="402"/>
                    <a:pt x="468" y="395"/>
                    <a:pt x="474" y="390"/>
                  </a:cubicBezTo>
                  <a:cubicBezTo>
                    <a:pt x="478" y="387"/>
                    <a:pt x="480" y="382"/>
                    <a:pt x="482" y="378"/>
                  </a:cubicBezTo>
                  <a:cubicBezTo>
                    <a:pt x="485" y="373"/>
                    <a:pt x="488" y="368"/>
                    <a:pt x="491" y="363"/>
                  </a:cubicBezTo>
                  <a:cubicBezTo>
                    <a:pt x="495" y="355"/>
                    <a:pt x="501" y="347"/>
                    <a:pt x="510" y="342"/>
                  </a:cubicBezTo>
                  <a:cubicBezTo>
                    <a:pt x="512" y="341"/>
                    <a:pt x="513" y="339"/>
                    <a:pt x="514" y="337"/>
                  </a:cubicBezTo>
                  <a:cubicBezTo>
                    <a:pt x="516" y="330"/>
                    <a:pt x="523" y="327"/>
                    <a:pt x="525" y="320"/>
                  </a:cubicBezTo>
                  <a:cubicBezTo>
                    <a:pt x="527" y="314"/>
                    <a:pt x="527" y="307"/>
                    <a:pt x="530" y="301"/>
                  </a:cubicBezTo>
                  <a:cubicBezTo>
                    <a:pt x="534" y="293"/>
                    <a:pt x="536" y="285"/>
                    <a:pt x="541" y="278"/>
                  </a:cubicBezTo>
                  <a:cubicBezTo>
                    <a:pt x="542" y="276"/>
                    <a:pt x="543" y="273"/>
                    <a:pt x="543" y="270"/>
                  </a:cubicBezTo>
                  <a:cubicBezTo>
                    <a:pt x="544" y="265"/>
                    <a:pt x="544" y="260"/>
                    <a:pt x="542" y="255"/>
                  </a:cubicBezTo>
                  <a:cubicBezTo>
                    <a:pt x="541" y="251"/>
                    <a:pt x="541" y="248"/>
                    <a:pt x="542" y="244"/>
                  </a:cubicBezTo>
                  <a:cubicBezTo>
                    <a:pt x="542" y="242"/>
                    <a:pt x="543" y="239"/>
                    <a:pt x="543" y="237"/>
                  </a:cubicBezTo>
                  <a:cubicBezTo>
                    <a:pt x="543" y="229"/>
                    <a:pt x="545" y="222"/>
                    <a:pt x="548" y="215"/>
                  </a:cubicBezTo>
                  <a:cubicBezTo>
                    <a:pt x="548" y="214"/>
                    <a:pt x="549" y="213"/>
                    <a:pt x="549" y="212"/>
                  </a:cubicBezTo>
                  <a:cubicBezTo>
                    <a:pt x="549" y="212"/>
                    <a:pt x="548" y="211"/>
                    <a:pt x="548" y="210"/>
                  </a:cubicBezTo>
                  <a:cubicBezTo>
                    <a:pt x="547" y="210"/>
                    <a:pt x="547" y="211"/>
                    <a:pt x="546" y="211"/>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24"/>
            <p:cNvSpPr>
              <a:spLocks noEditPoints="1"/>
            </p:cNvSpPr>
            <p:nvPr/>
          </p:nvSpPr>
          <p:spPr bwMode="auto">
            <a:xfrm>
              <a:off x="1097280" y="1465673"/>
              <a:ext cx="4980409" cy="4190501"/>
            </a:xfrm>
            <a:custGeom>
              <a:avLst/>
              <a:gdLst>
                <a:gd name="T0" fmla="*/ 1615 w 2326"/>
                <a:gd name="T1" fmla="*/ 1395 h 1956"/>
                <a:gd name="T2" fmla="*/ 1672 w 2326"/>
                <a:gd name="T3" fmla="*/ 1215 h 1956"/>
                <a:gd name="T4" fmla="*/ 1863 w 2326"/>
                <a:gd name="T5" fmla="*/ 1071 h 1956"/>
                <a:gd name="T6" fmla="*/ 1821 w 2326"/>
                <a:gd name="T7" fmla="*/ 925 h 1956"/>
                <a:gd name="T8" fmla="*/ 1898 w 2326"/>
                <a:gd name="T9" fmla="*/ 930 h 1956"/>
                <a:gd name="T10" fmla="*/ 2006 w 2326"/>
                <a:gd name="T11" fmla="*/ 707 h 1956"/>
                <a:gd name="T12" fmla="*/ 2014 w 2326"/>
                <a:gd name="T13" fmla="*/ 606 h 1956"/>
                <a:gd name="T14" fmla="*/ 1889 w 2326"/>
                <a:gd name="T15" fmla="*/ 564 h 1956"/>
                <a:gd name="T16" fmla="*/ 2064 w 2326"/>
                <a:gd name="T17" fmla="*/ 369 h 1956"/>
                <a:gd name="T18" fmla="*/ 2123 w 2326"/>
                <a:gd name="T19" fmla="*/ 452 h 1956"/>
                <a:gd name="T20" fmla="*/ 2199 w 2326"/>
                <a:gd name="T21" fmla="*/ 431 h 1956"/>
                <a:gd name="T22" fmla="*/ 2260 w 2326"/>
                <a:gd name="T23" fmla="*/ 289 h 1956"/>
                <a:gd name="T24" fmla="*/ 2265 w 2326"/>
                <a:gd name="T25" fmla="*/ 125 h 1956"/>
                <a:gd name="T26" fmla="*/ 2217 w 2326"/>
                <a:gd name="T27" fmla="*/ 41 h 1956"/>
                <a:gd name="T28" fmla="*/ 1971 w 2326"/>
                <a:gd name="T29" fmla="*/ 76 h 1956"/>
                <a:gd name="T30" fmla="*/ 1663 w 2326"/>
                <a:gd name="T31" fmla="*/ 66 h 1956"/>
                <a:gd name="T32" fmla="*/ 1551 w 2326"/>
                <a:gd name="T33" fmla="*/ 128 h 1956"/>
                <a:gd name="T34" fmla="*/ 1355 w 2326"/>
                <a:gd name="T35" fmla="*/ 115 h 1956"/>
                <a:gd name="T36" fmla="*/ 1303 w 2326"/>
                <a:gd name="T37" fmla="*/ 29 h 1956"/>
                <a:gd name="T38" fmla="*/ 1143 w 2326"/>
                <a:gd name="T39" fmla="*/ 74 h 1956"/>
                <a:gd name="T40" fmla="*/ 1089 w 2326"/>
                <a:gd name="T41" fmla="*/ 247 h 1956"/>
                <a:gd name="T42" fmla="*/ 1010 w 2326"/>
                <a:gd name="T43" fmla="*/ 258 h 1956"/>
                <a:gd name="T44" fmla="*/ 1040 w 2326"/>
                <a:gd name="T45" fmla="*/ 373 h 1956"/>
                <a:gd name="T46" fmla="*/ 934 w 2326"/>
                <a:gd name="T47" fmla="*/ 312 h 1956"/>
                <a:gd name="T48" fmla="*/ 846 w 2326"/>
                <a:gd name="T49" fmla="*/ 368 h 1956"/>
                <a:gd name="T50" fmla="*/ 687 w 2326"/>
                <a:gd name="T51" fmla="*/ 442 h 1956"/>
                <a:gd name="T52" fmla="*/ 588 w 2326"/>
                <a:gd name="T53" fmla="*/ 438 h 1956"/>
                <a:gd name="T54" fmla="*/ 518 w 2326"/>
                <a:gd name="T55" fmla="*/ 334 h 1956"/>
                <a:gd name="T56" fmla="*/ 429 w 2326"/>
                <a:gd name="T57" fmla="*/ 372 h 1956"/>
                <a:gd name="T58" fmla="*/ 392 w 2326"/>
                <a:gd name="T59" fmla="*/ 417 h 1956"/>
                <a:gd name="T60" fmla="*/ 290 w 2326"/>
                <a:gd name="T61" fmla="*/ 586 h 1956"/>
                <a:gd name="T62" fmla="*/ 424 w 2326"/>
                <a:gd name="T63" fmla="*/ 650 h 1956"/>
                <a:gd name="T64" fmla="*/ 482 w 2326"/>
                <a:gd name="T65" fmla="*/ 583 h 1956"/>
                <a:gd name="T66" fmla="*/ 499 w 2326"/>
                <a:gd name="T67" fmla="*/ 639 h 1956"/>
                <a:gd name="T68" fmla="*/ 361 w 2326"/>
                <a:gd name="T69" fmla="*/ 681 h 1956"/>
                <a:gd name="T70" fmla="*/ 224 w 2326"/>
                <a:gd name="T71" fmla="*/ 786 h 1956"/>
                <a:gd name="T72" fmla="*/ 118 w 2326"/>
                <a:gd name="T73" fmla="*/ 978 h 1956"/>
                <a:gd name="T74" fmla="*/ 432 w 2326"/>
                <a:gd name="T75" fmla="*/ 941 h 1956"/>
                <a:gd name="T76" fmla="*/ 388 w 2326"/>
                <a:gd name="T77" fmla="*/ 851 h 1956"/>
                <a:gd name="T78" fmla="*/ 523 w 2326"/>
                <a:gd name="T79" fmla="*/ 932 h 1956"/>
                <a:gd name="T80" fmla="*/ 700 w 2326"/>
                <a:gd name="T81" fmla="*/ 988 h 1956"/>
                <a:gd name="T82" fmla="*/ 381 w 2326"/>
                <a:gd name="T83" fmla="*/ 1039 h 1956"/>
                <a:gd name="T84" fmla="*/ 105 w 2326"/>
                <a:gd name="T85" fmla="*/ 1072 h 1956"/>
                <a:gd name="T86" fmla="*/ 40 w 2326"/>
                <a:gd name="T87" fmla="*/ 1352 h 1956"/>
                <a:gd name="T88" fmla="*/ 351 w 2326"/>
                <a:gd name="T89" fmla="*/ 1499 h 1956"/>
                <a:gd name="T90" fmla="*/ 467 w 2326"/>
                <a:gd name="T91" fmla="*/ 1947 h 1956"/>
                <a:gd name="T92" fmla="*/ 784 w 2326"/>
                <a:gd name="T93" fmla="*/ 1628 h 1956"/>
                <a:gd name="T94" fmla="*/ 765 w 2326"/>
                <a:gd name="T95" fmla="*/ 1270 h 1956"/>
                <a:gd name="T96" fmla="*/ 819 w 2326"/>
                <a:gd name="T97" fmla="*/ 1308 h 1956"/>
                <a:gd name="T98" fmla="*/ 965 w 2326"/>
                <a:gd name="T99" fmla="*/ 1154 h 1956"/>
                <a:gd name="T100" fmla="*/ 1051 w 2326"/>
                <a:gd name="T101" fmla="*/ 1148 h 1956"/>
                <a:gd name="T102" fmla="*/ 1248 w 2326"/>
                <a:gd name="T103" fmla="*/ 1306 h 1956"/>
                <a:gd name="T104" fmla="*/ 1469 w 2326"/>
                <a:gd name="T105" fmla="*/ 1183 h 1956"/>
                <a:gd name="T106" fmla="*/ 1312 w 2326"/>
                <a:gd name="T107" fmla="*/ 49 h 1956"/>
                <a:gd name="T108" fmla="*/ 492 w 2326"/>
                <a:gd name="T109" fmla="*/ 350 h 1956"/>
                <a:gd name="T110" fmla="*/ 628 w 2326"/>
                <a:gd name="T111" fmla="*/ 541 h 1956"/>
                <a:gd name="T112" fmla="*/ 693 w 2326"/>
                <a:gd name="T113" fmla="*/ 906 h 1956"/>
                <a:gd name="T114" fmla="*/ 667 w 2326"/>
                <a:gd name="T115" fmla="*/ 837 h 1956"/>
                <a:gd name="T116" fmla="*/ 877 w 2326"/>
                <a:gd name="T117" fmla="*/ 919 h 1956"/>
                <a:gd name="T118" fmla="*/ 926 w 2326"/>
                <a:gd name="T119" fmla="*/ 942 h 1956"/>
                <a:gd name="T120" fmla="*/ 1200 w 2326"/>
                <a:gd name="T121" fmla="*/ 23 h 1956"/>
                <a:gd name="T122" fmla="*/ 1240 w 2326"/>
                <a:gd name="T123" fmla="*/ 109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6" h="1956">
                  <a:moveTo>
                    <a:pt x="1549" y="1262"/>
                  </a:moveTo>
                  <a:cubicBezTo>
                    <a:pt x="1550" y="1262"/>
                    <a:pt x="1551" y="1261"/>
                    <a:pt x="1552" y="1262"/>
                  </a:cubicBezTo>
                  <a:cubicBezTo>
                    <a:pt x="1555" y="1265"/>
                    <a:pt x="1559" y="1267"/>
                    <a:pt x="1560" y="1271"/>
                  </a:cubicBezTo>
                  <a:cubicBezTo>
                    <a:pt x="1561" y="1275"/>
                    <a:pt x="1562" y="1278"/>
                    <a:pt x="1563" y="1282"/>
                  </a:cubicBezTo>
                  <a:cubicBezTo>
                    <a:pt x="1566" y="1291"/>
                    <a:pt x="1567" y="1300"/>
                    <a:pt x="1573" y="1308"/>
                  </a:cubicBezTo>
                  <a:cubicBezTo>
                    <a:pt x="1575" y="1310"/>
                    <a:pt x="1575" y="1312"/>
                    <a:pt x="1576" y="1314"/>
                  </a:cubicBezTo>
                  <a:cubicBezTo>
                    <a:pt x="1576" y="1316"/>
                    <a:pt x="1576" y="1318"/>
                    <a:pt x="1577" y="1320"/>
                  </a:cubicBezTo>
                  <a:cubicBezTo>
                    <a:pt x="1580" y="1328"/>
                    <a:pt x="1580" y="1335"/>
                    <a:pt x="1577" y="1343"/>
                  </a:cubicBezTo>
                  <a:cubicBezTo>
                    <a:pt x="1577" y="1345"/>
                    <a:pt x="1576" y="1347"/>
                    <a:pt x="1577" y="1349"/>
                  </a:cubicBezTo>
                  <a:cubicBezTo>
                    <a:pt x="1579" y="1355"/>
                    <a:pt x="1578" y="1361"/>
                    <a:pt x="1576" y="1366"/>
                  </a:cubicBezTo>
                  <a:cubicBezTo>
                    <a:pt x="1573" y="1372"/>
                    <a:pt x="1574" y="1377"/>
                    <a:pt x="1581" y="1380"/>
                  </a:cubicBezTo>
                  <a:cubicBezTo>
                    <a:pt x="1582" y="1380"/>
                    <a:pt x="1583" y="1380"/>
                    <a:pt x="1583" y="1381"/>
                  </a:cubicBezTo>
                  <a:cubicBezTo>
                    <a:pt x="1589" y="1389"/>
                    <a:pt x="1596" y="1396"/>
                    <a:pt x="1602" y="1404"/>
                  </a:cubicBezTo>
                  <a:cubicBezTo>
                    <a:pt x="1605" y="1408"/>
                    <a:pt x="1605" y="1413"/>
                    <a:pt x="1606" y="1418"/>
                  </a:cubicBezTo>
                  <a:cubicBezTo>
                    <a:pt x="1606" y="1419"/>
                    <a:pt x="1606" y="1420"/>
                    <a:pt x="1607" y="1420"/>
                  </a:cubicBezTo>
                  <a:cubicBezTo>
                    <a:pt x="1609" y="1423"/>
                    <a:pt x="1609" y="1426"/>
                    <a:pt x="1609" y="1429"/>
                  </a:cubicBezTo>
                  <a:cubicBezTo>
                    <a:pt x="1609" y="1433"/>
                    <a:pt x="1610" y="1436"/>
                    <a:pt x="1612" y="1438"/>
                  </a:cubicBezTo>
                  <a:cubicBezTo>
                    <a:pt x="1616" y="1441"/>
                    <a:pt x="1619" y="1445"/>
                    <a:pt x="1620" y="1450"/>
                  </a:cubicBezTo>
                  <a:cubicBezTo>
                    <a:pt x="1621" y="1451"/>
                    <a:pt x="1622" y="1452"/>
                    <a:pt x="1623" y="1453"/>
                  </a:cubicBezTo>
                  <a:cubicBezTo>
                    <a:pt x="1625" y="1454"/>
                    <a:pt x="1627" y="1455"/>
                    <a:pt x="1628" y="1457"/>
                  </a:cubicBezTo>
                  <a:cubicBezTo>
                    <a:pt x="1631" y="1461"/>
                    <a:pt x="1636" y="1463"/>
                    <a:pt x="1640" y="1465"/>
                  </a:cubicBezTo>
                  <a:cubicBezTo>
                    <a:pt x="1645" y="1468"/>
                    <a:pt x="1651" y="1471"/>
                    <a:pt x="1656" y="1473"/>
                  </a:cubicBezTo>
                  <a:cubicBezTo>
                    <a:pt x="1656" y="1474"/>
                    <a:pt x="1656" y="1474"/>
                    <a:pt x="1656" y="1474"/>
                  </a:cubicBezTo>
                  <a:cubicBezTo>
                    <a:pt x="1656" y="1474"/>
                    <a:pt x="1656" y="1474"/>
                    <a:pt x="1657" y="1474"/>
                  </a:cubicBezTo>
                  <a:cubicBezTo>
                    <a:pt x="1657" y="1474"/>
                    <a:pt x="1656" y="1474"/>
                    <a:pt x="1656" y="1473"/>
                  </a:cubicBezTo>
                  <a:cubicBezTo>
                    <a:pt x="1657" y="1473"/>
                    <a:pt x="1658" y="1472"/>
                    <a:pt x="1659" y="1471"/>
                  </a:cubicBezTo>
                  <a:cubicBezTo>
                    <a:pt x="1661" y="1469"/>
                    <a:pt x="1662" y="1467"/>
                    <a:pt x="1661" y="1465"/>
                  </a:cubicBezTo>
                  <a:cubicBezTo>
                    <a:pt x="1659" y="1461"/>
                    <a:pt x="1658" y="1456"/>
                    <a:pt x="1655" y="1453"/>
                  </a:cubicBezTo>
                  <a:cubicBezTo>
                    <a:pt x="1651" y="1449"/>
                    <a:pt x="1650" y="1444"/>
                    <a:pt x="1650" y="1439"/>
                  </a:cubicBezTo>
                  <a:cubicBezTo>
                    <a:pt x="1650" y="1435"/>
                    <a:pt x="1650" y="1432"/>
                    <a:pt x="1650" y="1429"/>
                  </a:cubicBezTo>
                  <a:cubicBezTo>
                    <a:pt x="1650" y="1426"/>
                    <a:pt x="1649" y="1422"/>
                    <a:pt x="1646" y="1419"/>
                  </a:cubicBezTo>
                  <a:cubicBezTo>
                    <a:pt x="1642" y="1414"/>
                    <a:pt x="1637" y="1410"/>
                    <a:pt x="1633" y="1406"/>
                  </a:cubicBezTo>
                  <a:cubicBezTo>
                    <a:pt x="1626" y="1403"/>
                    <a:pt x="1622" y="1397"/>
                    <a:pt x="1615" y="1395"/>
                  </a:cubicBezTo>
                  <a:cubicBezTo>
                    <a:pt x="1611" y="1393"/>
                    <a:pt x="1607" y="1389"/>
                    <a:pt x="1608" y="1384"/>
                  </a:cubicBezTo>
                  <a:cubicBezTo>
                    <a:pt x="1608" y="1381"/>
                    <a:pt x="1606" y="1378"/>
                    <a:pt x="1604" y="1375"/>
                  </a:cubicBezTo>
                  <a:cubicBezTo>
                    <a:pt x="1600" y="1372"/>
                    <a:pt x="1599" y="1368"/>
                    <a:pt x="1597" y="1364"/>
                  </a:cubicBezTo>
                  <a:cubicBezTo>
                    <a:pt x="1592" y="1363"/>
                    <a:pt x="1589" y="1360"/>
                    <a:pt x="1588" y="1355"/>
                  </a:cubicBezTo>
                  <a:cubicBezTo>
                    <a:pt x="1588" y="1352"/>
                    <a:pt x="1588" y="1349"/>
                    <a:pt x="1589" y="1346"/>
                  </a:cubicBezTo>
                  <a:cubicBezTo>
                    <a:pt x="1593" y="1335"/>
                    <a:pt x="1597" y="1323"/>
                    <a:pt x="1598" y="1311"/>
                  </a:cubicBezTo>
                  <a:cubicBezTo>
                    <a:pt x="1598" y="1311"/>
                    <a:pt x="1598" y="1310"/>
                    <a:pt x="1599" y="1310"/>
                  </a:cubicBezTo>
                  <a:cubicBezTo>
                    <a:pt x="1600" y="1309"/>
                    <a:pt x="1601" y="1309"/>
                    <a:pt x="1602" y="1308"/>
                  </a:cubicBezTo>
                  <a:cubicBezTo>
                    <a:pt x="1602" y="1308"/>
                    <a:pt x="1604" y="1309"/>
                    <a:pt x="1605" y="1309"/>
                  </a:cubicBezTo>
                  <a:cubicBezTo>
                    <a:pt x="1605" y="1310"/>
                    <a:pt x="1606" y="1311"/>
                    <a:pt x="1606" y="1312"/>
                  </a:cubicBezTo>
                  <a:cubicBezTo>
                    <a:pt x="1607" y="1317"/>
                    <a:pt x="1610" y="1320"/>
                    <a:pt x="1616" y="1320"/>
                  </a:cubicBezTo>
                  <a:cubicBezTo>
                    <a:pt x="1618" y="1320"/>
                    <a:pt x="1620" y="1320"/>
                    <a:pt x="1621" y="1321"/>
                  </a:cubicBezTo>
                  <a:cubicBezTo>
                    <a:pt x="1627" y="1325"/>
                    <a:pt x="1633" y="1327"/>
                    <a:pt x="1637" y="1334"/>
                  </a:cubicBezTo>
                  <a:cubicBezTo>
                    <a:pt x="1640" y="1342"/>
                    <a:pt x="1648" y="1346"/>
                    <a:pt x="1654" y="1352"/>
                  </a:cubicBezTo>
                  <a:cubicBezTo>
                    <a:pt x="1656" y="1351"/>
                    <a:pt x="1658" y="1350"/>
                    <a:pt x="1659" y="1350"/>
                  </a:cubicBezTo>
                  <a:cubicBezTo>
                    <a:pt x="1662" y="1352"/>
                    <a:pt x="1666" y="1353"/>
                    <a:pt x="1665" y="1358"/>
                  </a:cubicBezTo>
                  <a:cubicBezTo>
                    <a:pt x="1665" y="1362"/>
                    <a:pt x="1665" y="1367"/>
                    <a:pt x="1666" y="1371"/>
                  </a:cubicBezTo>
                  <a:cubicBezTo>
                    <a:pt x="1666" y="1372"/>
                    <a:pt x="1669" y="1373"/>
                    <a:pt x="1670" y="1372"/>
                  </a:cubicBezTo>
                  <a:cubicBezTo>
                    <a:pt x="1670" y="1372"/>
                    <a:pt x="1671" y="1372"/>
                    <a:pt x="1671" y="1372"/>
                  </a:cubicBezTo>
                  <a:cubicBezTo>
                    <a:pt x="1678" y="1366"/>
                    <a:pt x="1684" y="1360"/>
                    <a:pt x="1690" y="1354"/>
                  </a:cubicBezTo>
                  <a:cubicBezTo>
                    <a:pt x="1692" y="1353"/>
                    <a:pt x="1693" y="1351"/>
                    <a:pt x="1695" y="1351"/>
                  </a:cubicBezTo>
                  <a:cubicBezTo>
                    <a:pt x="1704" y="1349"/>
                    <a:pt x="1710" y="1344"/>
                    <a:pt x="1716" y="1338"/>
                  </a:cubicBezTo>
                  <a:cubicBezTo>
                    <a:pt x="1720" y="1335"/>
                    <a:pt x="1722" y="1331"/>
                    <a:pt x="1723" y="1326"/>
                  </a:cubicBezTo>
                  <a:cubicBezTo>
                    <a:pt x="1725" y="1319"/>
                    <a:pt x="1726" y="1312"/>
                    <a:pt x="1723" y="1305"/>
                  </a:cubicBezTo>
                  <a:cubicBezTo>
                    <a:pt x="1723" y="1305"/>
                    <a:pt x="1723" y="1304"/>
                    <a:pt x="1723" y="1303"/>
                  </a:cubicBezTo>
                  <a:cubicBezTo>
                    <a:pt x="1722" y="1294"/>
                    <a:pt x="1718" y="1285"/>
                    <a:pt x="1713" y="1277"/>
                  </a:cubicBezTo>
                  <a:cubicBezTo>
                    <a:pt x="1712" y="1274"/>
                    <a:pt x="1709" y="1271"/>
                    <a:pt x="1706" y="1268"/>
                  </a:cubicBezTo>
                  <a:cubicBezTo>
                    <a:pt x="1701" y="1263"/>
                    <a:pt x="1695" y="1259"/>
                    <a:pt x="1688" y="1255"/>
                  </a:cubicBezTo>
                  <a:cubicBezTo>
                    <a:pt x="1684" y="1252"/>
                    <a:pt x="1680" y="1249"/>
                    <a:pt x="1679" y="1244"/>
                  </a:cubicBezTo>
                  <a:cubicBezTo>
                    <a:pt x="1679" y="1242"/>
                    <a:pt x="1676" y="1240"/>
                    <a:pt x="1674" y="1238"/>
                  </a:cubicBezTo>
                  <a:cubicBezTo>
                    <a:pt x="1673" y="1237"/>
                    <a:pt x="1671" y="1235"/>
                    <a:pt x="1669" y="1234"/>
                  </a:cubicBezTo>
                  <a:cubicBezTo>
                    <a:pt x="1669" y="1233"/>
                    <a:pt x="1668" y="1232"/>
                    <a:pt x="1668" y="1231"/>
                  </a:cubicBezTo>
                  <a:cubicBezTo>
                    <a:pt x="1668" y="1226"/>
                    <a:pt x="1666" y="1220"/>
                    <a:pt x="1672" y="1215"/>
                  </a:cubicBezTo>
                  <a:cubicBezTo>
                    <a:pt x="1674" y="1213"/>
                    <a:pt x="1676" y="1210"/>
                    <a:pt x="1676" y="1207"/>
                  </a:cubicBezTo>
                  <a:cubicBezTo>
                    <a:pt x="1677" y="1205"/>
                    <a:pt x="1678" y="1203"/>
                    <a:pt x="1680" y="1202"/>
                  </a:cubicBezTo>
                  <a:cubicBezTo>
                    <a:pt x="1686" y="1199"/>
                    <a:pt x="1692" y="1196"/>
                    <a:pt x="1699" y="1192"/>
                  </a:cubicBezTo>
                  <a:cubicBezTo>
                    <a:pt x="1700" y="1192"/>
                    <a:pt x="1702" y="1192"/>
                    <a:pt x="1704" y="1192"/>
                  </a:cubicBezTo>
                  <a:cubicBezTo>
                    <a:pt x="1705" y="1192"/>
                    <a:pt x="1707" y="1193"/>
                    <a:pt x="1708" y="1194"/>
                  </a:cubicBezTo>
                  <a:cubicBezTo>
                    <a:pt x="1712" y="1195"/>
                    <a:pt x="1715" y="1196"/>
                    <a:pt x="1716" y="1200"/>
                  </a:cubicBezTo>
                  <a:cubicBezTo>
                    <a:pt x="1716" y="1204"/>
                    <a:pt x="1719" y="1206"/>
                    <a:pt x="1721" y="1208"/>
                  </a:cubicBezTo>
                  <a:cubicBezTo>
                    <a:pt x="1724" y="1210"/>
                    <a:pt x="1728" y="1209"/>
                    <a:pt x="1729" y="1205"/>
                  </a:cubicBezTo>
                  <a:cubicBezTo>
                    <a:pt x="1729" y="1204"/>
                    <a:pt x="1729" y="1202"/>
                    <a:pt x="1729" y="1201"/>
                  </a:cubicBezTo>
                  <a:cubicBezTo>
                    <a:pt x="1729" y="1201"/>
                    <a:pt x="1729" y="1201"/>
                    <a:pt x="1729" y="1201"/>
                  </a:cubicBezTo>
                  <a:cubicBezTo>
                    <a:pt x="1730" y="1200"/>
                    <a:pt x="1730" y="1200"/>
                    <a:pt x="1730" y="1200"/>
                  </a:cubicBezTo>
                  <a:cubicBezTo>
                    <a:pt x="1729" y="1200"/>
                    <a:pt x="1729" y="1200"/>
                    <a:pt x="1729" y="1200"/>
                  </a:cubicBezTo>
                  <a:cubicBezTo>
                    <a:pt x="1729" y="1200"/>
                    <a:pt x="1728" y="1199"/>
                    <a:pt x="1728" y="1198"/>
                  </a:cubicBezTo>
                  <a:cubicBezTo>
                    <a:pt x="1728" y="1197"/>
                    <a:pt x="1729" y="1196"/>
                    <a:pt x="1730" y="1196"/>
                  </a:cubicBezTo>
                  <a:cubicBezTo>
                    <a:pt x="1737" y="1195"/>
                    <a:pt x="1744" y="1191"/>
                    <a:pt x="1751" y="1189"/>
                  </a:cubicBezTo>
                  <a:cubicBezTo>
                    <a:pt x="1758" y="1187"/>
                    <a:pt x="1763" y="1183"/>
                    <a:pt x="1766" y="1177"/>
                  </a:cubicBezTo>
                  <a:cubicBezTo>
                    <a:pt x="1767" y="1175"/>
                    <a:pt x="1768" y="1175"/>
                    <a:pt x="1770" y="1176"/>
                  </a:cubicBezTo>
                  <a:cubicBezTo>
                    <a:pt x="1772" y="1177"/>
                    <a:pt x="1773" y="1179"/>
                    <a:pt x="1776" y="1178"/>
                  </a:cubicBezTo>
                  <a:cubicBezTo>
                    <a:pt x="1780" y="1176"/>
                    <a:pt x="1785" y="1175"/>
                    <a:pt x="1790" y="1174"/>
                  </a:cubicBezTo>
                  <a:cubicBezTo>
                    <a:pt x="1794" y="1174"/>
                    <a:pt x="1797" y="1172"/>
                    <a:pt x="1801" y="1171"/>
                  </a:cubicBezTo>
                  <a:cubicBezTo>
                    <a:pt x="1805" y="1169"/>
                    <a:pt x="1808" y="1167"/>
                    <a:pt x="1809" y="1163"/>
                  </a:cubicBezTo>
                  <a:cubicBezTo>
                    <a:pt x="1809" y="1162"/>
                    <a:pt x="1811" y="1161"/>
                    <a:pt x="1812" y="1161"/>
                  </a:cubicBezTo>
                  <a:cubicBezTo>
                    <a:pt x="1818" y="1157"/>
                    <a:pt x="1824" y="1154"/>
                    <a:pt x="1826" y="1148"/>
                  </a:cubicBezTo>
                  <a:cubicBezTo>
                    <a:pt x="1826" y="1147"/>
                    <a:pt x="1826" y="1147"/>
                    <a:pt x="1827" y="1146"/>
                  </a:cubicBezTo>
                  <a:cubicBezTo>
                    <a:pt x="1831" y="1144"/>
                    <a:pt x="1834" y="1140"/>
                    <a:pt x="1835" y="1135"/>
                  </a:cubicBezTo>
                  <a:cubicBezTo>
                    <a:pt x="1836" y="1134"/>
                    <a:pt x="1838" y="1134"/>
                    <a:pt x="1839" y="1133"/>
                  </a:cubicBezTo>
                  <a:cubicBezTo>
                    <a:pt x="1842" y="1132"/>
                    <a:pt x="1843" y="1131"/>
                    <a:pt x="1842" y="1128"/>
                  </a:cubicBezTo>
                  <a:cubicBezTo>
                    <a:pt x="1841" y="1124"/>
                    <a:pt x="1841" y="1120"/>
                    <a:pt x="1841" y="1116"/>
                  </a:cubicBezTo>
                  <a:cubicBezTo>
                    <a:pt x="1841" y="1114"/>
                    <a:pt x="1840" y="1112"/>
                    <a:pt x="1843" y="1110"/>
                  </a:cubicBezTo>
                  <a:cubicBezTo>
                    <a:pt x="1848" y="1107"/>
                    <a:pt x="1851" y="1102"/>
                    <a:pt x="1852" y="1097"/>
                  </a:cubicBezTo>
                  <a:cubicBezTo>
                    <a:pt x="1852" y="1094"/>
                    <a:pt x="1853" y="1091"/>
                    <a:pt x="1856" y="1089"/>
                  </a:cubicBezTo>
                  <a:cubicBezTo>
                    <a:pt x="1860" y="1086"/>
                    <a:pt x="1861" y="1083"/>
                    <a:pt x="1861" y="1078"/>
                  </a:cubicBezTo>
                  <a:cubicBezTo>
                    <a:pt x="1861" y="1076"/>
                    <a:pt x="1862" y="1073"/>
                    <a:pt x="1863" y="1071"/>
                  </a:cubicBezTo>
                  <a:cubicBezTo>
                    <a:pt x="1866" y="1066"/>
                    <a:pt x="1864" y="1063"/>
                    <a:pt x="1861" y="1059"/>
                  </a:cubicBezTo>
                  <a:cubicBezTo>
                    <a:pt x="1859" y="1057"/>
                    <a:pt x="1857" y="1056"/>
                    <a:pt x="1855" y="1054"/>
                  </a:cubicBezTo>
                  <a:cubicBezTo>
                    <a:pt x="1853" y="1053"/>
                    <a:pt x="1851" y="1053"/>
                    <a:pt x="1849" y="1053"/>
                  </a:cubicBezTo>
                  <a:cubicBezTo>
                    <a:pt x="1849" y="1053"/>
                    <a:pt x="1849" y="1053"/>
                    <a:pt x="1849" y="1053"/>
                  </a:cubicBezTo>
                  <a:cubicBezTo>
                    <a:pt x="1848" y="1053"/>
                    <a:pt x="1848" y="1053"/>
                    <a:pt x="1848" y="1053"/>
                  </a:cubicBezTo>
                  <a:cubicBezTo>
                    <a:pt x="1849" y="1053"/>
                    <a:pt x="1849" y="1053"/>
                    <a:pt x="1849" y="1053"/>
                  </a:cubicBezTo>
                  <a:cubicBezTo>
                    <a:pt x="1849" y="1053"/>
                    <a:pt x="1849" y="1053"/>
                    <a:pt x="1849" y="1053"/>
                  </a:cubicBezTo>
                  <a:cubicBezTo>
                    <a:pt x="1849" y="1052"/>
                    <a:pt x="1849" y="1050"/>
                    <a:pt x="1850" y="1049"/>
                  </a:cubicBezTo>
                  <a:cubicBezTo>
                    <a:pt x="1852" y="1047"/>
                    <a:pt x="1854" y="1046"/>
                    <a:pt x="1856" y="1044"/>
                  </a:cubicBezTo>
                  <a:cubicBezTo>
                    <a:pt x="1858" y="1042"/>
                    <a:pt x="1858" y="1040"/>
                    <a:pt x="1857" y="1038"/>
                  </a:cubicBezTo>
                  <a:cubicBezTo>
                    <a:pt x="1855" y="1035"/>
                    <a:pt x="1852" y="1033"/>
                    <a:pt x="1849" y="1031"/>
                  </a:cubicBezTo>
                  <a:cubicBezTo>
                    <a:pt x="1849" y="1031"/>
                    <a:pt x="1849" y="1031"/>
                    <a:pt x="1848" y="1031"/>
                  </a:cubicBezTo>
                  <a:cubicBezTo>
                    <a:pt x="1848" y="1030"/>
                    <a:pt x="1848" y="1030"/>
                    <a:pt x="1848" y="1030"/>
                  </a:cubicBezTo>
                  <a:cubicBezTo>
                    <a:pt x="1849" y="1031"/>
                    <a:pt x="1849" y="1031"/>
                    <a:pt x="1849" y="1031"/>
                  </a:cubicBezTo>
                  <a:cubicBezTo>
                    <a:pt x="1849" y="1031"/>
                    <a:pt x="1849" y="1031"/>
                    <a:pt x="1849" y="1031"/>
                  </a:cubicBezTo>
                  <a:cubicBezTo>
                    <a:pt x="1850" y="1031"/>
                    <a:pt x="1851" y="1031"/>
                    <a:pt x="1852" y="1030"/>
                  </a:cubicBezTo>
                  <a:cubicBezTo>
                    <a:pt x="1855" y="1029"/>
                    <a:pt x="1856" y="1026"/>
                    <a:pt x="1853" y="1023"/>
                  </a:cubicBezTo>
                  <a:cubicBezTo>
                    <a:pt x="1852" y="1021"/>
                    <a:pt x="1850" y="1019"/>
                    <a:pt x="1848" y="1018"/>
                  </a:cubicBezTo>
                  <a:cubicBezTo>
                    <a:pt x="1843" y="1015"/>
                    <a:pt x="1841" y="1012"/>
                    <a:pt x="1839" y="1009"/>
                  </a:cubicBezTo>
                  <a:cubicBezTo>
                    <a:pt x="1836" y="1003"/>
                    <a:pt x="1833" y="998"/>
                    <a:pt x="1831" y="993"/>
                  </a:cubicBezTo>
                  <a:cubicBezTo>
                    <a:pt x="1829" y="990"/>
                    <a:pt x="1826" y="987"/>
                    <a:pt x="1823" y="986"/>
                  </a:cubicBezTo>
                  <a:cubicBezTo>
                    <a:pt x="1821" y="985"/>
                    <a:pt x="1819" y="984"/>
                    <a:pt x="1817" y="983"/>
                  </a:cubicBezTo>
                  <a:cubicBezTo>
                    <a:pt x="1812" y="980"/>
                    <a:pt x="1811" y="977"/>
                    <a:pt x="1811" y="972"/>
                  </a:cubicBezTo>
                  <a:cubicBezTo>
                    <a:pt x="1812" y="969"/>
                    <a:pt x="1812" y="966"/>
                    <a:pt x="1814" y="963"/>
                  </a:cubicBezTo>
                  <a:cubicBezTo>
                    <a:pt x="1816" y="961"/>
                    <a:pt x="1818" y="959"/>
                    <a:pt x="1819" y="957"/>
                  </a:cubicBezTo>
                  <a:cubicBezTo>
                    <a:pt x="1821" y="952"/>
                    <a:pt x="1824" y="949"/>
                    <a:pt x="1829" y="947"/>
                  </a:cubicBezTo>
                  <a:cubicBezTo>
                    <a:pt x="1833" y="944"/>
                    <a:pt x="1837" y="942"/>
                    <a:pt x="1843" y="942"/>
                  </a:cubicBezTo>
                  <a:cubicBezTo>
                    <a:pt x="1844" y="942"/>
                    <a:pt x="1845" y="941"/>
                    <a:pt x="1846" y="939"/>
                  </a:cubicBezTo>
                  <a:cubicBezTo>
                    <a:pt x="1846" y="938"/>
                    <a:pt x="1846" y="936"/>
                    <a:pt x="1846" y="935"/>
                  </a:cubicBezTo>
                  <a:cubicBezTo>
                    <a:pt x="1846" y="932"/>
                    <a:pt x="1844" y="929"/>
                    <a:pt x="1841" y="929"/>
                  </a:cubicBezTo>
                  <a:cubicBezTo>
                    <a:pt x="1839" y="929"/>
                    <a:pt x="1836" y="929"/>
                    <a:pt x="1833" y="929"/>
                  </a:cubicBezTo>
                  <a:cubicBezTo>
                    <a:pt x="1831" y="929"/>
                    <a:pt x="1829" y="929"/>
                    <a:pt x="1827" y="928"/>
                  </a:cubicBezTo>
                  <a:cubicBezTo>
                    <a:pt x="1825" y="928"/>
                    <a:pt x="1823" y="926"/>
                    <a:pt x="1821" y="925"/>
                  </a:cubicBezTo>
                  <a:cubicBezTo>
                    <a:pt x="1819" y="924"/>
                    <a:pt x="1817" y="925"/>
                    <a:pt x="1815" y="926"/>
                  </a:cubicBezTo>
                  <a:cubicBezTo>
                    <a:pt x="1811" y="928"/>
                    <a:pt x="1808" y="931"/>
                    <a:pt x="1805" y="934"/>
                  </a:cubicBezTo>
                  <a:cubicBezTo>
                    <a:pt x="1804" y="935"/>
                    <a:pt x="1803" y="936"/>
                    <a:pt x="1801" y="936"/>
                  </a:cubicBezTo>
                  <a:cubicBezTo>
                    <a:pt x="1799" y="937"/>
                    <a:pt x="1796" y="936"/>
                    <a:pt x="1795" y="933"/>
                  </a:cubicBezTo>
                  <a:cubicBezTo>
                    <a:pt x="1793" y="929"/>
                    <a:pt x="1791" y="926"/>
                    <a:pt x="1786" y="925"/>
                  </a:cubicBezTo>
                  <a:cubicBezTo>
                    <a:pt x="1781" y="923"/>
                    <a:pt x="1778" y="920"/>
                    <a:pt x="1774" y="916"/>
                  </a:cubicBezTo>
                  <a:cubicBezTo>
                    <a:pt x="1772" y="913"/>
                    <a:pt x="1774" y="907"/>
                    <a:pt x="1778" y="906"/>
                  </a:cubicBezTo>
                  <a:cubicBezTo>
                    <a:pt x="1780" y="906"/>
                    <a:pt x="1781" y="906"/>
                    <a:pt x="1783" y="906"/>
                  </a:cubicBezTo>
                  <a:cubicBezTo>
                    <a:pt x="1787" y="905"/>
                    <a:pt x="1789" y="904"/>
                    <a:pt x="1790" y="900"/>
                  </a:cubicBezTo>
                  <a:cubicBezTo>
                    <a:pt x="1792" y="894"/>
                    <a:pt x="1793" y="888"/>
                    <a:pt x="1800" y="885"/>
                  </a:cubicBezTo>
                  <a:cubicBezTo>
                    <a:pt x="1802" y="884"/>
                    <a:pt x="1803" y="882"/>
                    <a:pt x="1804" y="880"/>
                  </a:cubicBezTo>
                  <a:cubicBezTo>
                    <a:pt x="1805" y="877"/>
                    <a:pt x="1807" y="874"/>
                    <a:pt x="1809" y="872"/>
                  </a:cubicBezTo>
                  <a:cubicBezTo>
                    <a:pt x="1809" y="871"/>
                    <a:pt x="1811" y="870"/>
                    <a:pt x="1813" y="869"/>
                  </a:cubicBezTo>
                  <a:cubicBezTo>
                    <a:pt x="1817" y="868"/>
                    <a:pt x="1820" y="871"/>
                    <a:pt x="1823" y="873"/>
                  </a:cubicBezTo>
                  <a:cubicBezTo>
                    <a:pt x="1825" y="876"/>
                    <a:pt x="1824" y="878"/>
                    <a:pt x="1823" y="881"/>
                  </a:cubicBezTo>
                  <a:cubicBezTo>
                    <a:pt x="1822" y="881"/>
                    <a:pt x="1822" y="882"/>
                    <a:pt x="1821" y="883"/>
                  </a:cubicBezTo>
                  <a:cubicBezTo>
                    <a:pt x="1819" y="887"/>
                    <a:pt x="1819" y="890"/>
                    <a:pt x="1820" y="894"/>
                  </a:cubicBezTo>
                  <a:cubicBezTo>
                    <a:pt x="1821" y="895"/>
                    <a:pt x="1821" y="897"/>
                    <a:pt x="1822" y="898"/>
                  </a:cubicBezTo>
                  <a:cubicBezTo>
                    <a:pt x="1823" y="901"/>
                    <a:pt x="1821" y="902"/>
                    <a:pt x="1820" y="903"/>
                  </a:cubicBezTo>
                  <a:cubicBezTo>
                    <a:pt x="1820" y="904"/>
                    <a:pt x="1819" y="904"/>
                    <a:pt x="1819" y="905"/>
                  </a:cubicBezTo>
                  <a:cubicBezTo>
                    <a:pt x="1819" y="906"/>
                    <a:pt x="1820" y="907"/>
                    <a:pt x="1820" y="907"/>
                  </a:cubicBezTo>
                  <a:cubicBezTo>
                    <a:pt x="1821" y="908"/>
                    <a:pt x="1822" y="908"/>
                    <a:pt x="1823" y="908"/>
                  </a:cubicBezTo>
                  <a:cubicBezTo>
                    <a:pt x="1827" y="907"/>
                    <a:pt x="1829" y="904"/>
                    <a:pt x="1832" y="901"/>
                  </a:cubicBezTo>
                  <a:cubicBezTo>
                    <a:pt x="1837" y="893"/>
                    <a:pt x="1846" y="890"/>
                    <a:pt x="1855" y="888"/>
                  </a:cubicBezTo>
                  <a:cubicBezTo>
                    <a:pt x="1857" y="888"/>
                    <a:pt x="1858" y="889"/>
                    <a:pt x="1860" y="889"/>
                  </a:cubicBezTo>
                  <a:cubicBezTo>
                    <a:pt x="1862" y="889"/>
                    <a:pt x="1863" y="890"/>
                    <a:pt x="1865" y="891"/>
                  </a:cubicBezTo>
                  <a:cubicBezTo>
                    <a:pt x="1871" y="893"/>
                    <a:pt x="1871" y="893"/>
                    <a:pt x="1871" y="899"/>
                  </a:cubicBezTo>
                  <a:cubicBezTo>
                    <a:pt x="1871" y="904"/>
                    <a:pt x="1871" y="909"/>
                    <a:pt x="1871" y="915"/>
                  </a:cubicBezTo>
                  <a:cubicBezTo>
                    <a:pt x="1871" y="917"/>
                    <a:pt x="1872" y="920"/>
                    <a:pt x="1874" y="922"/>
                  </a:cubicBezTo>
                  <a:cubicBezTo>
                    <a:pt x="1876" y="923"/>
                    <a:pt x="1878" y="924"/>
                    <a:pt x="1880" y="924"/>
                  </a:cubicBezTo>
                  <a:cubicBezTo>
                    <a:pt x="1882" y="923"/>
                    <a:pt x="1883" y="923"/>
                    <a:pt x="1885" y="922"/>
                  </a:cubicBezTo>
                  <a:cubicBezTo>
                    <a:pt x="1888" y="922"/>
                    <a:pt x="1890" y="922"/>
                    <a:pt x="1893" y="924"/>
                  </a:cubicBezTo>
                  <a:cubicBezTo>
                    <a:pt x="1895" y="926"/>
                    <a:pt x="1896" y="928"/>
                    <a:pt x="1898" y="930"/>
                  </a:cubicBezTo>
                  <a:cubicBezTo>
                    <a:pt x="1900" y="932"/>
                    <a:pt x="1900" y="933"/>
                    <a:pt x="1897" y="936"/>
                  </a:cubicBezTo>
                  <a:cubicBezTo>
                    <a:pt x="1895" y="939"/>
                    <a:pt x="1894" y="940"/>
                    <a:pt x="1896" y="942"/>
                  </a:cubicBezTo>
                  <a:cubicBezTo>
                    <a:pt x="1903" y="947"/>
                    <a:pt x="1904" y="954"/>
                    <a:pt x="1903" y="962"/>
                  </a:cubicBezTo>
                  <a:cubicBezTo>
                    <a:pt x="1903" y="964"/>
                    <a:pt x="1903" y="966"/>
                    <a:pt x="1903" y="968"/>
                  </a:cubicBezTo>
                  <a:cubicBezTo>
                    <a:pt x="1903" y="972"/>
                    <a:pt x="1906" y="976"/>
                    <a:pt x="1908" y="979"/>
                  </a:cubicBezTo>
                  <a:cubicBezTo>
                    <a:pt x="1908" y="980"/>
                    <a:pt x="1909" y="980"/>
                    <a:pt x="1909" y="980"/>
                  </a:cubicBezTo>
                  <a:cubicBezTo>
                    <a:pt x="1912" y="979"/>
                    <a:pt x="1914" y="978"/>
                    <a:pt x="1916" y="976"/>
                  </a:cubicBezTo>
                  <a:cubicBezTo>
                    <a:pt x="1919" y="973"/>
                    <a:pt x="1922" y="972"/>
                    <a:pt x="1927" y="972"/>
                  </a:cubicBezTo>
                  <a:cubicBezTo>
                    <a:pt x="1928" y="972"/>
                    <a:pt x="1930" y="972"/>
                    <a:pt x="1931" y="972"/>
                  </a:cubicBezTo>
                  <a:cubicBezTo>
                    <a:pt x="1935" y="973"/>
                    <a:pt x="1937" y="970"/>
                    <a:pt x="1940" y="968"/>
                  </a:cubicBezTo>
                  <a:cubicBezTo>
                    <a:pt x="1944" y="963"/>
                    <a:pt x="1946" y="957"/>
                    <a:pt x="1943" y="950"/>
                  </a:cubicBezTo>
                  <a:cubicBezTo>
                    <a:pt x="1942" y="947"/>
                    <a:pt x="1941" y="944"/>
                    <a:pt x="1940" y="941"/>
                  </a:cubicBezTo>
                  <a:cubicBezTo>
                    <a:pt x="1936" y="929"/>
                    <a:pt x="1937" y="929"/>
                    <a:pt x="1928" y="920"/>
                  </a:cubicBezTo>
                  <a:cubicBezTo>
                    <a:pt x="1925" y="916"/>
                    <a:pt x="1921" y="913"/>
                    <a:pt x="1919" y="908"/>
                  </a:cubicBezTo>
                  <a:cubicBezTo>
                    <a:pt x="1917" y="904"/>
                    <a:pt x="1914" y="902"/>
                    <a:pt x="1910" y="899"/>
                  </a:cubicBezTo>
                  <a:cubicBezTo>
                    <a:pt x="1907" y="898"/>
                    <a:pt x="1905" y="896"/>
                    <a:pt x="1902" y="894"/>
                  </a:cubicBezTo>
                  <a:cubicBezTo>
                    <a:pt x="1899" y="892"/>
                    <a:pt x="1898" y="887"/>
                    <a:pt x="1900" y="884"/>
                  </a:cubicBezTo>
                  <a:cubicBezTo>
                    <a:pt x="1902" y="882"/>
                    <a:pt x="1903" y="880"/>
                    <a:pt x="1905" y="879"/>
                  </a:cubicBezTo>
                  <a:cubicBezTo>
                    <a:pt x="1908" y="877"/>
                    <a:pt x="1910" y="874"/>
                    <a:pt x="1913" y="872"/>
                  </a:cubicBezTo>
                  <a:cubicBezTo>
                    <a:pt x="1919" y="865"/>
                    <a:pt x="1922" y="858"/>
                    <a:pt x="1918" y="849"/>
                  </a:cubicBezTo>
                  <a:cubicBezTo>
                    <a:pt x="1916" y="842"/>
                    <a:pt x="1918" y="836"/>
                    <a:pt x="1924" y="832"/>
                  </a:cubicBezTo>
                  <a:cubicBezTo>
                    <a:pt x="1925" y="830"/>
                    <a:pt x="1927" y="829"/>
                    <a:pt x="1928" y="827"/>
                  </a:cubicBezTo>
                  <a:cubicBezTo>
                    <a:pt x="1930" y="826"/>
                    <a:pt x="1931" y="824"/>
                    <a:pt x="1933" y="823"/>
                  </a:cubicBezTo>
                  <a:cubicBezTo>
                    <a:pt x="1935" y="820"/>
                    <a:pt x="1935" y="817"/>
                    <a:pt x="1938" y="815"/>
                  </a:cubicBezTo>
                  <a:cubicBezTo>
                    <a:pt x="1943" y="814"/>
                    <a:pt x="1945" y="818"/>
                    <a:pt x="1948" y="820"/>
                  </a:cubicBezTo>
                  <a:cubicBezTo>
                    <a:pt x="1952" y="821"/>
                    <a:pt x="1956" y="822"/>
                    <a:pt x="1959" y="820"/>
                  </a:cubicBezTo>
                  <a:cubicBezTo>
                    <a:pt x="1963" y="818"/>
                    <a:pt x="1966" y="816"/>
                    <a:pt x="1968" y="813"/>
                  </a:cubicBezTo>
                  <a:cubicBezTo>
                    <a:pt x="1973" y="808"/>
                    <a:pt x="1976" y="803"/>
                    <a:pt x="1978" y="797"/>
                  </a:cubicBezTo>
                  <a:cubicBezTo>
                    <a:pt x="1982" y="788"/>
                    <a:pt x="1988" y="779"/>
                    <a:pt x="1989" y="769"/>
                  </a:cubicBezTo>
                  <a:cubicBezTo>
                    <a:pt x="1990" y="767"/>
                    <a:pt x="1991" y="765"/>
                    <a:pt x="1992" y="764"/>
                  </a:cubicBezTo>
                  <a:cubicBezTo>
                    <a:pt x="1999" y="755"/>
                    <a:pt x="1999" y="745"/>
                    <a:pt x="2000" y="736"/>
                  </a:cubicBezTo>
                  <a:cubicBezTo>
                    <a:pt x="2001" y="727"/>
                    <a:pt x="2005" y="720"/>
                    <a:pt x="2005" y="711"/>
                  </a:cubicBezTo>
                  <a:cubicBezTo>
                    <a:pt x="2005" y="710"/>
                    <a:pt x="2005" y="708"/>
                    <a:pt x="2006" y="707"/>
                  </a:cubicBezTo>
                  <a:cubicBezTo>
                    <a:pt x="2010" y="701"/>
                    <a:pt x="2009" y="696"/>
                    <a:pt x="2008" y="690"/>
                  </a:cubicBezTo>
                  <a:cubicBezTo>
                    <a:pt x="2007" y="679"/>
                    <a:pt x="2004" y="669"/>
                    <a:pt x="1998" y="660"/>
                  </a:cubicBezTo>
                  <a:cubicBezTo>
                    <a:pt x="1996" y="657"/>
                    <a:pt x="1995" y="653"/>
                    <a:pt x="1994" y="649"/>
                  </a:cubicBezTo>
                  <a:cubicBezTo>
                    <a:pt x="1994" y="640"/>
                    <a:pt x="1994" y="631"/>
                    <a:pt x="1994" y="622"/>
                  </a:cubicBezTo>
                  <a:cubicBezTo>
                    <a:pt x="1994" y="621"/>
                    <a:pt x="1994" y="620"/>
                    <a:pt x="1995" y="619"/>
                  </a:cubicBezTo>
                  <a:cubicBezTo>
                    <a:pt x="1995" y="620"/>
                    <a:pt x="1996" y="620"/>
                    <a:pt x="1996" y="620"/>
                  </a:cubicBezTo>
                  <a:cubicBezTo>
                    <a:pt x="2000" y="625"/>
                    <a:pt x="2004" y="629"/>
                    <a:pt x="2008" y="633"/>
                  </a:cubicBezTo>
                  <a:cubicBezTo>
                    <a:pt x="2012" y="638"/>
                    <a:pt x="2011" y="644"/>
                    <a:pt x="2014" y="649"/>
                  </a:cubicBezTo>
                  <a:cubicBezTo>
                    <a:pt x="2015" y="652"/>
                    <a:pt x="2017" y="654"/>
                    <a:pt x="2018" y="656"/>
                  </a:cubicBezTo>
                  <a:cubicBezTo>
                    <a:pt x="2021" y="662"/>
                    <a:pt x="2023" y="668"/>
                    <a:pt x="2023" y="674"/>
                  </a:cubicBezTo>
                  <a:cubicBezTo>
                    <a:pt x="2023" y="675"/>
                    <a:pt x="2024" y="676"/>
                    <a:pt x="2024" y="677"/>
                  </a:cubicBezTo>
                  <a:cubicBezTo>
                    <a:pt x="2026" y="684"/>
                    <a:pt x="2026" y="692"/>
                    <a:pt x="2032" y="698"/>
                  </a:cubicBezTo>
                  <a:cubicBezTo>
                    <a:pt x="2034" y="700"/>
                    <a:pt x="2035" y="704"/>
                    <a:pt x="2036" y="708"/>
                  </a:cubicBezTo>
                  <a:cubicBezTo>
                    <a:pt x="2036" y="713"/>
                    <a:pt x="2038" y="718"/>
                    <a:pt x="2040" y="723"/>
                  </a:cubicBezTo>
                  <a:cubicBezTo>
                    <a:pt x="2042" y="726"/>
                    <a:pt x="2043" y="729"/>
                    <a:pt x="2043" y="733"/>
                  </a:cubicBezTo>
                  <a:cubicBezTo>
                    <a:pt x="2043" y="735"/>
                    <a:pt x="2043" y="736"/>
                    <a:pt x="2043" y="738"/>
                  </a:cubicBezTo>
                  <a:cubicBezTo>
                    <a:pt x="2044" y="742"/>
                    <a:pt x="2046" y="745"/>
                    <a:pt x="2050" y="746"/>
                  </a:cubicBezTo>
                  <a:cubicBezTo>
                    <a:pt x="2050" y="746"/>
                    <a:pt x="2052" y="746"/>
                    <a:pt x="2052" y="745"/>
                  </a:cubicBezTo>
                  <a:cubicBezTo>
                    <a:pt x="2053" y="743"/>
                    <a:pt x="2052" y="741"/>
                    <a:pt x="2052" y="739"/>
                  </a:cubicBezTo>
                  <a:cubicBezTo>
                    <a:pt x="2052" y="736"/>
                    <a:pt x="2054" y="735"/>
                    <a:pt x="2058" y="735"/>
                  </a:cubicBezTo>
                  <a:cubicBezTo>
                    <a:pt x="2061" y="736"/>
                    <a:pt x="2063" y="738"/>
                    <a:pt x="2066" y="740"/>
                  </a:cubicBezTo>
                  <a:cubicBezTo>
                    <a:pt x="2067" y="740"/>
                    <a:pt x="2068" y="740"/>
                    <a:pt x="2068" y="740"/>
                  </a:cubicBezTo>
                  <a:cubicBezTo>
                    <a:pt x="2068" y="739"/>
                    <a:pt x="2069" y="738"/>
                    <a:pt x="2069" y="737"/>
                  </a:cubicBezTo>
                  <a:cubicBezTo>
                    <a:pt x="2068" y="733"/>
                    <a:pt x="2067" y="729"/>
                    <a:pt x="2063" y="728"/>
                  </a:cubicBezTo>
                  <a:cubicBezTo>
                    <a:pt x="2056" y="725"/>
                    <a:pt x="2055" y="717"/>
                    <a:pt x="2049" y="713"/>
                  </a:cubicBezTo>
                  <a:cubicBezTo>
                    <a:pt x="2047" y="709"/>
                    <a:pt x="2045" y="706"/>
                    <a:pt x="2044" y="702"/>
                  </a:cubicBezTo>
                  <a:cubicBezTo>
                    <a:pt x="2043" y="697"/>
                    <a:pt x="2042" y="691"/>
                    <a:pt x="2042" y="686"/>
                  </a:cubicBezTo>
                  <a:cubicBezTo>
                    <a:pt x="2041" y="685"/>
                    <a:pt x="2041" y="683"/>
                    <a:pt x="2041" y="682"/>
                  </a:cubicBezTo>
                  <a:cubicBezTo>
                    <a:pt x="2041" y="680"/>
                    <a:pt x="2043" y="677"/>
                    <a:pt x="2045" y="677"/>
                  </a:cubicBezTo>
                  <a:cubicBezTo>
                    <a:pt x="2048" y="677"/>
                    <a:pt x="2050" y="677"/>
                    <a:pt x="2053" y="676"/>
                  </a:cubicBezTo>
                  <a:cubicBezTo>
                    <a:pt x="2054" y="674"/>
                    <a:pt x="2053" y="671"/>
                    <a:pt x="2052" y="669"/>
                  </a:cubicBezTo>
                  <a:cubicBezTo>
                    <a:pt x="2041" y="653"/>
                    <a:pt x="2033" y="636"/>
                    <a:pt x="2020" y="621"/>
                  </a:cubicBezTo>
                  <a:cubicBezTo>
                    <a:pt x="2016" y="617"/>
                    <a:pt x="2013" y="612"/>
                    <a:pt x="2014" y="606"/>
                  </a:cubicBezTo>
                  <a:cubicBezTo>
                    <a:pt x="2014" y="603"/>
                    <a:pt x="2013" y="600"/>
                    <a:pt x="2012" y="598"/>
                  </a:cubicBezTo>
                  <a:cubicBezTo>
                    <a:pt x="2008" y="591"/>
                    <a:pt x="2006" y="583"/>
                    <a:pt x="1998" y="577"/>
                  </a:cubicBezTo>
                  <a:cubicBezTo>
                    <a:pt x="1995" y="575"/>
                    <a:pt x="1995" y="572"/>
                    <a:pt x="1993" y="569"/>
                  </a:cubicBezTo>
                  <a:cubicBezTo>
                    <a:pt x="1992" y="566"/>
                    <a:pt x="1989" y="565"/>
                    <a:pt x="1985" y="565"/>
                  </a:cubicBezTo>
                  <a:cubicBezTo>
                    <a:pt x="1984" y="565"/>
                    <a:pt x="1983" y="566"/>
                    <a:pt x="1983" y="566"/>
                  </a:cubicBezTo>
                  <a:cubicBezTo>
                    <a:pt x="1982" y="567"/>
                    <a:pt x="1982" y="567"/>
                    <a:pt x="1982" y="568"/>
                  </a:cubicBezTo>
                  <a:cubicBezTo>
                    <a:pt x="1983" y="569"/>
                    <a:pt x="1984" y="570"/>
                    <a:pt x="1984" y="570"/>
                  </a:cubicBezTo>
                  <a:cubicBezTo>
                    <a:pt x="1990" y="576"/>
                    <a:pt x="1990" y="577"/>
                    <a:pt x="1985" y="584"/>
                  </a:cubicBezTo>
                  <a:cubicBezTo>
                    <a:pt x="1984" y="585"/>
                    <a:pt x="1984" y="587"/>
                    <a:pt x="1984" y="587"/>
                  </a:cubicBezTo>
                  <a:cubicBezTo>
                    <a:pt x="1985" y="589"/>
                    <a:pt x="1985" y="591"/>
                    <a:pt x="1986" y="593"/>
                  </a:cubicBezTo>
                  <a:cubicBezTo>
                    <a:pt x="1990" y="598"/>
                    <a:pt x="1991" y="604"/>
                    <a:pt x="1992" y="609"/>
                  </a:cubicBezTo>
                  <a:cubicBezTo>
                    <a:pt x="1992" y="610"/>
                    <a:pt x="1991" y="611"/>
                    <a:pt x="1991" y="612"/>
                  </a:cubicBezTo>
                  <a:cubicBezTo>
                    <a:pt x="1990" y="613"/>
                    <a:pt x="1988" y="612"/>
                    <a:pt x="1988" y="610"/>
                  </a:cubicBezTo>
                  <a:cubicBezTo>
                    <a:pt x="1987" y="607"/>
                    <a:pt x="1986" y="604"/>
                    <a:pt x="1984" y="601"/>
                  </a:cubicBezTo>
                  <a:cubicBezTo>
                    <a:pt x="1982" y="600"/>
                    <a:pt x="1981" y="598"/>
                    <a:pt x="1981" y="596"/>
                  </a:cubicBezTo>
                  <a:cubicBezTo>
                    <a:pt x="1982" y="591"/>
                    <a:pt x="1979" y="588"/>
                    <a:pt x="1975" y="585"/>
                  </a:cubicBezTo>
                  <a:cubicBezTo>
                    <a:pt x="1969" y="581"/>
                    <a:pt x="1962" y="578"/>
                    <a:pt x="1956" y="574"/>
                  </a:cubicBezTo>
                  <a:cubicBezTo>
                    <a:pt x="1955" y="573"/>
                    <a:pt x="1953" y="573"/>
                    <a:pt x="1951" y="573"/>
                  </a:cubicBezTo>
                  <a:cubicBezTo>
                    <a:pt x="1948" y="573"/>
                    <a:pt x="1946" y="573"/>
                    <a:pt x="1943" y="573"/>
                  </a:cubicBezTo>
                  <a:cubicBezTo>
                    <a:pt x="1940" y="573"/>
                    <a:pt x="1938" y="574"/>
                    <a:pt x="1937" y="577"/>
                  </a:cubicBezTo>
                  <a:cubicBezTo>
                    <a:pt x="1936" y="581"/>
                    <a:pt x="1935" y="585"/>
                    <a:pt x="1932" y="587"/>
                  </a:cubicBezTo>
                  <a:cubicBezTo>
                    <a:pt x="1932" y="587"/>
                    <a:pt x="1931" y="587"/>
                    <a:pt x="1930" y="587"/>
                  </a:cubicBezTo>
                  <a:cubicBezTo>
                    <a:pt x="1928" y="583"/>
                    <a:pt x="1926" y="578"/>
                    <a:pt x="1924" y="574"/>
                  </a:cubicBezTo>
                  <a:cubicBezTo>
                    <a:pt x="1924" y="574"/>
                    <a:pt x="1923" y="573"/>
                    <a:pt x="1923" y="573"/>
                  </a:cubicBezTo>
                  <a:cubicBezTo>
                    <a:pt x="1922" y="574"/>
                    <a:pt x="1921" y="574"/>
                    <a:pt x="1920" y="575"/>
                  </a:cubicBezTo>
                  <a:cubicBezTo>
                    <a:pt x="1919" y="577"/>
                    <a:pt x="1919" y="579"/>
                    <a:pt x="1919" y="581"/>
                  </a:cubicBezTo>
                  <a:cubicBezTo>
                    <a:pt x="1920" y="582"/>
                    <a:pt x="1919" y="583"/>
                    <a:pt x="1918" y="583"/>
                  </a:cubicBezTo>
                  <a:cubicBezTo>
                    <a:pt x="1917" y="584"/>
                    <a:pt x="1916" y="583"/>
                    <a:pt x="1916" y="582"/>
                  </a:cubicBezTo>
                  <a:cubicBezTo>
                    <a:pt x="1914" y="579"/>
                    <a:pt x="1913" y="575"/>
                    <a:pt x="1911" y="571"/>
                  </a:cubicBezTo>
                  <a:cubicBezTo>
                    <a:pt x="1910" y="567"/>
                    <a:pt x="1908" y="566"/>
                    <a:pt x="1903" y="568"/>
                  </a:cubicBezTo>
                  <a:cubicBezTo>
                    <a:pt x="1902" y="568"/>
                    <a:pt x="1900" y="569"/>
                    <a:pt x="1899" y="569"/>
                  </a:cubicBezTo>
                  <a:cubicBezTo>
                    <a:pt x="1897" y="569"/>
                    <a:pt x="1895" y="569"/>
                    <a:pt x="1894" y="569"/>
                  </a:cubicBezTo>
                  <a:cubicBezTo>
                    <a:pt x="1891" y="569"/>
                    <a:pt x="1888" y="566"/>
                    <a:pt x="1889" y="564"/>
                  </a:cubicBezTo>
                  <a:cubicBezTo>
                    <a:pt x="1890" y="562"/>
                    <a:pt x="1890" y="561"/>
                    <a:pt x="1891" y="559"/>
                  </a:cubicBezTo>
                  <a:cubicBezTo>
                    <a:pt x="1894" y="555"/>
                    <a:pt x="1896" y="550"/>
                    <a:pt x="1899" y="545"/>
                  </a:cubicBezTo>
                  <a:cubicBezTo>
                    <a:pt x="1902" y="540"/>
                    <a:pt x="1905" y="535"/>
                    <a:pt x="1906" y="529"/>
                  </a:cubicBezTo>
                  <a:cubicBezTo>
                    <a:pt x="1907" y="519"/>
                    <a:pt x="1910" y="509"/>
                    <a:pt x="1915" y="500"/>
                  </a:cubicBezTo>
                  <a:cubicBezTo>
                    <a:pt x="1918" y="493"/>
                    <a:pt x="1921" y="486"/>
                    <a:pt x="1919" y="479"/>
                  </a:cubicBezTo>
                  <a:cubicBezTo>
                    <a:pt x="1919" y="475"/>
                    <a:pt x="1920" y="472"/>
                    <a:pt x="1922" y="470"/>
                  </a:cubicBezTo>
                  <a:cubicBezTo>
                    <a:pt x="1925" y="465"/>
                    <a:pt x="1926" y="461"/>
                    <a:pt x="1924" y="456"/>
                  </a:cubicBezTo>
                  <a:cubicBezTo>
                    <a:pt x="1923" y="454"/>
                    <a:pt x="1924" y="452"/>
                    <a:pt x="1925" y="450"/>
                  </a:cubicBezTo>
                  <a:cubicBezTo>
                    <a:pt x="1928" y="446"/>
                    <a:pt x="1931" y="444"/>
                    <a:pt x="1936" y="442"/>
                  </a:cubicBezTo>
                  <a:cubicBezTo>
                    <a:pt x="1943" y="441"/>
                    <a:pt x="1949" y="438"/>
                    <a:pt x="1955" y="436"/>
                  </a:cubicBezTo>
                  <a:cubicBezTo>
                    <a:pt x="1958" y="435"/>
                    <a:pt x="1960" y="436"/>
                    <a:pt x="1963" y="437"/>
                  </a:cubicBezTo>
                  <a:cubicBezTo>
                    <a:pt x="1966" y="438"/>
                    <a:pt x="1968" y="438"/>
                    <a:pt x="1970" y="435"/>
                  </a:cubicBezTo>
                  <a:cubicBezTo>
                    <a:pt x="1972" y="431"/>
                    <a:pt x="1976" y="430"/>
                    <a:pt x="1980" y="431"/>
                  </a:cubicBezTo>
                  <a:cubicBezTo>
                    <a:pt x="1986" y="432"/>
                    <a:pt x="1991" y="428"/>
                    <a:pt x="1997" y="428"/>
                  </a:cubicBezTo>
                  <a:cubicBezTo>
                    <a:pt x="1998" y="428"/>
                    <a:pt x="1999" y="427"/>
                    <a:pt x="2000" y="426"/>
                  </a:cubicBezTo>
                  <a:cubicBezTo>
                    <a:pt x="2000" y="424"/>
                    <a:pt x="2001" y="421"/>
                    <a:pt x="2001" y="418"/>
                  </a:cubicBezTo>
                  <a:cubicBezTo>
                    <a:pt x="2002" y="416"/>
                    <a:pt x="2005" y="414"/>
                    <a:pt x="2008" y="414"/>
                  </a:cubicBezTo>
                  <a:cubicBezTo>
                    <a:pt x="2015" y="415"/>
                    <a:pt x="2023" y="416"/>
                    <a:pt x="2031" y="417"/>
                  </a:cubicBezTo>
                  <a:cubicBezTo>
                    <a:pt x="2032" y="417"/>
                    <a:pt x="2034" y="418"/>
                    <a:pt x="2035" y="419"/>
                  </a:cubicBezTo>
                  <a:cubicBezTo>
                    <a:pt x="2036" y="419"/>
                    <a:pt x="2036" y="420"/>
                    <a:pt x="2036" y="421"/>
                  </a:cubicBezTo>
                  <a:cubicBezTo>
                    <a:pt x="2036" y="422"/>
                    <a:pt x="2035" y="423"/>
                    <a:pt x="2034" y="424"/>
                  </a:cubicBezTo>
                  <a:cubicBezTo>
                    <a:pt x="2033" y="426"/>
                    <a:pt x="2034" y="428"/>
                    <a:pt x="2035" y="429"/>
                  </a:cubicBezTo>
                  <a:cubicBezTo>
                    <a:pt x="2037" y="431"/>
                    <a:pt x="2039" y="432"/>
                    <a:pt x="2041" y="431"/>
                  </a:cubicBezTo>
                  <a:cubicBezTo>
                    <a:pt x="2047" y="428"/>
                    <a:pt x="2053" y="426"/>
                    <a:pt x="2057" y="420"/>
                  </a:cubicBezTo>
                  <a:cubicBezTo>
                    <a:pt x="2058" y="418"/>
                    <a:pt x="2060" y="418"/>
                    <a:pt x="2063" y="419"/>
                  </a:cubicBezTo>
                  <a:cubicBezTo>
                    <a:pt x="2065" y="420"/>
                    <a:pt x="2067" y="419"/>
                    <a:pt x="2069" y="417"/>
                  </a:cubicBezTo>
                  <a:cubicBezTo>
                    <a:pt x="2071" y="415"/>
                    <a:pt x="2075" y="414"/>
                    <a:pt x="2074" y="410"/>
                  </a:cubicBezTo>
                  <a:cubicBezTo>
                    <a:pt x="2073" y="406"/>
                    <a:pt x="2069" y="406"/>
                    <a:pt x="2066" y="406"/>
                  </a:cubicBezTo>
                  <a:cubicBezTo>
                    <a:pt x="2066" y="406"/>
                    <a:pt x="2065" y="406"/>
                    <a:pt x="2064" y="406"/>
                  </a:cubicBezTo>
                  <a:cubicBezTo>
                    <a:pt x="2063" y="405"/>
                    <a:pt x="2061" y="404"/>
                    <a:pt x="2061" y="403"/>
                  </a:cubicBezTo>
                  <a:cubicBezTo>
                    <a:pt x="2059" y="397"/>
                    <a:pt x="2058" y="392"/>
                    <a:pt x="2060" y="386"/>
                  </a:cubicBezTo>
                  <a:cubicBezTo>
                    <a:pt x="2061" y="385"/>
                    <a:pt x="2061" y="384"/>
                    <a:pt x="2061" y="383"/>
                  </a:cubicBezTo>
                  <a:cubicBezTo>
                    <a:pt x="2064" y="379"/>
                    <a:pt x="2064" y="374"/>
                    <a:pt x="2064" y="369"/>
                  </a:cubicBezTo>
                  <a:cubicBezTo>
                    <a:pt x="2063" y="363"/>
                    <a:pt x="2064" y="357"/>
                    <a:pt x="2063" y="351"/>
                  </a:cubicBezTo>
                  <a:cubicBezTo>
                    <a:pt x="2063" y="346"/>
                    <a:pt x="2065" y="343"/>
                    <a:pt x="2070" y="341"/>
                  </a:cubicBezTo>
                  <a:cubicBezTo>
                    <a:pt x="2074" y="339"/>
                    <a:pt x="2077" y="338"/>
                    <a:pt x="2081" y="337"/>
                  </a:cubicBezTo>
                  <a:cubicBezTo>
                    <a:pt x="2084" y="335"/>
                    <a:pt x="2088" y="334"/>
                    <a:pt x="2092" y="336"/>
                  </a:cubicBezTo>
                  <a:cubicBezTo>
                    <a:pt x="2094" y="336"/>
                    <a:pt x="2096" y="335"/>
                    <a:pt x="2098" y="334"/>
                  </a:cubicBezTo>
                  <a:cubicBezTo>
                    <a:pt x="2100" y="332"/>
                    <a:pt x="2101" y="333"/>
                    <a:pt x="2102" y="335"/>
                  </a:cubicBezTo>
                  <a:cubicBezTo>
                    <a:pt x="2102" y="338"/>
                    <a:pt x="2103" y="342"/>
                    <a:pt x="2103" y="346"/>
                  </a:cubicBezTo>
                  <a:cubicBezTo>
                    <a:pt x="2103" y="349"/>
                    <a:pt x="2105" y="351"/>
                    <a:pt x="2108" y="353"/>
                  </a:cubicBezTo>
                  <a:cubicBezTo>
                    <a:pt x="2111" y="355"/>
                    <a:pt x="2115" y="356"/>
                    <a:pt x="2118" y="358"/>
                  </a:cubicBezTo>
                  <a:cubicBezTo>
                    <a:pt x="2118" y="359"/>
                    <a:pt x="2120" y="358"/>
                    <a:pt x="2121" y="357"/>
                  </a:cubicBezTo>
                  <a:cubicBezTo>
                    <a:pt x="2122" y="356"/>
                    <a:pt x="2123" y="355"/>
                    <a:pt x="2123" y="353"/>
                  </a:cubicBezTo>
                  <a:cubicBezTo>
                    <a:pt x="2124" y="347"/>
                    <a:pt x="2126" y="341"/>
                    <a:pt x="2126" y="335"/>
                  </a:cubicBezTo>
                  <a:cubicBezTo>
                    <a:pt x="2127" y="331"/>
                    <a:pt x="2129" y="329"/>
                    <a:pt x="2133" y="327"/>
                  </a:cubicBezTo>
                  <a:cubicBezTo>
                    <a:pt x="2135" y="326"/>
                    <a:pt x="2135" y="324"/>
                    <a:pt x="2136" y="322"/>
                  </a:cubicBezTo>
                  <a:cubicBezTo>
                    <a:pt x="2135" y="322"/>
                    <a:pt x="2135" y="322"/>
                    <a:pt x="2135" y="322"/>
                  </a:cubicBezTo>
                  <a:cubicBezTo>
                    <a:pt x="2127" y="316"/>
                    <a:pt x="2125" y="308"/>
                    <a:pt x="2124" y="300"/>
                  </a:cubicBezTo>
                  <a:cubicBezTo>
                    <a:pt x="2124" y="299"/>
                    <a:pt x="2124" y="299"/>
                    <a:pt x="2124" y="298"/>
                  </a:cubicBezTo>
                  <a:cubicBezTo>
                    <a:pt x="2126" y="295"/>
                    <a:pt x="2132" y="293"/>
                    <a:pt x="2136" y="295"/>
                  </a:cubicBezTo>
                  <a:cubicBezTo>
                    <a:pt x="2137" y="296"/>
                    <a:pt x="2138" y="298"/>
                    <a:pt x="2138" y="299"/>
                  </a:cubicBezTo>
                  <a:cubicBezTo>
                    <a:pt x="2135" y="304"/>
                    <a:pt x="2135" y="308"/>
                    <a:pt x="2138" y="312"/>
                  </a:cubicBezTo>
                  <a:cubicBezTo>
                    <a:pt x="2141" y="318"/>
                    <a:pt x="2145" y="323"/>
                    <a:pt x="2145" y="330"/>
                  </a:cubicBezTo>
                  <a:cubicBezTo>
                    <a:pt x="2144" y="330"/>
                    <a:pt x="2145" y="332"/>
                    <a:pt x="2146" y="332"/>
                  </a:cubicBezTo>
                  <a:cubicBezTo>
                    <a:pt x="2150" y="337"/>
                    <a:pt x="2148" y="342"/>
                    <a:pt x="2150" y="347"/>
                  </a:cubicBezTo>
                  <a:cubicBezTo>
                    <a:pt x="2149" y="351"/>
                    <a:pt x="2146" y="353"/>
                    <a:pt x="2144" y="356"/>
                  </a:cubicBezTo>
                  <a:cubicBezTo>
                    <a:pt x="2143" y="357"/>
                    <a:pt x="2143" y="357"/>
                    <a:pt x="2143" y="357"/>
                  </a:cubicBezTo>
                  <a:cubicBezTo>
                    <a:pt x="2140" y="360"/>
                    <a:pt x="2140" y="363"/>
                    <a:pt x="2140" y="366"/>
                  </a:cubicBezTo>
                  <a:cubicBezTo>
                    <a:pt x="2140" y="374"/>
                    <a:pt x="2141" y="383"/>
                    <a:pt x="2137" y="390"/>
                  </a:cubicBezTo>
                  <a:cubicBezTo>
                    <a:pt x="2136" y="392"/>
                    <a:pt x="2136" y="395"/>
                    <a:pt x="2136" y="397"/>
                  </a:cubicBezTo>
                  <a:cubicBezTo>
                    <a:pt x="2136" y="404"/>
                    <a:pt x="2135" y="412"/>
                    <a:pt x="2136" y="420"/>
                  </a:cubicBezTo>
                  <a:cubicBezTo>
                    <a:pt x="2136" y="427"/>
                    <a:pt x="2135" y="433"/>
                    <a:pt x="2131" y="438"/>
                  </a:cubicBezTo>
                  <a:cubicBezTo>
                    <a:pt x="2129" y="439"/>
                    <a:pt x="2129" y="440"/>
                    <a:pt x="2128" y="442"/>
                  </a:cubicBezTo>
                  <a:cubicBezTo>
                    <a:pt x="2127" y="443"/>
                    <a:pt x="2126" y="444"/>
                    <a:pt x="2125" y="445"/>
                  </a:cubicBezTo>
                  <a:cubicBezTo>
                    <a:pt x="2120" y="448"/>
                    <a:pt x="2120" y="448"/>
                    <a:pt x="2123" y="452"/>
                  </a:cubicBezTo>
                  <a:cubicBezTo>
                    <a:pt x="2126" y="456"/>
                    <a:pt x="2127" y="460"/>
                    <a:pt x="2126" y="465"/>
                  </a:cubicBezTo>
                  <a:cubicBezTo>
                    <a:pt x="2125" y="467"/>
                    <a:pt x="2124" y="470"/>
                    <a:pt x="2123" y="472"/>
                  </a:cubicBezTo>
                  <a:cubicBezTo>
                    <a:pt x="2122" y="476"/>
                    <a:pt x="2122" y="479"/>
                    <a:pt x="2122" y="483"/>
                  </a:cubicBezTo>
                  <a:cubicBezTo>
                    <a:pt x="2123" y="489"/>
                    <a:pt x="2126" y="495"/>
                    <a:pt x="2128" y="501"/>
                  </a:cubicBezTo>
                  <a:cubicBezTo>
                    <a:pt x="2134" y="521"/>
                    <a:pt x="2146" y="538"/>
                    <a:pt x="2157" y="555"/>
                  </a:cubicBezTo>
                  <a:cubicBezTo>
                    <a:pt x="2161" y="560"/>
                    <a:pt x="2164" y="564"/>
                    <a:pt x="2167" y="569"/>
                  </a:cubicBezTo>
                  <a:cubicBezTo>
                    <a:pt x="2169" y="572"/>
                    <a:pt x="2171" y="576"/>
                    <a:pt x="2174" y="578"/>
                  </a:cubicBezTo>
                  <a:cubicBezTo>
                    <a:pt x="2178" y="581"/>
                    <a:pt x="2180" y="585"/>
                    <a:pt x="2182" y="589"/>
                  </a:cubicBezTo>
                  <a:cubicBezTo>
                    <a:pt x="2184" y="594"/>
                    <a:pt x="2186" y="598"/>
                    <a:pt x="2187" y="603"/>
                  </a:cubicBezTo>
                  <a:cubicBezTo>
                    <a:pt x="2189" y="607"/>
                    <a:pt x="2194" y="609"/>
                    <a:pt x="2198" y="612"/>
                  </a:cubicBezTo>
                  <a:cubicBezTo>
                    <a:pt x="2198" y="612"/>
                    <a:pt x="2199" y="611"/>
                    <a:pt x="2200" y="611"/>
                  </a:cubicBezTo>
                  <a:cubicBezTo>
                    <a:pt x="2203" y="609"/>
                    <a:pt x="2203" y="605"/>
                    <a:pt x="2205" y="601"/>
                  </a:cubicBezTo>
                  <a:cubicBezTo>
                    <a:pt x="2209" y="593"/>
                    <a:pt x="2210" y="585"/>
                    <a:pt x="2206" y="576"/>
                  </a:cubicBezTo>
                  <a:cubicBezTo>
                    <a:pt x="2203" y="566"/>
                    <a:pt x="2201" y="564"/>
                    <a:pt x="2213" y="558"/>
                  </a:cubicBezTo>
                  <a:cubicBezTo>
                    <a:pt x="2213" y="558"/>
                    <a:pt x="2214" y="558"/>
                    <a:pt x="2214" y="558"/>
                  </a:cubicBezTo>
                  <a:cubicBezTo>
                    <a:pt x="2216" y="556"/>
                    <a:pt x="2216" y="555"/>
                    <a:pt x="2215" y="554"/>
                  </a:cubicBezTo>
                  <a:cubicBezTo>
                    <a:pt x="2214" y="552"/>
                    <a:pt x="2212" y="549"/>
                    <a:pt x="2211" y="547"/>
                  </a:cubicBezTo>
                  <a:cubicBezTo>
                    <a:pt x="2210" y="545"/>
                    <a:pt x="2209" y="543"/>
                    <a:pt x="2209" y="541"/>
                  </a:cubicBezTo>
                  <a:cubicBezTo>
                    <a:pt x="2209" y="537"/>
                    <a:pt x="2209" y="532"/>
                    <a:pt x="2209" y="527"/>
                  </a:cubicBezTo>
                  <a:cubicBezTo>
                    <a:pt x="2210" y="524"/>
                    <a:pt x="2212" y="522"/>
                    <a:pt x="2215" y="520"/>
                  </a:cubicBezTo>
                  <a:cubicBezTo>
                    <a:pt x="2218" y="519"/>
                    <a:pt x="2220" y="518"/>
                    <a:pt x="2223" y="517"/>
                  </a:cubicBezTo>
                  <a:cubicBezTo>
                    <a:pt x="2225" y="516"/>
                    <a:pt x="2226" y="512"/>
                    <a:pt x="2224" y="510"/>
                  </a:cubicBezTo>
                  <a:cubicBezTo>
                    <a:pt x="2222" y="507"/>
                    <a:pt x="2219" y="504"/>
                    <a:pt x="2217" y="502"/>
                  </a:cubicBezTo>
                  <a:cubicBezTo>
                    <a:pt x="2210" y="495"/>
                    <a:pt x="2207" y="487"/>
                    <a:pt x="2209" y="477"/>
                  </a:cubicBezTo>
                  <a:cubicBezTo>
                    <a:pt x="2209" y="476"/>
                    <a:pt x="2211" y="474"/>
                    <a:pt x="2212" y="475"/>
                  </a:cubicBezTo>
                  <a:cubicBezTo>
                    <a:pt x="2214" y="475"/>
                    <a:pt x="2215" y="475"/>
                    <a:pt x="2216" y="475"/>
                  </a:cubicBezTo>
                  <a:cubicBezTo>
                    <a:pt x="2219" y="475"/>
                    <a:pt x="2222" y="471"/>
                    <a:pt x="2221" y="469"/>
                  </a:cubicBezTo>
                  <a:cubicBezTo>
                    <a:pt x="2218" y="465"/>
                    <a:pt x="2216" y="462"/>
                    <a:pt x="2214" y="458"/>
                  </a:cubicBezTo>
                  <a:cubicBezTo>
                    <a:pt x="2212" y="455"/>
                    <a:pt x="2210" y="454"/>
                    <a:pt x="2206" y="454"/>
                  </a:cubicBezTo>
                  <a:cubicBezTo>
                    <a:pt x="2205" y="454"/>
                    <a:pt x="2204" y="454"/>
                    <a:pt x="2203" y="453"/>
                  </a:cubicBezTo>
                  <a:cubicBezTo>
                    <a:pt x="2202" y="449"/>
                    <a:pt x="2199" y="445"/>
                    <a:pt x="2201" y="439"/>
                  </a:cubicBezTo>
                  <a:cubicBezTo>
                    <a:pt x="2202" y="438"/>
                    <a:pt x="2202" y="436"/>
                    <a:pt x="2201" y="435"/>
                  </a:cubicBezTo>
                  <a:cubicBezTo>
                    <a:pt x="2201" y="433"/>
                    <a:pt x="2200" y="432"/>
                    <a:pt x="2199" y="431"/>
                  </a:cubicBezTo>
                  <a:cubicBezTo>
                    <a:pt x="2197" y="428"/>
                    <a:pt x="2194" y="427"/>
                    <a:pt x="2191" y="427"/>
                  </a:cubicBezTo>
                  <a:cubicBezTo>
                    <a:pt x="2190" y="427"/>
                    <a:pt x="2189" y="427"/>
                    <a:pt x="2188" y="428"/>
                  </a:cubicBezTo>
                  <a:cubicBezTo>
                    <a:pt x="2187" y="429"/>
                    <a:pt x="2186" y="430"/>
                    <a:pt x="2186" y="432"/>
                  </a:cubicBezTo>
                  <a:cubicBezTo>
                    <a:pt x="2186" y="432"/>
                    <a:pt x="2186" y="432"/>
                    <a:pt x="2186" y="432"/>
                  </a:cubicBezTo>
                  <a:cubicBezTo>
                    <a:pt x="2186" y="432"/>
                    <a:pt x="2186" y="432"/>
                    <a:pt x="2186" y="432"/>
                  </a:cubicBezTo>
                  <a:cubicBezTo>
                    <a:pt x="2186" y="432"/>
                    <a:pt x="2187" y="432"/>
                    <a:pt x="2187" y="432"/>
                  </a:cubicBezTo>
                  <a:cubicBezTo>
                    <a:pt x="2187" y="433"/>
                    <a:pt x="2186" y="433"/>
                    <a:pt x="2186" y="432"/>
                  </a:cubicBezTo>
                  <a:cubicBezTo>
                    <a:pt x="2186" y="432"/>
                    <a:pt x="2185" y="432"/>
                    <a:pt x="2185" y="432"/>
                  </a:cubicBezTo>
                  <a:cubicBezTo>
                    <a:pt x="2185" y="432"/>
                    <a:pt x="2185" y="432"/>
                    <a:pt x="2186" y="432"/>
                  </a:cubicBezTo>
                  <a:cubicBezTo>
                    <a:pt x="2182" y="430"/>
                    <a:pt x="2180" y="428"/>
                    <a:pt x="2179" y="425"/>
                  </a:cubicBezTo>
                  <a:cubicBezTo>
                    <a:pt x="2177" y="419"/>
                    <a:pt x="2176" y="414"/>
                    <a:pt x="2176" y="408"/>
                  </a:cubicBezTo>
                  <a:cubicBezTo>
                    <a:pt x="2177" y="399"/>
                    <a:pt x="2176" y="390"/>
                    <a:pt x="2171" y="382"/>
                  </a:cubicBezTo>
                  <a:cubicBezTo>
                    <a:pt x="2170" y="382"/>
                    <a:pt x="2170" y="380"/>
                    <a:pt x="2170" y="379"/>
                  </a:cubicBezTo>
                  <a:cubicBezTo>
                    <a:pt x="2168" y="374"/>
                    <a:pt x="2171" y="369"/>
                    <a:pt x="2177" y="368"/>
                  </a:cubicBezTo>
                  <a:cubicBezTo>
                    <a:pt x="2178" y="367"/>
                    <a:pt x="2180" y="368"/>
                    <a:pt x="2181" y="368"/>
                  </a:cubicBezTo>
                  <a:cubicBezTo>
                    <a:pt x="2184" y="368"/>
                    <a:pt x="2185" y="367"/>
                    <a:pt x="2185" y="364"/>
                  </a:cubicBezTo>
                  <a:cubicBezTo>
                    <a:pt x="2186" y="362"/>
                    <a:pt x="2186" y="359"/>
                    <a:pt x="2188" y="357"/>
                  </a:cubicBezTo>
                  <a:cubicBezTo>
                    <a:pt x="2189" y="356"/>
                    <a:pt x="2191" y="356"/>
                    <a:pt x="2192" y="357"/>
                  </a:cubicBezTo>
                  <a:cubicBezTo>
                    <a:pt x="2193" y="359"/>
                    <a:pt x="2195" y="362"/>
                    <a:pt x="2196" y="364"/>
                  </a:cubicBezTo>
                  <a:cubicBezTo>
                    <a:pt x="2197" y="364"/>
                    <a:pt x="2198" y="365"/>
                    <a:pt x="2199" y="365"/>
                  </a:cubicBezTo>
                  <a:cubicBezTo>
                    <a:pt x="2200" y="364"/>
                    <a:pt x="2201" y="363"/>
                    <a:pt x="2201" y="363"/>
                  </a:cubicBezTo>
                  <a:cubicBezTo>
                    <a:pt x="2202" y="360"/>
                    <a:pt x="2202" y="358"/>
                    <a:pt x="2203" y="355"/>
                  </a:cubicBezTo>
                  <a:cubicBezTo>
                    <a:pt x="2204" y="351"/>
                    <a:pt x="2206" y="348"/>
                    <a:pt x="2208" y="346"/>
                  </a:cubicBezTo>
                  <a:cubicBezTo>
                    <a:pt x="2212" y="342"/>
                    <a:pt x="2217" y="340"/>
                    <a:pt x="2221" y="340"/>
                  </a:cubicBezTo>
                  <a:cubicBezTo>
                    <a:pt x="2225" y="339"/>
                    <a:pt x="2228" y="341"/>
                    <a:pt x="2230" y="343"/>
                  </a:cubicBezTo>
                  <a:cubicBezTo>
                    <a:pt x="2233" y="345"/>
                    <a:pt x="2236" y="347"/>
                    <a:pt x="2238" y="348"/>
                  </a:cubicBezTo>
                  <a:cubicBezTo>
                    <a:pt x="2239" y="349"/>
                    <a:pt x="2240" y="350"/>
                    <a:pt x="2241" y="350"/>
                  </a:cubicBezTo>
                  <a:cubicBezTo>
                    <a:pt x="2243" y="350"/>
                    <a:pt x="2244" y="351"/>
                    <a:pt x="2246" y="351"/>
                  </a:cubicBezTo>
                  <a:cubicBezTo>
                    <a:pt x="2248" y="351"/>
                    <a:pt x="2249" y="349"/>
                    <a:pt x="2249" y="348"/>
                  </a:cubicBezTo>
                  <a:cubicBezTo>
                    <a:pt x="2249" y="344"/>
                    <a:pt x="2246" y="341"/>
                    <a:pt x="2247" y="337"/>
                  </a:cubicBezTo>
                  <a:cubicBezTo>
                    <a:pt x="2248" y="334"/>
                    <a:pt x="2249" y="330"/>
                    <a:pt x="2250" y="327"/>
                  </a:cubicBezTo>
                  <a:cubicBezTo>
                    <a:pt x="2251" y="321"/>
                    <a:pt x="2252" y="316"/>
                    <a:pt x="2252" y="311"/>
                  </a:cubicBezTo>
                  <a:cubicBezTo>
                    <a:pt x="2253" y="303"/>
                    <a:pt x="2255" y="296"/>
                    <a:pt x="2260" y="289"/>
                  </a:cubicBezTo>
                  <a:cubicBezTo>
                    <a:pt x="2262" y="285"/>
                    <a:pt x="2264" y="281"/>
                    <a:pt x="2266" y="277"/>
                  </a:cubicBezTo>
                  <a:cubicBezTo>
                    <a:pt x="2269" y="270"/>
                    <a:pt x="2274" y="264"/>
                    <a:pt x="2279" y="259"/>
                  </a:cubicBezTo>
                  <a:cubicBezTo>
                    <a:pt x="2281" y="257"/>
                    <a:pt x="2284" y="256"/>
                    <a:pt x="2287" y="256"/>
                  </a:cubicBezTo>
                  <a:cubicBezTo>
                    <a:pt x="2291" y="256"/>
                    <a:pt x="2295" y="257"/>
                    <a:pt x="2298" y="257"/>
                  </a:cubicBezTo>
                  <a:cubicBezTo>
                    <a:pt x="2300" y="257"/>
                    <a:pt x="2302" y="257"/>
                    <a:pt x="2303" y="256"/>
                  </a:cubicBezTo>
                  <a:cubicBezTo>
                    <a:pt x="2304" y="256"/>
                    <a:pt x="2305" y="255"/>
                    <a:pt x="2305" y="254"/>
                  </a:cubicBezTo>
                  <a:cubicBezTo>
                    <a:pt x="2306" y="247"/>
                    <a:pt x="2306" y="240"/>
                    <a:pt x="2299" y="235"/>
                  </a:cubicBezTo>
                  <a:cubicBezTo>
                    <a:pt x="2298" y="234"/>
                    <a:pt x="2297" y="232"/>
                    <a:pt x="2296" y="230"/>
                  </a:cubicBezTo>
                  <a:cubicBezTo>
                    <a:pt x="2295" y="229"/>
                    <a:pt x="2294" y="227"/>
                    <a:pt x="2293" y="227"/>
                  </a:cubicBezTo>
                  <a:cubicBezTo>
                    <a:pt x="2286" y="225"/>
                    <a:pt x="2282" y="220"/>
                    <a:pt x="2275" y="218"/>
                  </a:cubicBezTo>
                  <a:cubicBezTo>
                    <a:pt x="2275" y="219"/>
                    <a:pt x="2275" y="219"/>
                    <a:pt x="2275" y="219"/>
                  </a:cubicBezTo>
                  <a:cubicBezTo>
                    <a:pt x="2274" y="219"/>
                    <a:pt x="2274" y="219"/>
                    <a:pt x="2274" y="219"/>
                  </a:cubicBezTo>
                  <a:cubicBezTo>
                    <a:pt x="2275" y="218"/>
                    <a:pt x="2275" y="218"/>
                    <a:pt x="2275" y="218"/>
                  </a:cubicBezTo>
                  <a:cubicBezTo>
                    <a:pt x="2275" y="218"/>
                    <a:pt x="2275" y="218"/>
                    <a:pt x="2275" y="218"/>
                  </a:cubicBezTo>
                  <a:cubicBezTo>
                    <a:pt x="2275" y="217"/>
                    <a:pt x="2274" y="215"/>
                    <a:pt x="2274" y="213"/>
                  </a:cubicBezTo>
                  <a:cubicBezTo>
                    <a:pt x="2272" y="209"/>
                    <a:pt x="2270" y="206"/>
                    <a:pt x="2265" y="207"/>
                  </a:cubicBezTo>
                  <a:cubicBezTo>
                    <a:pt x="2264" y="207"/>
                    <a:pt x="2263" y="207"/>
                    <a:pt x="2263" y="205"/>
                  </a:cubicBezTo>
                  <a:cubicBezTo>
                    <a:pt x="2262" y="204"/>
                    <a:pt x="2262" y="203"/>
                    <a:pt x="2261" y="202"/>
                  </a:cubicBezTo>
                  <a:cubicBezTo>
                    <a:pt x="2259" y="198"/>
                    <a:pt x="2258" y="197"/>
                    <a:pt x="2253" y="198"/>
                  </a:cubicBezTo>
                  <a:cubicBezTo>
                    <a:pt x="2247" y="199"/>
                    <a:pt x="2244" y="196"/>
                    <a:pt x="2241" y="193"/>
                  </a:cubicBezTo>
                  <a:cubicBezTo>
                    <a:pt x="2240" y="192"/>
                    <a:pt x="2241" y="189"/>
                    <a:pt x="2242" y="189"/>
                  </a:cubicBezTo>
                  <a:cubicBezTo>
                    <a:pt x="2244" y="188"/>
                    <a:pt x="2246" y="188"/>
                    <a:pt x="2249" y="187"/>
                  </a:cubicBezTo>
                  <a:cubicBezTo>
                    <a:pt x="2255" y="186"/>
                    <a:pt x="2258" y="181"/>
                    <a:pt x="2258" y="176"/>
                  </a:cubicBezTo>
                  <a:cubicBezTo>
                    <a:pt x="2259" y="170"/>
                    <a:pt x="2259" y="163"/>
                    <a:pt x="2259" y="157"/>
                  </a:cubicBezTo>
                  <a:cubicBezTo>
                    <a:pt x="2259" y="155"/>
                    <a:pt x="2258" y="153"/>
                    <a:pt x="2257" y="151"/>
                  </a:cubicBezTo>
                  <a:cubicBezTo>
                    <a:pt x="2256" y="149"/>
                    <a:pt x="2254" y="147"/>
                    <a:pt x="2253" y="144"/>
                  </a:cubicBezTo>
                  <a:cubicBezTo>
                    <a:pt x="2252" y="140"/>
                    <a:pt x="2249" y="138"/>
                    <a:pt x="2245" y="137"/>
                  </a:cubicBezTo>
                  <a:cubicBezTo>
                    <a:pt x="2241" y="137"/>
                    <a:pt x="2238" y="135"/>
                    <a:pt x="2236" y="131"/>
                  </a:cubicBezTo>
                  <a:cubicBezTo>
                    <a:pt x="2235" y="130"/>
                    <a:pt x="2234" y="129"/>
                    <a:pt x="2235" y="127"/>
                  </a:cubicBezTo>
                  <a:cubicBezTo>
                    <a:pt x="2236" y="126"/>
                    <a:pt x="2236" y="124"/>
                    <a:pt x="2237" y="123"/>
                  </a:cubicBezTo>
                  <a:cubicBezTo>
                    <a:pt x="2238" y="120"/>
                    <a:pt x="2241" y="120"/>
                    <a:pt x="2242" y="122"/>
                  </a:cubicBezTo>
                  <a:cubicBezTo>
                    <a:pt x="2243" y="126"/>
                    <a:pt x="2246" y="128"/>
                    <a:pt x="2249" y="130"/>
                  </a:cubicBezTo>
                  <a:cubicBezTo>
                    <a:pt x="2259" y="135"/>
                    <a:pt x="2260" y="135"/>
                    <a:pt x="2265" y="125"/>
                  </a:cubicBezTo>
                  <a:cubicBezTo>
                    <a:pt x="2265" y="124"/>
                    <a:pt x="2266" y="123"/>
                    <a:pt x="2266" y="122"/>
                  </a:cubicBezTo>
                  <a:cubicBezTo>
                    <a:pt x="2268" y="119"/>
                    <a:pt x="2271" y="118"/>
                    <a:pt x="2274" y="117"/>
                  </a:cubicBezTo>
                  <a:cubicBezTo>
                    <a:pt x="2277" y="116"/>
                    <a:pt x="2278" y="118"/>
                    <a:pt x="2280" y="119"/>
                  </a:cubicBezTo>
                  <a:cubicBezTo>
                    <a:pt x="2282" y="121"/>
                    <a:pt x="2284" y="123"/>
                    <a:pt x="2286" y="125"/>
                  </a:cubicBezTo>
                  <a:cubicBezTo>
                    <a:pt x="2289" y="128"/>
                    <a:pt x="2293" y="129"/>
                    <a:pt x="2296" y="127"/>
                  </a:cubicBezTo>
                  <a:cubicBezTo>
                    <a:pt x="2300" y="125"/>
                    <a:pt x="2303" y="124"/>
                    <a:pt x="2307" y="124"/>
                  </a:cubicBezTo>
                  <a:cubicBezTo>
                    <a:pt x="2310" y="124"/>
                    <a:pt x="2312" y="125"/>
                    <a:pt x="2315" y="125"/>
                  </a:cubicBezTo>
                  <a:cubicBezTo>
                    <a:pt x="2317" y="125"/>
                    <a:pt x="2319" y="124"/>
                    <a:pt x="2321" y="124"/>
                  </a:cubicBezTo>
                  <a:cubicBezTo>
                    <a:pt x="2323" y="123"/>
                    <a:pt x="2324" y="123"/>
                    <a:pt x="2324" y="122"/>
                  </a:cubicBezTo>
                  <a:cubicBezTo>
                    <a:pt x="2325" y="121"/>
                    <a:pt x="2326" y="120"/>
                    <a:pt x="2326" y="119"/>
                  </a:cubicBezTo>
                  <a:cubicBezTo>
                    <a:pt x="2325" y="114"/>
                    <a:pt x="2325" y="109"/>
                    <a:pt x="2318" y="108"/>
                  </a:cubicBezTo>
                  <a:cubicBezTo>
                    <a:pt x="2315" y="108"/>
                    <a:pt x="2314" y="105"/>
                    <a:pt x="2314" y="103"/>
                  </a:cubicBezTo>
                  <a:cubicBezTo>
                    <a:pt x="2313" y="102"/>
                    <a:pt x="2314" y="101"/>
                    <a:pt x="2314" y="100"/>
                  </a:cubicBezTo>
                  <a:cubicBezTo>
                    <a:pt x="2314" y="95"/>
                    <a:pt x="2313" y="91"/>
                    <a:pt x="2308" y="88"/>
                  </a:cubicBezTo>
                  <a:cubicBezTo>
                    <a:pt x="2305" y="87"/>
                    <a:pt x="2304" y="84"/>
                    <a:pt x="2302" y="82"/>
                  </a:cubicBezTo>
                  <a:cubicBezTo>
                    <a:pt x="2300" y="80"/>
                    <a:pt x="2300" y="79"/>
                    <a:pt x="2302" y="77"/>
                  </a:cubicBezTo>
                  <a:cubicBezTo>
                    <a:pt x="2307" y="74"/>
                    <a:pt x="2308" y="70"/>
                    <a:pt x="2310" y="65"/>
                  </a:cubicBezTo>
                  <a:cubicBezTo>
                    <a:pt x="2310" y="64"/>
                    <a:pt x="2310" y="62"/>
                    <a:pt x="2309" y="61"/>
                  </a:cubicBezTo>
                  <a:cubicBezTo>
                    <a:pt x="2304" y="56"/>
                    <a:pt x="2303" y="50"/>
                    <a:pt x="2303" y="44"/>
                  </a:cubicBezTo>
                  <a:cubicBezTo>
                    <a:pt x="2303" y="42"/>
                    <a:pt x="2302" y="41"/>
                    <a:pt x="2300" y="41"/>
                  </a:cubicBezTo>
                  <a:cubicBezTo>
                    <a:pt x="2298" y="41"/>
                    <a:pt x="2297" y="42"/>
                    <a:pt x="2296" y="41"/>
                  </a:cubicBezTo>
                  <a:cubicBezTo>
                    <a:pt x="2290" y="40"/>
                    <a:pt x="2285" y="38"/>
                    <a:pt x="2279" y="37"/>
                  </a:cubicBezTo>
                  <a:cubicBezTo>
                    <a:pt x="2277" y="37"/>
                    <a:pt x="2275" y="35"/>
                    <a:pt x="2273" y="35"/>
                  </a:cubicBezTo>
                  <a:cubicBezTo>
                    <a:pt x="2270" y="33"/>
                    <a:pt x="2267" y="34"/>
                    <a:pt x="2264" y="36"/>
                  </a:cubicBezTo>
                  <a:cubicBezTo>
                    <a:pt x="2261" y="39"/>
                    <a:pt x="2258" y="43"/>
                    <a:pt x="2252" y="44"/>
                  </a:cubicBezTo>
                  <a:cubicBezTo>
                    <a:pt x="2251" y="44"/>
                    <a:pt x="2251" y="45"/>
                    <a:pt x="2250" y="46"/>
                  </a:cubicBezTo>
                  <a:cubicBezTo>
                    <a:pt x="2249" y="48"/>
                    <a:pt x="2248" y="51"/>
                    <a:pt x="2250" y="52"/>
                  </a:cubicBezTo>
                  <a:cubicBezTo>
                    <a:pt x="2252" y="55"/>
                    <a:pt x="2255" y="57"/>
                    <a:pt x="2257" y="60"/>
                  </a:cubicBezTo>
                  <a:cubicBezTo>
                    <a:pt x="2258" y="62"/>
                    <a:pt x="2259" y="64"/>
                    <a:pt x="2257" y="66"/>
                  </a:cubicBezTo>
                  <a:cubicBezTo>
                    <a:pt x="2257" y="67"/>
                    <a:pt x="2256" y="68"/>
                    <a:pt x="2255" y="68"/>
                  </a:cubicBezTo>
                  <a:cubicBezTo>
                    <a:pt x="2255" y="68"/>
                    <a:pt x="2254" y="68"/>
                    <a:pt x="2254" y="68"/>
                  </a:cubicBezTo>
                  <a:cubicBezTo>
                    <a:pt x="2250" y="60"/>
                    <a:pt x="2242" y="56"/>
                    <a:pt x="2238" y="48"/>
                  </a:cubicBezTo>
                  <a:cubicBezTo>
                    <a:pt x="2232" y="44"/>
                    <a:pt x="2226" y="39"/>
                    <a:pt x="2217" y="41"/>
                  </a:cubicBezTo>
                  <a:cubicBezTo>
                    <a:pt x="2214" y="41"/>
                    <a:pt x="2210" y="41"/>
                    <a:pt x="2207" y="40"/>
                  </a:cubicBezTo>
                  <a:cubicBezTo>
                    <a:pt x="2203" y="39"/>
                    <a:pt x="2198" y="39"/>
                    <a:pt x="2193" y="39"/>
                  </a:cubicBezTo>
                  <a:cubicBezTo>
                    <a:pt x="2187" y="39"/>
                    <a:pt x="2181" y="38"/>
                    <a:pt x="2175" y="36"/>
                  </a:cubicBezTo>
                  <a:cubicBezTo>
                    <a:pt x="2170" y="35"/>
                    <a:pt x="2164" y="34"/>
                    <a:pt x="2159" y="36"/>
                  </a:cubicBezTo>
                  <a:cubicBezTo>
                    <a:pt x="2155" y="38"/>
                    <a:pt x="2151" y="37"/>
                    <a:pt x="2148" y="34"/>
                  </a:cubicBezTo>
                  <a:cubicBezTo>
                    <a:pt x="2145" y="32"/>
                    <a:pt x="2141" y="31"/>
                    <a:pt x="2138" y="30"/>
                  </a:cubicBezTo>
                  <a:cubicBezTo>
                    <a:pt x="2126" y="29"/>
                    <a:pt x="2114" y="25"/>
                    <a:pt x="2102" y="26"/>
                  </a:cubicBezTo>
                  <a:cubicBezTo>
                    <a:pt x="2100" y="26"/>
                    <a:pt x="2098" y="26"/>
                    <a:pt x="2097" y="26"/>
                  </a:cubicBezTo>
                  <a:cubicBezTo>
                    <a:pt x="2089" y="24"/>
                    <a:pt x="2081" y="26"/>
                    <a:pt x="2074" y="29"/>
                  </a:cubicBezTo>
                  <a:cubicBezTo>
                    <a:pt x="2069" y="31"/>
                    <a:pt x="2064" y="34"/>
                    <a:pt x="2059" y="34"/>
                  </a:cubicBezTo>
                  <a:cubicBezTo>
                    <a:pt x="2053" y="34"/>
                    <a:pt x="2047" y="37"/>
                    <a:pt x="2041" y="36"/>
                  </a:cubicBezTo>
                  <a:cubicBezTo>
                    <a:pt x="2038" y="36"/>
                    <a:pt x="2036" y="37"/>
                    <a:pt x="2033" y="37"/>
                  </a:cubicBezTo>
                  <a:cubicBezTo>
                    <a:pt x="2032" y="37"/>
                    <a:pt x="2031" y="38"/>
                    <a:pt x="2031" y="39"/>
                  </a:cubicBezTo>
                  <a:cubicBezTo>
                    <a:pt x="2032" y="45"/>
                    <a:pt x="2037" y="48"/>
                    <a:pt x="2036" y="54"/>
                  </a:cubicBezTo>
                  <a:cubicBezTo>
                    <a:pt x="2036" y="55"/>
                    <a:pt x="2038" y="57"/>
                    <a:pt x="2039" y="57"/>
                  </a:cubicBezTo>
                  <a:cubicBezTo>
                    <a:pt x="2043" y="59"/>
                    <a:pt x="2048" y="60"/>
                    <a:pt x="2051" y="63"/>
                  </a:cubicBezTo>
                  <a:cubicBezTo>
                    <a:pt x="2054" y="66"/>
                    <a:pt x="2057" y="70"/>
                    <a:pt x="2060" y="74"/>
                  </a:cubicBezTo>
                  <a:cubicBezTo>
                    <a:pt x="2061" y="75"/>
                    <a:pt x="2061" y="78"/>
                    <a:pt x="2060" y="80"/>
                  </a:cubicBezTo>
                  <a:cubicBezTo>
                    <a:pt x="2058" y="81"/>
                    <a:pt x="2057" y="82"/>
                    <a:pt x="2055" y="84"/>
                  </a:cubicBezTo>
                  <a:cubicBezTo>
                    <a:pt x="2052" y="86"/>
                    <a:pt x="2049" y="86"/>
                    <a:pt x="2048" y="83"/>
                  </a:cubicBezTo>
                  <a:cubicBezTo>
                    <a:pt x="2044" y="77"/>
                    <a:pt x="2039" y="75"/>
                    <a:pt x="2032" y="74"/>
                  </a:cubicBezTo>
                  <a:cubicBezTo>
                    <a:pt x="2031" y="74"/>
                    <a:pt x="2029" y="74"/>
                    <a:pt x="2028" y="73"/>
                  </a:cubicBezTo>
                  <a:cubicBezTo>
                    <a:pt x="2027" y="73"/>
                    <a:pt x="2025" y="72"/>
                    <a:pt x="2025" y="71"/>
                  </a:cubicBezTo>
                  <a:cubicBezTo>
                    <a:pt x="2023" y="69"/>
                    <a:pt x="2022" y="67"/>
                    <a:pt x="2021" y="65"/>
                  </a:cubicBezTo>
                  <a:cubicBezTo>
                    <a:pt x="2021" y="64"/>
                    <a:pt x="2021" y="63"/>
                    <a:pt x="2022" y="63"/>
                  </a:cubicBezTo>
                  <a:cubicBezTo>
                    <a:pt x="2025" y="59"/>
                    <a:pt x="2024" y="56"/>
                    <a:pt x="2022" y="53"/>
                  </a:cubicBezTo>
                  <a:cubicBezTo>
                    <a:pt x="2020" y="49"/>
                    <a:pt x="2016" y="49"/>
                    <a:pt x="2012" y="49"/>
                  </a:cubicBezTo>
                  <a:cubicBezTo>
                    <a:pt x="2010" y="49"/>
                    <a:pt x="2006" y="52"/>
                    <a:pt x="2006" y="54"/>
                  </a:cubicBezTo>
                  <a:cubicBezTo>
                    <a:pt x="2006" y="58"/>
                    <a:pt x="2007" y="63"/>
                    <a:pt x="2006" y="67"/>
                  </a:cubicBezTo>
                  <a:cubicBezTo>
                    <a:pt x="2006" y="69"/>
                    <a:pt x="2004" y="72"/>
                    <a:pt x="2001" y="72"/>
                  </a:cubicBezTo>
                  <a:cubicBezTo>
                    <a:pt x="1996" y="73"/>
                    <a:pt x="1990" y="73"/>
                    <a:pt x="1985" y="75"/>
                  </a:cubicBezTo>
                  <a:cubicBezTo>
                    <a:pt x="1981" y="76"/>
                    <a:pt x="1978" y="77"/>
                    <a:pt x="1974" y="76"/>
                  </a:cubicBezTo>
                  <a:cubicBezTo>
                    <a:pt x="1973" y="76"/>
                    <a:pt x="1972" y="76"/>
                    <a:pt x="1971" y="76"/>
                  </a:cubicBezTo>
                  <a:cubicBezTo>
                    <a:pt x="1965" y="79"/>
                    <a:pt x="1958" y="82"/>
                    <a:pt x="1952" y="86"/>
                  </a:cubicBezTo>
                  <a:cubicBezTo>
                    <a:pt x="1943" y="91"/>
                    <a:pt x="1934" y="93"/>
                    <a:pt x="1924" y="92"/>
                  </a:cubicBezTo>
                  <a:cubicBezTo>
                    <a:pt x="1922" y="92"/>
                    <a:pt x="1920" y="91"/>
                    <a:pt x="1919" y="89"/>
                  </a:cubicBezTo>
                  <a:cubicBezTo>
                    <a:pt x="1919" y="88"/>
                    <a:pt x="1918" y="88"/>
                    <a:pt x="1918" y="87"/>
                  </a:cubicBezTo>
                  <a:cubicBezTo>
                    <a:pt x="1916" y="77"/>
                    <a:pt x="1910" y="70"/>
                    <a:pt x="1901" y="65"/>
                  </a:cubicBezTo>
                  <a:cubicBezTo>
                    <a:pt x="1900" y="65"/>
                    <a:pt x="1900" y="64"/>
                    <a:pt x="1899" y="63"/>
                  </a:cubicBezTo>
                  <a:cubicBezTo>
                    <a:pt x="1889" y="57"/>
                    <a:pt x="1879" y="53"/>
                    <a:pt x="1868" y="60"/>
                  </a:cubicBezTo>
                  <a:cubicBezTo>
                    <a:pt x="1866" y="61"/>
                    <a:pt x="1864" y="61"/>
                    <a:pt x="1862" y="62"/>
                  </a:cubicBezTo>
                  <a:cubicBezTo>
                    <a:pt x="1853" y="65"/>
                    <a:pt x="1845" y="69"/>
                    <a:pt x="1837" y="74"/>
                  </a:cubicBezTo>
                  <a:cubicBezTo>
                    <a:pt x="1833" y="77"/>
                    <a:pt x="1829" y="79"/>
                    <a:pt x="1825" y="82"/>
                  </a:cubicBezTo>
                  <a:cubicBezTo>
                    <a:pt x="1822" y="83"/>
                    <a:pt x="1818" y="83"/>
                    <a:pt x="1816" y="80"/>
                  </a:cubicBezTo>
                  <a:cubicBezTo>
                    <a:pt x="1815" y="76"/>
                    <a:pt x="1812" y="74"/>
                    <a:pt x="1808" y="72"/>
                  </a:cubicBezTo>
                  <a:cubicBezTo>
                    <a:pt x="1806" y="71"/>
                    <a:pt x="1803" y="70"/>
                    <a:pt x="1801" y="69"/>
                  </a:cubicBezTo>
                  <a:cubicBezTo>
                    <a:pt x="1798" y="67"/>
                    <a:pt x="1796" y="68"/>
                    <a:pt x="1793" y="70"/>
                  </a:cubicBezTo>
                  <a:cubicBezTo>
                    <a:pt x="1791" y="72"/>
                    <a:pt x="1791" y="72"/>
                    <a:pt x="1788" y="70"/>
                  </a:cubicBezTo>
                  <a:cubicBezTo>
                    <a:pt x="1786" y="69"/>
                    <a:pt x="1785" y="68"/>
                    <a:pt x="1782" y="68"/>
                  </a:cubicBezTo>
                  <a:cubicBezTo>
                    <a:pt x="1781" y="69"/>
                    <a:pt x="1779" y="69"/>
                    <a:pt x="1778" y="68"/>
                  </a:cubicBezTo>
                  <a:cubicBezTo>
                    <a:pt x="1775" y="65"/>
                    <a:pt x="1772" y="65"/>
                    <a:pt x="1769" y="64"/>
                  </a:cubicBezTo>
                  <a:cubicBezTo>
                    <a:pt x="1768" y="64"/>
                    <a:pt x="1768" y="63"/>
                    <a:pt x="1768" y="62"/>
                  </a:cubicBezTo>
                  <a:cubicBezTo>
                    <a:pt x="1771" y="57"/>
                    <a:pt x="1771" y="55"/>
                    <a:pt x="1768" y="52"/>
                  </a:cubicBezTo>
                  <a:cubicBezTo>
                    <a:pt x="1768" y="52"/>
                    <a:pt x="1768" y="51"/>
                    <a:pt x="1767" y="51"/>
                  </a:cubicBezTo>
                  <a:cubicBezTo>
                    <a:pt x="1761" y="48"/>
                    <a:pt x="1755" y="45"/>
                    <a:pt x="1747" y="47"/>
                  </a:cubicBezTo>
                  <a:cubicBezTo>
                    <a:pt x="1744" y="47"/>
                    <a:pt x="1741" y="48"/>
                    <a:pt x="1737" y="49"/>
                  </a:cubicBezTo>
                  <a:cubicBezTo>
                    <a:pt x="1735" y="50"/>
                    <a:pt x="1733" y="51"/>
                    <a:pt x="1732" y="52"/>
                  </a:cubicBezTo>
                  <a:cubicBezTo>
                    <a:pt x="1728" y="57"/>
                    <a:pt x="1725" y="57"/>
                    <a:pt x="1719" y="56"/>
                  </a:cubicBezTo>
                  <a:cubicBezTo>
                    <a:pt x="1713" y="54"/>
                    <a:pt x="1707" y="54"/>
                    <a:pt x="1701" y="55"/>
                  </a:cubicBezTo>
                  <a:cubicBezTo>
                    <a:pt x="1694" y="55"/>
                    <a:pt x="1687" y="55"/>
                    <a:pt x="1679" y="56"/>
                  </a:cubicBezTo>
                  <a:cubicBezTo>
                    <a:pt x="1672" y="57"/>
                    <a:pt x="1665" y="58"/>
                    <a:pt x="1658" y="56"/>
                  </a:cubicBezTo>
                  <a:cubicBezTo>
                    <a:pt x="1657" y="55"/>
                    <a:pt x="1655" y="56"/>
                    <a:pt x="1654" y="57"/>
                  </a:cubicBezTo>
                  <a:cubicBezTo>
                    <a:pt x="1653" y="58"/>
                    <a:pt x="1653" y="59"/>
                    <a:pt x="1652" y="60"/>
                  </a:cubicBezTo>
                  <a:cubicBezTo>
                    <a:pt x="1652" y="60"/>
                    <a:pt x="1653" y="61"/>
                    <a:pt x="1653" y="61"/>
                  </a:cubicBezTo>
                  <a:cubicBezTo>
                    <a:pt x="1656" y="62"/>
                    <a:pt x="1658" y="63"/>
                    <a:pt x="1661" y="64"/>
                  </a:cubicBezTo>
                  <a:cubicBezTo>
                    <a:pt x="1662" y="64"/>
                    <a:pt x="1662" y="65"/>
                    <a:pt x="1663" y="66"/>
                  </a:cubicBezTo>
                  <a:cubicBezTo>
                    <a:pt x="1664" y="67"/>
                    <a:pt x="1662" y="69"/>
                    <a:pt x="1661" y="70"/>
                  </a:cubicBezTo>
                  <a:cubicBezTo>
                    <a:pt x="1659" y="70"/>
                    <a:pt x="1657" y="71"/>
                    <a:pt x="1656" y="71"/>
                  </a:cubicBezTo>
                  <a:cubicBezTo>
                    <a:pt x="1653" y="73"/>
                    <a:pt x="1652" y="76"/>
                    <a:pt x="1652" y="79"/>
                  </a:cubicBezTo>
                  <a:cubicBezTo>
                    <a:pt x="1652" y="82"/>
                    <a:pt x="1654" y="84"/>
                    <a:pt x="1657" y="85"/>
                  </a:cubicBezTo>
                  <a:cubicBezTo>
                    <a:pt x="1659" y="85"/>
                    <a:pt x="1661" y="85"/>
                    <a:pt x="1663" y="84"/>
                  </a:cubicBezTo>
                  <a:cubicBezTo>
                    <a:pt x="1663" y="84"/>
                    <a:pt x="1663" y="84"/>
                    <a:pt x="1663" y="84"/>
                  </a:cubicBezTo>
                  <a:cubicBezTo>
                    <a:pt x="1664" y="83"/>
                    <a:pt x="1664" y="83"/>
                    <a:pt x="1664" y="83"/>
                  </a:cubicBezTo>
                  <a:cubicBezTo>
                    <a:pt x="1663" y="84"/>
                    <a:pt x="1663" y="84"/>
                    <a:pt x="1663" y="84"/>
                  </a:cubicBezTo>
                  <a:cubicBezTo>
                    <a:pt x="1663" y="84"/>
                    <a:pt x="1663" y="84"/>
                    <a:pt x="1663" y="84"/>
                  </a:cubicBezTo>
                  <a:cubicBezTo>
                    <a:pt x="1663" y="87"/>
                    <a:pt x="1663" y="89"/>
                    <a:pt x="1665" y="92"/>
                  </a:cubicBezTo>
                  <a:cubicBezTo>
                    <a:pt x="1667" y="95"/>
                    <a:pt x="1670" y="98"/>
                    <a:pt x="1673" y="101"/>
                  </a:cubicBezTo>
                  <a:cubicBezTo>
                    <a:pt x="1675" y="102"/>
                    <a:pt x="1675" y="103"/>
                    <a:pt x="1674" y="105"/>
                  </a:cubicBezTo>
                  <a:cubicBezTo>
                    <a:pt x="1673" y="106"/>
                    <a:pt x="1671" y="107"/>
                    <a:pt x="1670" y="106"/>
                  </a:cubicBezTo>
                  <a:cubicBezTo>
                    <a:pt x="1666" y="104"/>
                    <a:pt x="1663" y="103"/>
                    <a:pt x="1659" y="106"/>
                  </a:cubicBezTo>
                  <a:cubicBezTo>
                    <a:pt x="1657" y="107"/>
                    <a:pt x="1654" y="108"/>
                    <a:pt x="1652" y="110"/>
                  </a:cubicBezTo>
                  <a:cubicBezTo>
                    <a:pt x="1649" y="112"/>
                    <a:pt x="1647" y="113"/>
                    <a:pt x="1643" y="112"/>
                  </a:cubicBezTo>
                  <a:cubicBezTo>
                    <a:pt x="1640" y="112"/>
                    <a:pt x="1638" y="111"/>
                    <a:pt x="1635" y="112"/>
                  </a:cubicBezTo>
                  <a:cubicBezTo>
                    <a:pt x="1631" y="112"/>
                    <a:pt x="1627" y="114"/>
                    <a:pt x="1626" y="118"/>
                  </a:cubicBezTo>
                  <a:cubicBezTo>
                    <a:pt x="1625" y="122"/>
                    <a:pt x="1622" y="123"/>
                    <a:pt x="1618" y="124"/>
                  </a:cubicBezTo>
                  <a:cubicBezTo>
                    <a:pt x="1610" y="125"/>
                    <a:pt x="1603" y="123"/>
                    <a:pt x="1597" y="117"/>
                  </a:cubicBezTo>
                  <a:cubicBezTo>
                    <a:pt x="1596" y="117"/>
                    <a:pt x="1596" y="117"/>
                    <a:pt x="1595" y="117"/>
                  </a:cubicBezTo>
                  <a:cubicBezTo>
                    <a:pt x="1595" y="117"/>
                    <a:pt x="1594" y="117"/>
                    <a:pt x="1594" y="117"/>
                  </a:cubicBezTo>
                  <a:cubicBezTo>
                    <a:pt x="1593" y="117"/>
                    <a:pt x="1593" y="118"/>
                    <a:pt x="1593" y="118"/>
                  </a:cubicBezTo>
                  <a:cubicBezTo>
                    <a:pt x="1593" y="123"/>
                    <a:pt x="1594" y="128"/>
                    <a:pt x="1596" y="132"/>
                  </a:cubicBezTo>
                  <a:cubicBezTo>
                    <a:pt x="1599" y="138"/>
                    <a:pt x="1601" y="143"/>
                    <a:pt x="1602" y="150"/>
                  </a:cubicBezTo>
                  <a:cubicBezTo>
                    <a:pt x="1603" y="151"/>
                    <a:pt x="1602" y="153"/>
                    <a:pt x="1599" y="152"/>
                  </a:cubicBezTo>
                  <a:cubicBezTo>
                    <a:pt x="1596" y="152"/>
                    <a:pt x="1593" y="152"/>
                    <a:pt x="1590" y="151"/>
                  </a:cubicBezTo>
                  <a:cubicBezTo>
                    <a:pt x="1580" y="148"/>
                    <a:pt x="1574" y="140"/>
                    <a:pt x="1566" y="135"/>
                  </a:cubicBezTo>
                  <a:cubicBezTo>
                    <a:pt x="1565" y="135"/>
                    <a:pt x="1566" y="134"/>
                    <a:pt x="1566" y="133"/>
                  </a:cubicBezTo>
                  <a:cubicBezTo>
                    <a:pt x="1564" y="129"/>
                    <a:pt x="1564" y="129"/>
                    <a:pt x="1560" y="131"/>
                  </a:cubicBezTo>
                  <a:cubicBezTo>
                    <a:pt x="1557" y="133"/>
                    <a:pt x="1556" y="133"/>
                    <a:pt x="1553" y="131"/>
                  </a:cubicBezTo>
                  <a:cubicBezTo>
                    <a:pt x="1552" y="130"/>
                    <a:pt x="1552" y="129"/>
                    <a:pt x="1551" y="127"/>
                  </a:cubicBezTo>
                  <a:cubicBezTo>
                    <a:pt x="1551" y="127"/>
                    <a:pt x="1551" y="127"/>
                    <a:pt x="1551" y="128"/>
                  </a:cubicBezTo>
                  <a:cubicBezTo>
                    <a:pt x="1551" y="127"/>
                    <a:pt x="1550" y="127"/>
                    <a:pt x="1550" y="127"/>
                  </a:cubicBezTo>
                  <a:cubicBezTo>
                    <a:pt x="1549" y="127"/>
                    <a:pt x="1548" y="127"/>
                    <a:pt x="1547" y="126"/>
                  </a:cubicBezTo>
                  <a:cubicBezTo>
                    <a:pt x="1547" y="126"/>
                    <a:pt x="1548" y="125"/>
                    <a:pt x="1548" y="126"/>
                  </a:cubicBezTo>
                  <a:cubicBezTo>
                    <a:pt x="1549" y="126"/>
                    <a:pt x="1550" y="127"/>
                    <a:pt x="1550" y="127"/>
                  </a:cubicBezTo>
                  <a:cubicBezTo>
                    <a:pt x="1551" y="127"/>
                    <a:pt x="1551" y="127"/>
                    <a:pt x="1551" y="127"/>
                  </a:cubicBezTo>
                  <a:cubicBezTo>
                    <a:pt x="1551" y="127"/>
                    <a:pt x="1551" y="127"/>
                    <a:pt x="1551" y="127"/>
                  </a:cubicBezTo>
                  <a:cubicBezTo>
                    <a:pt x="1553" y="126"/>
                    <a:pt x="1555" y="126"/>
                    <a:pt x="1556" y="125"/>
                  </a:cubicBezTo>
                  <a:cubicBezTo>
                    <a:pt x="1557" y="124"/>
                    <a:pt x="1558" y="123"/>
                    <a:pt x="1557" y="122"/>
                  </a:cubicBezTo>
                  <a:cubicBezTo>
                    <a:pt x="1557" y="118"/>
                    <a:pt x="1554" y="115"/>
                    <a:pt x="1552" y="113"/>
                  </a:cubicBezTo>
                  <a:cubicBezTo>
                    <a:pt x="1550" y="111"/>
                    <a:pt x="1547" y="110"/>
                    <a:pt x="1544" y="110"/>
                  </a:cubicBezTo>
                  <a:cubicBezTo>
                    <a:pt x="1542" y="110"/>
                    <a:pt x="1541" y="109"/>
                    <a:pt x="1542" y="107"/>
                  </a:cubicBezTo>
                  <a:cubicBezTo>
                    <a:pt x="1543" y="105"/>
                    <a:pt x="1544" y="103"/>
                    <a:pt x="1542" y="102"/>
                  </a:cubicBezTo>
                  <a:cubicBezTo>
                    <a:pt x="1537" y="98"/>
                    <a:pt x="1533" y="93"/>
                    <a:pt x="1529" y="90"/>
                  </a:cubicBezTo>
                  <a:cubicBezTo>
                    <a:pt x="1525" y="87"/>
                    <a:pt x="1510" y="83"/>
                    <a:pt x="1506" y="83"/>
                  </a:cubicBezTo>
                  <a:cubicBezTo>
                    <a:pt x="1505" y="83"/>
                    <a:pt x="1503" y="83"/>
                    <a:pt x="1502" y="84"/>
                  </a:cubicBezTo>
                  <a:cubicBezTo>
                    <a:pt x="1500" y="85"/>
                    <a:pt x="1498" y="86"/>
                    <a:pt x="1495" y="85"/>
                  </a:cubicBezTo>
                  <a:cubicBezTo>
                    <a:pt x="1488" y="83"/>
                    <a:pt x="1481" y="82"/>
                    <a:pt x="1474" y="84"/>
                  </a:cubicBezTo>
                  <a:cubicBezTo>
                    <a:pt x="1472" y="84"/>
                    <a:pt x="1470" y="86"/>
                    <a:pt x="1468" y="87"/>
                  </a:cubicBezTo>
                  <a:cubicBezTo>
                    <a:pt x="1465" y="89"/>
                    <a:pt x="1464" y="92"/>
                    <a:pt x="1466" y="95"/>
                  </a:cubicBezTo>
                  <a:cubicBezTo>
                    <a:pt x="1468" y="99"/>
                    <a:pt x="1471" y="102"/>
                    <a:pt x="1473" y="105"/>
                  </a:cubicBezTo>
                  <a:cubicBezTo>
                    <a:pt x="1474" y="107"/>
                    <a:pt x="1473" y="109"/>
                    <a:pt x="1472" y="110"/>
                  </a:cubicBezTo>
                  <a:cubicBezTo>
                    <a:pt x="1465" y="112"/>
                    <a:pt x="1459" y="115"/>
                    <a:pt x="1452" y="117"/>
                  </a:cubicBezTo>
                  <a:cubicBezTo>
                    <a:pt x="1448" y="119"/>
                    <a:pt x="1444" y="118"/>
                    <a:pt x="1440" y="115"/>
                  </a:cubicBezTo>
                  <a:cubicBezTo>
                    <a:pt x="1437" y="113"/>
                    <a:pt x="1437" y="113"/>
                    <a:pt x="1434" y="115"/>
                  </a:cubicBezTo>
                  <a:cubicBezTo>
                    <a:pt x="1427" y="120"/>
                    <a:pt x="1420" y="118"/>
                    <a:pt x="1419" y="110"/>
                  </a:cubicBezTo>
                  <a:cubicBezTo>
                    <a:pt x="1418" y="109"/>
                    <a:pt x="1419" y="108"/>
                    <a:pt x="1418" y="107"/>
                  </a:cubicBezTo>
                  <a:cubicBezTo>
                    <a:pt x="1418" y="104"/>
                    <a:pt x="1415" y="103"/>
                    <a:pt x="1412" y="103"/>
                  </a:cubicBezTo>
                  <a:cubicBezTo>
                    <a:pt x="1403" y="105"/>
                    <a:pt x="1395" y="106"/>
                    <a:pt x="1386" y="108"/>
                  </a:cubicBezTo>
                  <a:cubicBezTo>
                    <a:pt x="1383" y="109"/>
                    <a:pt x="1380" y="110"/>
                    <a:pt x="1377" y="111"/>
                  </a:cubicBezTo>
                  <a:cubicBezTo>
                    <a:pt x="1374" y="113"/>
                    <a:pt x="1370" y="115"/>
                    <a:pt x="1367" y="117"/>
                  </a:cubicBezTo>
                  <a:cubicBezTo>
                    <a:pt x="1364" y="115"/>
                    <a:pt x="1360" y="114"/>
                    <a:pt x="1357" y="112"/>
                  </a:cubicBezTo>
                  <a:cubicBezTo>
                    <a:pt x="1357" y="112"/>
                    <a:pt x="1356" y="112"/>
                    <a:pt x="1356" y="112"/>
                  </a:cubicBezTo>
                  <a:cubicBezTo>
                    <a:pt x="1355" y="113"/>
                    <a:pt x="1355" y="114"/>
                    <a:pt x="1355" y="115"/>
                  </a:cubicBezTo>
                  <a:cubicBezTo>
                    <a:pt x="1353" y="120"/>
                    <a:pt x="1346" y="122"/>
                    <a:pt x="1342" y="118"/>
                  </a:cubicBezTo>
                  <a:cubicBezTo>
                    <a:pt x="1341" y="117"/>
                    <a:pt x="1340" y="115"/>
                    <a:pt x="1338" y="113"/>
                  </a:cubicBezTo>
                  <a:cubicBezTo>
                    <a:pt x="1338" y="112"/>
                    <a:pt x="1336" y="111"/>
                    <a:pt x="1335" y="112"/>
                  </a:cubicBezTo>
                  <a:cubicBezTo>
                    <a:pt x="1332" y="113"/>
                    <a:pt x="1330" y="113"/>
                    <a:pt x="1327" y="113"/>
                  </a:cubicBezTo>
                  <a:cubicBezTo>
                    <a:pt x="1324" y="112"/>
                    <a:pt x="1322" y="114"/>
                    <a:pt x="1321" y="117"/>
                  </a:cubicBezTo>
                  <a:cubicBezTo>
                    <a:pt x="1320" y="118"/>
                    <a:pt x="1320" y="120"/>
                    <a:pt x="1320" y="121"/>
                  </a:cubicBezTo>
                  <a:cubicBezTo>
                    <a:pt x="1320" y="124"/>
                    <a:pt x="1321" y="126"/>
                    <a:pt x="1323" y="126"/>
                  </a:cubicBezTo>
                  <a:cubicBezTo>
                    <a:pt x="1325" y="127"/>
                    <a:pt x="1327" y="127"/>
                    <a:pt x="1329" y="128"/>
                  </a:cubicBezTo>
                  <a:cubicBezTo>
                    <a:pt x="1329" y="128"/>
                    <a:pt x="1329" y="128"/>
                    <a:pt x="1329" y="128"/>
                  </a:cubicBezTo>
                  <a:cubicBezTo>
                    <a:pt x="1329" y="127"/>
                    <a:pt x="1329" y="127"/>
                    <a:pt x="1329" y="127"/>
                  </a:cubicBezTo>
                  <a:cubicBezTo>
                    <a:pt x="1329" y="127"/>
                    <a:pt x="1329" y="126"/>
                    <a:pt x="1330" y="125"/>
                  </a:cubicBezTo>
                  <a:cubicBezTo>
                    <a:pt x="1330" y="124"/>
                    <a:pt x="1331" y="124"/>
                    <a:pt x="1332" y="124"/>
                  </a:cubicBezTo>
                  <a:cubicBezTo>
                    <a:pt x="1332" y="124"/>
                    <a:pt x="1332" y="124"/>
                    <a:pt x="1332" y="125"/>
                  </a:cubicBezTo>
                  <a:cubicBezTo>
                    <a:pt x="1332" y="125"/>
                    <a:pt x="1332" y="126"/>
                    <a:pt x="1331" y="126"/>
                  </a:cubicBezTo>
                  <a:cubicBezTo>
                    <a:pt x="1331" y="126"/>
                    <a:pt x="1330" y="127"/>
                    <a:pt x="1329" y="127"/>
                  </a:cubicBezTo>
                  <a:cubicBezTo>
                    <a:pt x="1329" y="127"/>
                    <a:pt x="1329" y="128"/>
                    <a:pt x="1329" y="128"/>
                  </a:cubicBezTo>
                  <a:cubicBezTo>
                    <a:pt x="1329" y="128"/>
                    <a:pt x="1329" y="128"/>
                    <a:pt x="1329" y="128"/>
                  </a:cubicBezTo>
                  <a:cubicBezTo>
                    <a:pt x="1328" y="129"/>
                    <a:pt x="1328" y="131"/>
                    <a:pt x="1327" y="132"/>
                  </a:cubicBezTo>
                  <a:cubicBezTo>
                    <a:pt x="1324" y="134"/>
                    <a:pt x="1322" y="137"/>
                    <a:pt x="1320" y="140"/>
                  </a:cubicBezTo>
                  <a:cubicBezTo>
                    <a:pt x="1317" y="147"/>
                    <a:pt x="1311" y="149"/>
                    <a:pt x="1304" y="149"/>
                  </a:cubicBezTo>
                  <a:cubicBezTo>
                    <a:pt x="1301" y="150"/>
                    <a:pt x="1300" y="149"/>
                    <a:pt x="1301" y="147"/>
                  </a:cubicBezTo>
                  <a:cubicBezTo>
                    <a:pt x="1303" y="144"/>
                    <a:pt x="1304" y="141"/>
                    <a:pt x="1304" y="138"/>
                  </a:cubicBezTo>
                  <a:cubicBezTo>
                    <a:pt x="1304" y="134"/>
                    <a:pt x="1309" y="134"/>
                    <a:pt x="1310" y="131"/>
                  </a:cubicBezTo>
                  <a:cubicBezTo>
                    <a:pt x="1311" y="130"/>
                    <a:pt x="1312" y="128"/>
                    <a:pt x="1311" y="127"/>
                  </a:cubicBezTo>
                  <a:cubicBezTo>
                    <a:pt x="1310" y="122"/>
                    <a:pt x="1312" y="117"/>
                    <a:pt x="1314" y="113"/>
                  </a:cubicBezTo>
                  <a:cubicBezTo>
                    <a:pt x="1315" y="111"/>
                    <a:pt x="1316" y="109"/>
                    <a:pt x="1315" y="107"/>
                  </a:cubicBezTo>
                  <a:cubicBezTo>
                    <a:pt x="1315" y="105"/>
                    <a:pt x="1315" y="103"/>
                    <a:pt x="1316" y="101"/>
                  </a:cubicBezTo>
                  <a:cubicBezTo>
                    <a:pt x="1318" y="96"/>
                    <a:pt x="1321" y="92"/>
                    <a:pt x="1322" y="87"/>
                  </a:cubicBezTo>
                  <a:cubicBezTo>
                    <a:pt x="1323" y="82"/>
                    <a:pt x="1324" y="76"/>
                    <a:pt x="1326" y="72"/>
                  </a:cubicBezTo>
                  <a:cubicBezTo>
                    <a:pt x="1328" y="67"/>
                    <a:pt x="1327" y="62"/>
                    <a:pt x="1325" y="58"/>
                  </a:cubicBezTo>
                  <a:cubicBezTo>
                    <a:pt x="1323" y="53"/>
                    <a:pt x="1319" y="49"/>
                    <a:pt x="1318" y="44"/>
                  </a:cubicBezTo>
                  <a:cubicBezTo>
                    <a:pt x="1318" y="43"/>
                    <a:pt x="1317" y="41"/>
                    <a:pt x="1316" y="41"/>
                  </a:cubicBezTo>
                  <a:cubicBezTo>
                    <a:pt x="1311" y="39"/>
                    <a:pt x="1308" y="33"/>
                    <a:pt x="1303" y="29"/>
                  </a:cubicBezTo>
                  <a:cubicBezTo>
                    <a:pt x="1302" y="28"/>
                    <a:pt x="1301" y="28"/>
                    <a:pt x="1299" y="29"/>
                  </a:cubicBezTo>
                  <a:cubicBezTo>
                    <a:pt x="1298" y="31"/>
                    <a:pt x="1298" y="35"/>
                    <a:pt x="1296" y="31"/>
                  </a:cubicBezTo>
                  <a:cubicBezTo>
                    <a:pt x="1293" y="27"/>
                    <a:pt x="1288" y="25"/>
                    <a:pt x="1284" y="23"/>
                  </a:cubicBezTo>
                  <a:cubicBezTo>
                    <a:pt x="1280" y="21"/>
                    <a:pt x="1276" y="20"/>
                    <a:pt x="1272" y="17"/>
                  </a:cubicBezTo>
                  <a:cubicBezTo>
                    <a:pt x="1269" y="15"/>
                    <a:pt x="1265" y="14"/>
                    <a:pt x="1262" y="17"/>
                  </a:cubicBezTo>
                  <a:cubicBezTo>
                    <a:pt x="1255" y="21"/>
                    <a:pt x="1248" y="23"/>
                    <a:pt x="1241" y="25"/>
                  </a:cubicBezTo>
                  <a:cubicBezTo>
                    <a:pt x="1239" y="26"/>
                    <a:pt x="1238" y="28"/>
                    <a:pt x="1239" y="29"/>
                  </a:cubicBezTo>
                  <a:cubicBezTo>
                    <a:pt x="1239" y="31"/>
                    <a:pt x="1240" y="32"/>
                    <a:pt x="1241" y="33"/>
                  </a:cubicBezTo>
                  <a:cubicBezTo>
                    <a:pt x="1242" y="36"/>
                    <a:pt x="1241" y="38"/>
                    <a:pt x="1238" y="40"/>
                  </a:cubicBezTo>
                  <a:cubicBezTo>
                    <a:pt x="1235" y="42"/>
                    <a:pt x="1232" y="40"/>
                    <a:pt x="1231" y="37"/>
                  </a:cubicBezTo>
                  <a:cubicBezTo>
                    <a:pt x="1231" y="34"/>
                    <a:pt x="1231" y="32"/>
                    <a:pt x="1231" y="29"/>
                  </a:cubicBezTo>
                  <a:cubicBezTo>
                    <a:pt x="1231" y="27"/>
                    <a:pt x="1230" y="24"/>
                    <a:pt x="1230" y="21"/>
                  </a:cubicBezTo>
                  <a:cubicBezTo>
                    <a:pt x="1229" y="19"/>
                    <a:pt x="1226" y="17"/>
                    <a:pt x="1223" y="18"/>
                  </a:cubicBezTo>
                  <a:cubicBezTo>
                    <a:pt x="1221" y="18"/>
                    <a:pt x="1219" y="19"/>
                    <a:pt x="1217" y="19"/>
                  </a:cubicBezTo>
                  <a:cubicBezTo>
                    <a:pt x="1213" y="20"/>
                    <a:pt x="1210" y="19"/>
                    <a:pt x="1207" y="18"/>
                  </a:cubicBezTo>
                  <a:cubicBezTo>
                    <a:pt x="1205" y="17"/>
                    <a:pt x="1204" y="15"/>
                    <a:pt x="1204" y="13"/>
                  </a:cubicBezTo>
                  <a:cubicBezTo>
                    <a:pt x="1205" y="8"/>
                    <a:pt x="1202" y="5"/>
                    <a:pt x="1198" y="3"/>
                  </a:cubicBezTo>
                  <a:cubicBezTo>
                    <a:pt x="1192" y="4"/>
                    <a:pt x="1187" y="0"/>
                    <a:pt x="1181" y="0"/>
                  </a:cubicBezTo>
                  <a:cubicBezTo>
                    <a:pt x="1179" y="0"/>
                    <a:pt x="1178" y="1"/>
                    <a:pt x="1176" y="2"/>
                  </a:cubicBezTo>
                  <a:cubicBezTo>
                    <a:pt x="1176" y="2"/>
                    <a:pt x="1175" y="3"/>
                    <a:pt x="1174" y="4"/>
                  </a:cubicBezTo>
                  <a:cubicBezTo>
                    <a:pt x="1170" y="13"/>
                    <a:pt x="1168" y="22"/>
                    <a:pt x="1169" y="32"/>
                  </a:cubicBezTo>
                  <a:cubicBezTo>
                    <a:pt x="1169" y="37"/>
                    <a:pt x="1169" y="44"/>
                    <a:pt x="1176" y="48"/>
                  </a:cubicBezTo>
                  <a:cubicBezTo>
                    <a:pt x="1179" y="50"/>
                    <a:pt x="1178" y="54"/>
                    <a:pt x="1180" y="57"/>
                  </a:cubicBezTo>
                  <a:cubicBezTo>
                    <a:pt x="1181" y="60"/>
                    <a:pt x="1181" y="60"/>
                    <a:pt x="1178" y="61"/>
                  </a:cubicBezTo>
                  <a:cubicBezTo>
                    <a:pt x="1174" y="61"/>
                    <a:pt x="1170" y="61"/>
                    <a:pt x="1167" y="63"/>
                  </a:cubicBezTo>
                  <a:cubicBezTo>
                    <a:pt x="1165" y="64"/>
                    <a:pt x="1164" y="65"/>
                    <a:pt x="1164" y="67"/>
                  </a:cubicBezTo>
                  <a:cubicBezTo>
                    <a:pt x="1165" y="68"/>
                    <a:pt x="1166" y="70"/>
                    <a:pt x="1165" y="71"/>
                  </a:cubicBezTo>
                  <a:cubicBezTo>
                    <a:pt x="1163" y="75"/>
                    <a:pt x="1161" y="78"/>
                    <a:pt x="1159" y="81"/>
                  </a:cubicBezTo>
                  <a:cubicBezTo>
                    <a:pt x="1159" y="81"/>
                    <a:pt x="1158" y="82"/>
                    <a:pt x="1157" y="82"/>
                  </a:cubicBezTo>
                  <a:cubicBezTo>
                    <a:pt x="1153" y="84"/>
                    <a:pt x="1150" y="85"/>
                    <a:pt x="1146" y="86"/>
                  </a:cubicBezTo>
                  <a:cubicBezTo>
                    <a:pt x="1145" y="86"/>
                    <a:pt x="1145" y="85"/>
                    <a:pt x="1145" y="84"/>
                  </a:cubicBezTo>
                  <a:cubicBezTo>
                    <a:pt x="1145" y="82"/>
                    <a:pt x="1146" y="80"/>
                    <a:pt x="1147" y="78"/>
                  </a:cubicBezTo>
                  <a:cubicBezTo>
                    <a:pt x="1147" y="76"/>
                    <a:pt x="1145" y="74"/>
                    <a:pt x="1143" y="74"/>
                  </a:cubicBezTo>
                  <a:cubicBezTo>
                    <a:pt x="1139" y="75"/>
                    <a:pt x="1136" y="75"/>
                    <a:pt x="1135" y="79"/>
                  </a:cubicBezTo>
                  <a:cubicBezTo>
                    <a:pt x="1134" y="81"/>
                    <a:pt x="1134" y="83"/>
                    <a:pt x="1131" y="83"/>
                  </a:cubicBezTo>
                  <a:cubicBezTo>
                    <a:pt x="1129" y="83"/>
                    <a:pt x="1127" y="84"/>
                    <a:pt x="1125" y="84"/>
                  </a:cubicBezTo>
                  <a:cubicBezTo>
                    <a:pt x="1121" y="84"/>
                    <a:pt x="1119" y="86"/>
                    <a:pt x="1116" y="89"/>
                  </a:cubicBezTo>
                  <a:cubicBezTo>
                    <a:pt x="1114" y="92"/>
                    <a:pt x="1113" y="93"/>
                    <a:pt x="1116" y="97"/>
                  </a:cubicBezTo>
                  <a:cubicBezTo>
                    <a:pt x="1118" y="98"/>
                    <a:pt x="1118" y="100"/>
                    <a:pt x="1116" y="101"/>
                  </a:cubicBezTo>
                  <a:cubicBezTo>
                    <a:pt x="1112" y="103"/>
                    <a:pt x="1108" y="106"/>
                    <a:pt x="1104" y="108"/>
                  </a:cubicBezTo>
                  <a:cubicBezTo>
                    <a:pt x="1100" y="110"/>
                    <a:pt x="1096" y="111"/>
                    <a:pt x="1093" y="115"/>
                  </a:cubicBezTo>
                  <a:cubicBezTo>
                    <a:pt x="1091" y="118"/>
                    <a:pt x="1087" y="120"/>
                    <a:pt x="1085" y="125"/>
                  </a:cubicBezTo>
                  <a:cubicBezTo>
                    <a:pt x="1084" y="128"/>
                    <a:pt x="1082" y="130"/>
                    <a:pt x="1079" y="131"/>
                  </a:cubicBezTo>
                  <a:cubicBezTo>
                    <a:pt x="1074" y="133"/>
                    <a:pt x="1075" y="138"/>
                    <a:pt x="1072" y="140"/>
                  </a:cubicBezTo>
                  <a:cubicBezTo>
                    <a:pt x="1070" y="141"/>
                    <a:pt x="1069" y="143"/>
                    <a:pt x="1068" y="145"/>
                  </a:cubicBezTo>
                  <a:cubicBezTo>
                    <a:pt x="1067" y="148"/>
                    <a:pt x="1068" y="152"/>
                    <a:pt x="1069" y="155"/>
                  </a:cubicBezTo>
                  <a:cubicBezTo>
                    <a:pt x="1069" y="157"/>
                    <a:pt x="1070" y="158"/>
                    <a:pt x="1072" y="160"/>
                  </a:cubicBezTo>
                  <a:cubicBezTo>
                    <a:pt x="1076" y="163"/>
                    <a:pt x="1080" y="166"/>
                    <a:pt x="1085" y="167"/>
                  </a:cubicBezTo>
                  <a:cubicBezTo>
                    <a:pt x="1090" y="169"/>
                    <a:pt x="1095" y="171"/>
                    <a:pt x="1099" y="175"/>
                  </a:cubicBezTo>
                  <a:cubicBezTo>
                    <a:pt x="1099" y="176"/>
                    <a:pt x="1100" y="177"/>
                    <a:pt x="1099" y="178"/>
                  </a:cubicBezTo>
                  <a:cubicBezTo>
                    <a:pt x="1099" y="179"/>
                    <a:pt x="1099" y="180"/>
                    <a:pt x="1098" y="180"/>
                  </a:cubicBezTo>
                  <a:cubicBezTo>
                    <a:pt x="1095" y="182"/>
                    <a:pt x="1095" y="180"/>
                    <a:pt x="1095" y="178"/>
                  </a:cubicBezTo>
                  <a:cubicBezTo>
                    <a:pt x="1094" y="177"/>
                    <a:pt x="1093" y="175"/>
                    <a:pt x="1091" y="176"/>
                  </a:cubicBezTo>
                  <a:cubicBezTo>
                    <a:pt x="1089" y="176"/>
                    <a:pt x="1086" y="176"/>
                    <a:pt x="1085" y="177"/>
                  </a:cubicBezTo>
                  <a:cubicBezTo>
                    <a:pt x="1080" y="181"/>
                    <a:pt x="1073" y="183"/>
                    <a:pt x="1067" y="186"/>
                  </a:cubicBezTo>
                  <a:cubicBezTo>
                    <a:pt x="1061" y="188"/>
                    <a:pt x="1055" y="190"/>
                    <a:pt x="1049" y="192"/>
                  </a:cubicBezTo>
                  <a:cubicBezTo>
                    <a:pt x="1047" y="193"/>
                    <a:pt x="1045" y="193"/>
                    <a:pt x="1043" y="194"/>
                  </a:cubicBezTo>
                  <a:cubicBezTo>
                    <a:pt x="1037" y="196"/>
                    <a:pt x="1035" y="201"/>
                    <a:pt x="1038" y="206"/>
                  </a:cubicBezTo>
                  <a:cubicBezTo>
                    <a:pt x="1039" y="209"/>
                    <a:pt x="1041" y="211"/>
                    <a:pt x="1043" y="213"/>
                  </a:cubicBezTo>
                  <a:cubicBezTo>
                    <a:pt x="1045" y="216"/>
                    <a:pt x="1047" y="219"/>
                    <a:pt x="1048" y="222"/>
                  </a:cubicBezTo>
                  <a:cubicBezTo>
                    <a:pt x="1048" y="224"/>
                    <a:pt x="1049" y="226"/>
                    <a:pt x="1050" y="228"/>
                  </a:cubicBezTo>
                  <a:cubicBezTo>
                    <a:pt x="1051" y="230"/>
                    <a:pt x="1053" y="231"/>
                    <a:pt x="1055" y="232"/>
                  </a:cubicBezTo>
                  <a:cubicBezTo>
                    <a:pt x="1059" y="234"/>
                    <a:pt x="1064" y="233"/>
                    <a:pt x="1068" y="234"/>
                  </a:cubicBezTo>
                  <a:cubicBezTo>
                    <a:pt x="1072" y="237"/>
                    <a:pt x="1075" y="240"/>
                    <a:pt x="1079" y="243"/>
                  </a:cubicBezTo>
                  <a:cubicBezTo>
                    <a:pt x="1079" y="244"/>
                    <a:pt x="1081" y="244"/>
                    <a:pt x="1082" y="244"/>
                  </a:cubicBezTo>
                  <a:cubicBezTo>
                    <a:pt x="1084" y="245"/>
                    <a:pt x="1087" y="246"/>
                    <a:pt x="1089" y="247"/>
                  </a:cubicBezTo>
                  <a:cubicBezTo>
                    <a:pt x="1091" y="248"/>
                    <a:pt x="1093" y="250"/>
                    <a:pt x="1093" y="252"/>
                  </a:cubicBezTo>
                  <a:cubicBezTo>
                    <a:pt x="1095" y="258"/>
                    <a:pt x="1097" y="265"/>
                    <a:pt x="1101" y="271"/>
                  </a:cubicBezTo>
                  <a:cubicBezTo>
                    <a:pt x="1102" y="272"/>
                    <a:pt x="1101" y="273"/>
                    <a:pt x="1099" y="274"/>
                  </a:cubicBezTo>
                  <a:cubicBezTo>
                    <a:pt x="1098" y="275"/>
                    <a:pt x="1096" y="276"/>
                    <a:pt x="1094" y="277"/>
                  </a:cubicBezTo>
                  <a:cubicBezTo>
                    <a:pt x="1094" y="278"/>
                    <a:pt x="1094" y="278"/>
                    <a:pt x="1094" y="278"/>
                  </a:cubicBezTo>
                  <a:cubicBezTo>
                    <a:pt x="1094" y="278"/>
                    <a:pt x="1094" y="279"/>
                    <a:pt x="1093" y="279"/>
                  </a:cubicBezTo>
                  <a:cubicBezTo>
                    <a:pt x="1093" y="279"/>
                    <a:pt x="1093" y="280"/>
                    <a:pt x="1093" y="280"/>
                  </a:cubicBezTo>
                  <a:cubicBezTo>
                    <a:pt x="1093" y="279"/>
                    <a:pt x="1094" y="278"/>
                    <a:pt x="1094" y="277"/>
                  </a:cubicBezTo>
                  <a:cubicBezTo>
                    <a:pt x="1094" y="277"/>
                    <a:pt x="1094" y="277"/>
                    <a:pt x="1094" y="277"/>
                  </a:cubicBezTo>
                  <a:cubicBezTo>
                    <a:pt x="1093" y="277"/>
                    <a:pt x="1093" y="276"/>
                    <a:pt x="1092" y="275"/>
                  </a:cubicBezTo>
                  <a:cubicBezTo>
                    <a:pt x="1088" y="270"/>
                    <a:pt x="1087" y="264"/>
                    <a:pt x="1090" y="258"/>
                  </a:cubicBezTo>
                  <a:cubicBezTo>
                    <a:pt x="1091" y="257"/>
                    <a:pt x="1091" y="256"/>
                    <a:pt x="1091" y="255"/>
                  </a:cubicBezTo>
                  <a:cubicBezTo>
                    <a:pt x="1091" y="252"/>
                    <a:pt x="1088" y="248"/>
                    <a:pt x="1085" y="249"/>
                  </a:cubicBezTo>
                  <a:cubicBezTo>
                    <a:pt x="1082" y="249"/>
                    <a:pt x="1079" y="249"/>
                    <a:pt x="1077" y="250"/>
                  </a:cubicBezTo>
                  <a:cubicBezTo>
                    <a:pt x="1071" y="251"/>
                    <a:pt x="1067" y="250"/>
                    <a:pt x="1063" y="247"/>
                  </a:cubicBezTo>
                  <a:cubicBezTo>
                    <a:pt x="1060" y="245"/>
                    <a:pt x="1058" y="243"/>
                    <a:pt x="1055" y="241"/>
                  </a:cubicBezTo>
                  <a:cubicBezTo>
                    <a:pt x="1050" y="239"/>
                    <a:pt x="1045" y="237"/>
                    <a:pt x="1040" y="235"/>
                  </a:cubicBezTo>
                  <a:cubicBezTo>
                    <a:pt x="1034" y="234"/>
                    <a:pt x="1029" y="232"/>
                    <a:pt x="1024" y="231"/>
                  </a:cubicBezTo>
                  <a:cubicBezTo>
                    <a:pt x="1023" y="231"/>
                    <a:pt x="1021" y="231"/>
                    <a:pt x="1019" y="232"/>
                  </a:cubicBezTo>
                  <a:cubicBezTo>
                    <a:pt x="1017" y="234"/>
                    <a:pt x="1015" y="237"/>
                    <a:pt x="1015" y="240"/>
                  </a:cubicBezTo>
                  <a:cubicBezTo>
                    <a:pt x="1015" y="241"/>
                    <a:pt x="1016" y="243"/>
                    <a:pt x="1017" y="243"/>
                  </a:cubicBezTo>
                  <a:cubicBezTo>
                    <a:pt x="1018" y="244"/>
                    <a:pt x="1020" y="244"/>
                    <a:pt x="1022" y="244"/>
                  </a:cubicBezTo>
                  <a:cubicBezTo>
                    <a:pt x="1022" y="244"/>
                    <a:pt x="1021" y="244"/>
                    <a:pt x="1021" y="244"/>
                  </a:cubicBezTo>
                  <a:cubicBezTo>
                    <a:pt x="1022" y="243"/>
                    <a:pt x="1022" y="243"/>
                    <a:pt x="1022" y="243"/>
                  </a:cubicBezTo>
                  <a:cubicBezTo>
                    <a:pt x="1022" y="244"/>
                    <a:pt x="1022" y="244"/>
                    <a:pt x="1022" y="244"/>
                  </a:cubicBezTo>
                  <a:cubicBezTo>
                    <a:pt x="1023" y="245"/>
                    <a:pt x="1024" y="246"/>
                    <a:pt x="1025" y="247"/>
                  </a:cubicBezTo>
                  <a:cubicBezTo>
                    <a:pt x="1026" y="247"/>
                    <a:pt x="1028" y="247"/>
                    <a:pt x="1030" y="248"/>
                  </a:cubicBezTo>
                  <a:cubicBezTo>
                    <a:pt x="1032" y="249"/>
                    <a:pt x="1032" y="251"/>
                    <a:pt x="1031" y="253"/>
                  </a:cubicBezTo>
                  <a:cubicBezTo>
                    <a:pt x="1030" y="255"/>
                    <a:pt x="1029" y="256"/>
                    <a:pt x="1027" y="255"/>
                  </a:cubicBezTo>
                  <a:cubicBezTo>
                    <a:pt x="1025" y="255"/>
                    <a:pt x="1023" y="254"/>
                    <a:pt x="1021" y="253"/>
                  </a:cubicBezTo>
                  <a:cubicBezTo>
                    <a:pt x="1020" y="252"/>
                    <a:pt x="1018" y="251"/>
                    <a:pt x="1017" y="251"/>
                  </a:cubicBezTo>
                  <a:cubicBezTo>
                    <a:pt x="1014" y="251"/>
                    <a:pt x="1012" y="252"/>
                    <a:pt x="1011" y="253"/>
                  </a:cubicBezTo>
                  <a:cubicBezTo>
                    <a:pt x="1010" y="255"/>
                    <a:pt x="1010" y="257"/>
                    <a:pt x="1010" y="258"/>
                  </a:cubicBezTo>
                  <a:cubicBezTo>
                    <a:pt x="1013" y="264"/>
                    <a:pt x="1017" y="268"/>
                    <a:pt x="1024" y="270"/>
                  </a:cubicBezTo>
                  <a:cubicBezTo>
                    <a:pt x="1028" y="271"/>
                    <a:pt x="1031" y="272"/>
                    <a:pt x="1035" y="272"/>
                  </a:cubicBezTo>
                  <a:cubicBezTo>
                    <a:pt x="1037" y="272"/>
                    <a:pt x="1038" y="273"/>
                    <a:pt x="1040" y="274"/>
                  </a:cubicBezTo>
                  <a:cubicBezTo>
                    <a:pt x="1040" y="274"/>
                    <a:pt x="1041" y="274"/>
                    <a:pt x="1041" y="275"/>
                  </a:cubicBezTo>
                  <a:cubicBezTo>
                    <a:pt x="1041" y="276"/>
                    <a:pt x="1041" y="277"/>
                    <a:pt x="1039" y="276"/>
                  </a:cubicBezTo>
                  <a:cubicBezTo>
                    <a:pt x="1037" y="275"/>
                    <a:pt x="1034" y="274"/>
                    <a:pt x="1031" y="275"/>
                  </a:cubicBezTo>
                  <a:cubicBezTo>
                    <a:pt x="1027" y="275"/>
                    <a:pt x="1022" y="275"/>
                    <a:pt x="1017" y="274"/>
                  </a:cubicBezTo>
                  <a:cubicBezTo>
                    <a:pt x="1014" y="274"/>
                    <a:pt x="1011" y="273"/>
                    <a:pt x="1010" y="271"/>
                  </a:cubicBezTo>
                  <a:cubicBezTo>
                    <a:pt x="1009" y="270"/>
                    <a:pt x="1009" y="269"/>
                    <a:pt x="1009" y="268"/>
                  </a:cubicBezTo>
                  <a:cubicBezTo>
                    <a:pt x="1005" y="262"/>
                    <a:pt x="1002" y="257"/>
                    <a:pt x="1001" y="251"/>
                  </a:cubicBezTo>
                  <a:cubicBezTo>
                    <a:pt x="1001" y="245"/>
                    <a:pt x="998" y="240"/>
                    <a:pt x="995" y="236"/>
                  </a:cubicBezTo>
                  <a:cubicBezTo>
                    <a:pt x="994" y="235"/>
                    <a:pt x="993" y="234"/>
                    <a:pt x="991" y="233"/>
                  </a:cubicBezTo>
                  <a:cubicBezTo>
                    <a:pt x="991" y="233"/>
                    <a:pt x="990" y="233"/>
                    <a:pt x="990" y="233"/>
                  </a:cubicBezTo>
                  <a:cubicBezTo>
                    <a:pt x="990" y="234"/>
                    <a:pt x="989" y="234"/>
                    <a:pt x="989" y="234"/>
                  </a:cubicBezTo>
                  <a:cubicBezTo>
                    <a:pt x="990" y="238"/>
                    <a:pt x="992" y="242"/>
                    <a:pt x="993" y="246"/>
                  </a:cubicBezTo>
                  <a:cubicBezTo>
                    <a:pt x="994" y="249"/>
                    <a:pt x="994" y="253"/>
                    <a:pt x="992" y="255"/>
                  </a:cubicBezTo>
                  <a:cubicBezTo>
                    <a:pt x="991" y="256"/>
                    <a:pt x="991" y="257"/>
                    <a:pt x="990" y="258"/>
                  </a:cubicBezTo>
                  <a:cubicBezTo>
                    <a:pt x="987" y="261"/>
                    <a:pt x="986" y="264"/>
                    <a:pt x="987" y="268"/>
                  </a:cubicBezTo>
                  <a:cubicBezTo>
                    <a:pt x="988" y="271"/>
                    <a:pt x="986" y="276"/>
                    <a:pt x="988" y="279"/>
                  </a:cubicBezTo>
                  <a:cubicBezTo>
                    <a:pt x="991" y="282"/>
                    <a:pt x="994" y="284"/>
                    <a:pt x="997" y="286"/>
                  </a:cubicBezTo>
                  <a:cubicBezTo>
                    <a:pt x="999" y="288"/>
                    <a:pt x="1001" y="290"/>
                    <a:pt x="1003" y="292"/>
                  </a:cubicBezTo>
                  <a:cubicBezTo>
                    <a:pt x="1006" y="294"/>
                    <a:pt x="1008" y="297"/>
                    <a:pt x="1008" y="301"/>
                  </a:cubicBezTo>
                  <a:cubicBezTo>
                    <a:pt x="1008" y="305"/>
                    <a:pt x="1008" y="309"/>
                    <a:pt x="1008" y="314"/>
                  </a:cubicBezTo>
                  <a:cubicBezTo>
                    <a:pt x="1010" y="322"/>
                    <a:pt x="1015" y="328"/>
                    <a:pt x="1018" y="335"/>
                  </a:cubicBezTo>
                  <a:cubicBezTo>
                    <a:pt x="1019" y="337"/>
                    <a:pt x="1021" y="338"/>
                    <a:pt x="1024" y="337"/>
                  </a:cubicBezTo>
                  <a:cubicBezTo>
                    <a:pt x="1028" y="337"/>
                    <a:pt x="1032" y="336"/>
                    <a:pt x="1035" y="333"/>
                  </a:cubicBezTo>
                  <a:cubicBezTo>
                    <a:pt x="1039" y="329"/>
                    <a:pt x="1043" y="330"/>
                    <a:pt x="1047" y="332"/>
                  </a:cubicBezTo>
                  <a:cubicBezTo>
                    <a:pt x="1048" y="332"/>
                    <a:pt x="1048" y="333"/>
                    <a:pt x="1048" y="333"/>
                  </a:cubicBezTo>
                  <a:cubicBezTo>
                    <a:pt x="1048" y="333"/>
                    <a:pt x="1048" y="334"/>
                    <a:pt x="1047" y="334"/>
                  </a:cubicBezTo>
                  <a:cubicBezTo>
                    <a:pt x="1043" y="337"/>
                    <a:pt x="1038" y="340"/>
                    <a:pt x="1034" y="344"/>
                  </a:cubicBezTo>
                  <a:cubicBezTo>
                    <a:pt x="1030" y="347"/>
                    <a:pt x="1030" y="353"/>
                    <a:pt x="1033" y="356"/>
                  </a:cubicBezTo>
                  <a:cubicBezTo>
                    <a:pt x="1035" y="358"/>
                    <a:pt x="1037" y="360"/>
                    <a:pt x="1038" y="362"/>
                  </a:cubicBezTo>
                  <a:cubicBezTo>
                    <a:pt x="1041" y="365"/>
                    <a:pt x="1042" y="369"/>
                    <a:pt x="1040" y="373"/>
                  </a:cubicBezTo>
                  <a:cubicBezTo>
                    <a:pt x="1038" y="377"/>
                    <a:pt x="1037" y="382"/>
                    <a:pt x="1037" y="388"/>
                  </a:cubicBezTo>
                  <a:cubicBezTo>
                    <a:pt x="1038" y="390"/>
                    <a:pt x="1037" y="393"/>
                    <a:pt x="1035" y="395"/>
                  </a:cubicBezTo>
                  <a:cubicBezTo>
                    <a:pt x="1032" y="400"/>
                    <a:pt x="1028" y="404"/>
                    <a:pt x="1027" y="410"/>
                  </a:cubicBezTo>
                  <a:cubicBezTo>
                    <a:pt x="1027" y="411"/>
                    <a:pt x="1025" y="412"/>
                    <a:pt x="1024" y="412"/>
                  </a:cubicBezTo>
                  <a:cubicBezTo>
                    <a:pt x="1018" y="411"/>
                    <a:pt x="1011" y="410"/>
                    <a:pt x="1005" y="409"/>
                  </a:cubicBezTo>
                  <a:cubicBezTo>
                    <a:pt x="1004" y="409"/>
                    <a:pt x="1002" y="409"/>
                    <a:pt x="1002" y="408"/>
                  </a:cubicBezTo>
                  <a:cubicBezTo>
                    <a:pt x="1002" y="407"/>
                    <a:pt x="1002" y="405"/>
                    <a:pt x="1002" y="404"/>
                  </a:cubicBezTo>
                  <a:cubicBezTo>
                    <a:pt x="1002" y="404"/>
                    <a:pt x="1002" y="404"/>
                    <a:pt x="1002" y="404"/>
                  </a:cubicBezTo>
                  <a:cubicBezTo>
                    <a:pt x="1000" y="404"/>
                    <a:pt x="1000" y="403"/>
                    <a:pt x="1001" y="403"/>
                  </a:cubicBezTo>
                  <a:cubicBezTo>
                    <a:pt x="1001" y="403"/>
                    <a:pt x="1002" y="403"/>
                    <a:pt x="1002" y="404"/>
                  </a:cubicBezTo>
                  <a:cubicBezTo>
                    <a:pt x="1002" y="404"/>
                    <a:pt x="1002" y="404"/>
                    <a:pt x="1002" y="404"/>
                  </a:cubicBezTo>
                  <a:cubicBezTo>
                    <a:pt x="1003" y="404"/>
                    <a:pt x="1005" y="405"/>
                    <a:pt x="1006" y="406"/>
                  </a:cubicBezTo>
                  <a:cubicBezTo>
                    <a:pt x="1012" y="408"/>
                    <a:pt x="1016" y="406"/>
                    <a:pt x="1018" y="401"/>
                  </a:cubicBezTo>
                  <a:cubicBezTo>
                    <a:pt x="1022" y="392"/>
                    <a:pt x="1024" y="382"/>
                    <a:pt x="1026" y="372"/>
                  </a:cubicBezTo>
                  <a:cubicBezTo>
                    <a:pt x="1026" y="371"/>
                    <a:pt x="1026" y="369"/>
                    <a:pt x="1025" y="368"/>
                  </a:cubicBezTo>
                  <a:cubicBezTo>
                    <a:pt x="1023" y="364"/>
                    <a:pt x="1022" y="360"/>
                    <a:pt x="1023" y="356"/>
                  </a:cubicBezTo>
                  <a:cubicBezTo>
                    <a:pt x="1023" y="353"/>
                    <a:pt x="1022" y="351"/>
                    <a:pt x="1019" y="349"/>
                  </a:cubicBezTo>
                  <a:cubicBezTo>
                    <a:pt x="1017" y="348"/>
                    <a:pt x="1015" y="346"/>
                    <a:pt x="1012" y="345"/>
                  </a:cubicBezTo>
                  <a:cubicBezTo>
                    <a:pt x="1009" y="343"/>
                    <a:pt x="1007" y="340"/>
                    <a:pt x="1006" y="336"/>
                  </a:cubicBezTo>
                  <a:cubicBezTo>
                    <a:pt x="1001" y="324"/>
                    <a:pt x="997" y="312"/>
                    <a:pt x="993" y="301"/>
                  </a:cubicBezTo>
                  <a:cubicBezTo>
                    <a:pt x="991" y="293"/>
                    <a:pt x="987" y="287"/>
                    <a:pt x="980" y="283"/>
                  </a:cubicBezTo>
                  <a:cubicBezTo>
                    <a:pt x="977" y="281"/>
                    <a:pt x="975" y="278"/>
                    <a:pt x="975" y="274"/>
                  </a:cubicBezTo>
                  <a:cubicBezTo>
                    <a:pt x="975" y="263"/>
                    <a:pt x="973" y="253"/>
                    <a:pt x="971" y="243"/>
                  </a:cubicBezTo>
                  <a:cubicBezTo>
                    <a:pt x="970" y="241"/>
                    <a:pt x="969" y="239"/>
                    <a:pt x="967" y="238"/>
                  </a:cubicBezTo>
                  <a:cubicBezTo>
                    <a:pt x="958" y="235"/>
                    <a:pt x="950" y="233"/>
                    <a:pt x="941" y="236"/>
                  </a:cubicBezTo>
                  <a:cubicBezTo>
                    <a:pt x="939" y="237"/>
                    <a:pt x="936" y="236"/>
                    <a:pt x="934" y="236"/>
                  </a:cubicBezTo>
                  <a:cubicBezTo>
                    <a:pt x="933" y="236"/>
                    <a:pt x="931" y="238"/>
                    <a:pt x="931" y="239"/>
                  </a:cubicBezTo>
                  <a:cubicBezTo>
                    <a:pt x="931" y="242"/>
                    <a:pt x="931" y="244"/>
                    <a:pt x="931" y="247"/>
                  </a:cubicBezTo>
                  <a:cubicBezTo>
                    <a:pt x="931" y="255"/>
                    <a:pt x="932" y="264"/>
                    <a:pt x="932" y="272"/>
                  </a:cubicBezTo>
                  <a:cubicBezTo>
                    <a:pt x="932" y="276"/>
                    <a:pt x="931" y="280"/>
                    <a:pt x="928" y="284"/>
                  </a:cubicBezTo>
                  <a:cubicBezTo>
                    <a:pt x="925" y="287"/>
                    <a:pt x="924" y="292"/>
                    <a:pt x="924" y="297"/>
                  </a:cubicBezTo>
                  <a:cubicBezTo>
                    <a:pt x="924" y="300"/>
                    <a:pt x="924" y="303"/>
                    <a:pt x="928" y="305"/>
                  </a:cubicBezTo>
                  <a:cubicBezTo>
                    <a:pt x="931" y="307"/>
                    <a:pt x="933" y="309"/>
                    <a:pt x="934" y="312"/>
                  </a:cubicBezTo>
                  <a:cubicBezTo>
                    <a:pt x="935" y="316"/>
                    <a:pt x="938" y="321"/>
                    <a:pt x="936" y="326"/>
                  </a:cubicBezTo>
                  <a:cubicBezTo>
                    <a:pt x="935" y="326"/>
                    <a:pt x="935" y="328"/>
                    <a:pt x="936" y="329"/>
                  </a:cubicBezTo>
                  <a:cubicBezTo>
                    <a:pt x="938" y="333"/>
                    <a:pt x="940" y="337"/>
                    <a:pt x="943" y="341"/>
                  </a:cubicBezTo>
                  <a:cubicBezTo>
                    <a:pt x="943" y="341"/>
                    <a:pt x="945" y="341"/>
                    <a:pt x="946" y="340"/>
                  </a:cubicBezTo>
                  <a:cubicBezTo>
                    <a:pt x="949" y="339"/>
                    <a:pt x="951" y="338"/>
                    <a:pt x="953" y="341"/>
                  </a:cubicBezTo>
                  <a:cubicBezTo>
                    <a:pt x="958" y="346"/>
                    <a:pt x="962" y="350"/>
                    <a:pt x="969" y="352"/>
                  </a:cubicBezTo>
                  <a:cubicBezTo>
                    <a:pt x="969" y="352"/>
                    <a:pt x="970" y="354"/>
                    <a:pt x="970" y="355"/>
                  </a:cubicBezTo>
                  <a:cubicBezTo>
                    <a:pt x="970" y="357"/>
                    <a:pt x="970" y="360"/>
                    <a:pt x="970" y="363"/>
                  </a:cubicBezTo>
                  <a:cubicBezTo>
                    <a:pt x="970" y="364"/>
                    <a:pt x="968" y="365"/>
                    <a:pt x="966" y="364"/>
                  </a:cubicBezTo>
                  <a:cubicBezTo>
                    <a:pt x="963" y="362"/>
                    <a:pt x="960" y="360"/>
                    <a:pt x="957" y="358"/>
                  </a:cubicBezTo>
                  <a:cubicBezTo>
                    <a:pt x="954" y="357"/>
                    <a:pt x="952" y="355"/>
                    <a:pt x="950" y="354"/>
                  </a:cubicBezTo>
                  <a:cubicBezTo>
                    <a:pt x="946" y="352"/>
                    <a:pt x="941" y="351"/>
                    <a:pt x="937" y="350"/>
                  </a:cubicBezTo>
                  <a:cubicBezTo>
                    <a:pt x="934" y="348"/>
                    <a:pt x="930" y="347"/>
                    <a:pt x="927" y="345"/>
                  </a:cubicBezTo>
                  <a:cubicBezTo>
                    <a:pt x="922" y="346"/>
                    <a:pt x="919" y="341"/>
                    <a:pt x="915" y="340"/>
                  </a:cubicBezTo>
                  <a:cubicBezTo>
                    <a:pt x="907" y="337"/>
                    <a:pt x="900" y="335"/>
                    <a:pt x="891" y="336"/>
                  </a:cubicBezTo>
                  <a:cubicBezTo>
                    <a:pt x="890" y="336"/>
                    <a:pt x="889" y="336"/>
                    <a:pt x="888" y="336"/>
                  </a:cubicBezTo>
                  <a:cubicBezTo>
                    <a:pt x="878" y="336"/>
                    <a:pt x="869" y="335"/>
                    <a:pt x="862" y="329"/>
                  </a:cubicBezTo>
                  <a:cubicBezTo>
                    <a:pt x="858" y="326"/>
                    <a:pt x="854" y="324"/>
                    <a:pt x="850" y="321"/>
                  </a:cubicBezTo>
                  <a:cubicBezTo>
                    <a:pt x="849" y="320"/>
                    <a:pt x="846" y="321"/>
                    <a:pt x="845" y="323"/>
                  </a:cubicBezTo>
                  <a:cubicBezTo>
                    <a:pt x="845" y="323"/>
                    <a:pt x="845" y="323"/>
                    <a:pt x="845" y="324"/>
                  </a:cubicBezTo>
                  <a:cubicBezTo>
                    <a:pt x="843" y="328"/>
                    <a:pt x="844" y="332"/>
                    <a:pt x="848" y="335"/>
                  </a:cubicBezTo>
                  <a:cubicBezTo>
                    <a:pt x="853" y="338"/>
                    <a:pt x="859" y="338"/>
                    <a:pt x="862" y="343"/>
                  </a:cubicBezTo>
                  <a:cubicBezTo>
                    <a:pt x="863" y="344"/>
                    <a:pt x="864" y="344"/>
                    <a:pt x="865" y="344"/>
                  </a:cubicBezTo>
                  <a:cubicBezTo>
                    <a:pt x="868" y="344"/>
                    <a:pt x="869" y="346"/>
                    <a:pt x="871" y="347"/>
                  </a:cubicBezTo>
                  <a:cubicBezTo>
                    <a:pt x="874" y="351"/>
                    <a:pt x="877" y="355"/>
                    <a:pt x="880" y="358"/>
                  </a:cubicBezTo>
                  <a:cubicBezTo>
                    <a:pt x="881" y="360"/>
                    <a:pt x="881" y="363"/>
                    <a:pt x="879" y="364"/>
                  </a:cubicBezTo>
                  <a:cubicBezTo>
                    <a:pt x="876" y="367"/>
                    <a:pt x="872" y="369"/>
                    <a:pt x="871" y="373"/>
                  </a:cubicBezTo>
                  <a:cubicBezTo>
                    <a:pt x="871" y="373"/>
                    <a:pt x="870" y="374"/>
                    <a:pt x="870" y="374"/>
                  </a:cubicBezTo>
                  <a:cubicBezTo>
                    <a:pt x="869" y="373"/>
                    <a:pt x="868" y="373"/>
                    <a:pt x="867" y="372"/>
                  </a:cubicBezTo>
                  <a:cubicBezTo>
                    <a:pt x="867" y="370"/>
                    <a:pt x="867" y="368"/>
                    <a:pt x="866" y="366"/>
                  </a:cubicBezTo>
                  <a:cubicBezTo>
                    <a:pt x="865" y="363"/>
                    <a:pt x="861" y="362"/>
                    <a:pt x="859" y="363"/>
                  </a:cubicBezTo>
                  <a:cubicBezTo>
                    <a:pt x="855" y="365"/>
                    <a:pt x="852" y="367"/>
                    <a:pt x="847" y="367"/>
                  </a:cubicBezTo>
                  <a:cubicBezTo>
                    <a:pt x="846" y="367"/>
                    <a:pt x="846" y="367"/>
                    <a:pt x="846" y="368"/>
                  </a:cubicBezTo>
                  <a:cubicBezTo>
                    <a:pt x="844" y="372"/>
                    <a:pt x="840" y="373"/>
                    <a:pt x="836" y="372"/>
                  </a:cubicBezTo>
                  <a:cubicBezTo>
                    <a:pt x="832" y="372"/>
                    <a:pt x="828" y="373"/>
                    <a:pt x="826" y="376"/>
                  </a:cubicBezTo>
                  <a:cubicBezTo>
                    <a:pt x="823" y="380"/>
                    <a:pt x="818" y="380"/>
                    <a:pt x="815" y="383"/>
                  </a:cubicBezTo>
                  <a:cubicBezTo>
                    <a:pt x="814" y="383"/>
                    <a:pt x="812" y="383"/>
                    <a:pt x="810" y="383"/>
                  </a:cubicBezTo>
                  <a:cubicBezTo>
                    <a:pt x="810" y="382"/>
                    <a:pt x="810" y="381"/>
                    <a:pt x="810" y="380"/>
                  </a:cubicBezTo>
                  <a:cubicBezTo>
                    <a:pt x="811" y="376"/>
                    <a:pt x="809" y="372"/>
                    <a:pt x="806" y="369"/>
                  </a:cubicBezTo>
                  <a:cubicBezTo>
                    <a:pt x="803" y="369"/>
                    <a:pt x="800" y="370"/>
                    <a:pt x="799" y="373"/>
                  </a:cubicBezTo>
                  <a:cubicBezTo>
                    <a:pt x="798" y="374"/>
                    <a:pt x="797" y="375"/>
                    <a:pt x="797" y="375"/>
                  </a:cubicBezTo>
                  <a:cubicBezTo>
                    <a:pt x="793" y="375"/>
                    <a:pt x="792" y="378"/>
                    <a:pt x="790" y="379"/>
                  </a:cubicBezTo>
                  <a:cubicBezTo>
                    <a:pt x="788" y="380"/>
                    <a:pt x="785" y="381"/>
                    <a:pt x="782" y="382"/>
                  </a:cubicBezTo>
                  <a:cubicBezTo>
                    <a:pt x="778" y="382"/>
                    <a:pt x="775" y="385"/>
                    <a:pt x="773" y="388"/>
                  </a:cubicBezTo>
                  <a:cubicBezTo>
                    <a:pt x="767" y="394"/>
                    <a:pt x="761" y="401"/>
                    <a:pt x="753" y="406"/>
                  </a:cubicBezTo>
                  <a:cubicBezTo>
                    <a:pt x="751" y="407"/>
                    <a:pt x="750" y="409"/>
                    <a:pt x="749" y="411"/>
                  </a:cubicBezTo>
                  <a:cubicBezTo>
                    <a:pt x="749" y="413"/>
                    <a:pt x="749" y="416"/>
                    <a:pt x="748" y="419"/>
                  </a:cubicBezTo>
                  <a:cubicBezTo>
                    <a:pt x="748" y="419"/>
                    <a:pt x="747" y="420"/>
                    <a:pt x="746" y="421"/>
                  </a:cubicBezTo>
                  <a:cubicBezTo>
                    <a:pt x="742" y="425"/>
                    <a:pt x="733" y="426"/>
                    <a:pt x="730" y="422"/>
                  </a:cubicBezTo>
                  <a:cubicBezTo>
                    <a:pt x="728" y="420"/>
                    <a:pt x="725" y="418"/>
                    <a:pt x="723" y="415"/>
                  </a:cubicBezTo>
                  <a:cubicBezTo>
                    <a:pt x="721" y="413"/>
                    <a:pt x="721" y="410"/>
                    <a:pt x="723" y="409"/>
                  </a:cubicBezTo>
                  <a:cubicBezTo>
                    <a:pt x="726" y="407"/>
                    <a:pt x="729" y="405"/>
                    <a:pt x="731" y="403"/>
                  </a:cubicBezTo>
                  <a:cubicBezTo>
                    <a:pt x="733" y="402"/>
                    <a:pt x="733" y="399"/>
                    <a:pt x="732" y="398"/>
                  </a:cubicBezTo>
                  <a:cubicBezTo>
                    <a:pt x="730" y="395"/>
                    <a:pt x="727" y="393"/>
                    <a:pt x="725" y="391"/>
                  </a:cubicBezTo>
                  <a:cubicBezTo>
                    <a:pt x="722" y="386"/>
                    <a:pt x="717" y="384"/>
                    <a:pt x="711" y="385"/>
                  </a:cubicBezTo>
                  <a:cubicBezTo>
                    <a:pt x="707" y="386"/>
                    <a:pt x="702" y="386"/>
                    <a:pt x="698" y="385"/>
                  </a:cubicBezTo>
                  <a:cubicBezTo>
                    <a:pt x="698" y="385"/>
                    <a:pt x="697" y="385"/>
                    <a:pt x="697" y="386"/>
                  </a:cubicBezTo>
                  <a:cubicBezTo>
                    <a:pt x="696" y="386"/>
                    <a:pt x="696" y="388"/>
                    <a:pt x="697" y="388"/>
                  </a:cubicBezTo>
                  <a:cubicBezTo>
                    <a:pt x="705" y="394"/>
                    <a:pt x="707" y="402"/>
                    <a:pt x="706" y="410"/>
                  </a:cubicBezTo>
                  <a:cubicBezTo>
                    <a:pt x="706" y="413"/>
                    <a:pt x="705" y="415"/>
                    <a:pt x="705" y="417"/>
                  </a:cubicBezTo>
                  <a:cubicBezTo>
                    <a:pt x="705" y="419"/>
                    <a:pt x="706" y="421"/>
                    <a:pt x="708" y="422"/>
                  </a:cubicBezTo>
                  <a:cubicBezTo>
                    <a:pt x="712" y="424"/>
                    <a:pt x="714" y="427"/>
                    <a:pt x="714" y="431"/>
                  </a:cubicBezTo>
                  <a:cubicBezTo>
                    <a:pt x="714" y="433"/>
                    <a:pt x="714" y="435"/>
                    <a:pt x="713" y="437"/>
                  </a:cubicBezTo>
                  <a:cubicBezTo>
                    <a:pt x="713" y="439"/>
                    <a:pt x="711" y="441"/>
                    <a:pt x="709" y="441"/>
                  </a:cubicBezTo>
                  <a:cubicBezTo>
                    <a:pt x="705" y="440"/>
                    <a:pt x="702" y="439"/>
                    <a:pt x="699" y="439"/>
                  </a:cubicBezTo>
                  <a:cubicBezTo>
                    <a:pt x="694" y="438"/>
                    <a:pt x="690" y="438"/>
                    <a:pt x="687" y="442"/>
                  </a:cubicBezTo>
                  <a:cubicBezTo>
                    <a:pt x="686" y="444"/>
                    <a:pt x="684" y="446"/>
                    <a:pt x="682" y="448"/>
                  </a:cubicBezTo>
                  <a:cubicBezTo>
                    <a:pt x="678" y="450"/>
                    <a:pt x="676" y="453"/>
                    <a:pt x="674" y="456"/>
                  </a:cubicBezTo>
                  <a:cubicBezTo>
                    <a:pt x="669" y="462"/>
                    <a:pt x="666" y="465"/>
                    <a:pt x="675" y="473"/>
                  </a:cubicBezTo>
                  <a:cubicBezTo>
                    <a:pt x="675" y="474"/>
                    <a:pt x="676" y="475"/>
                    <a:pt x="676" y="476"/>
                  </a:cubicBezTo>
                  <a:cubicBezTo>
                    <a:pt x="677" y="478"/>
                    <a:pt x="676" y="480"/>
                    <a:pt x="675" y="482"/>
                  </a:cubicBezTo>
                  <a:cubicBezTo>
                    <a:pt x="674" y="483"/>
                    <a:pt x="671" y="485"/>
                    <a:pt x="670" y="484"/>
                  </a:cubicBezTo>
                  <a:cubicBezTo>
                    <a:pt x="662" y="480"/>
                    <a:pt x="653" y="478"/>
                    <a:pt x="646" y="473"/>
                  </a:cubicBezTo>
                  <a:cubicBezTo>
                    <a:pt x="645" y="472"/>
                    <a:pt x="643" y="472"/>
                    <a:pt x="641" y="471"/>
                  </a:cubicBezTo>
                  <a:cubicBezTo>
                    <a:pt x="640" y="471"/>
                    <a:pt x="638" y="472"/>
                    <a:pt x="637" y="473"/>
                  </a:cubicBezTo>
                  <a:cubicBezTo>
                    <a:pt x="636" y="475"/>
                    <a:pt x="636" y="477"/>
                    <a:pt x="635" y="479"/>
                  </a:cubicBezTo>
                  <a:cubicBezTo>
                    <a:pt x="634" y="481"/>
                    <a:pt x="635" y="483"/>
                    <a:pt x="636" y="485"/>
                  </a:cubicBezTo>
                  <a:cubicBezTo>
                    <a:pt x="639" y="489"/>
                    <a:pt x="643" y="492"/>
                    <a:pt x="648" y="492"/>
                  </a:cubicBezTo>
                  <a:cubicBezTo>
                    <a:pt x="649" y="492"/>
                    <a:pt x="650" y="492"/>
                    <a:pt x="651" y="493"/>
                  </a:cubicBezTo>
                  <a:cubicBezTo>
                    <a:pt x="653" y="494"/>
                    <a:pt x="654" y="495"/>
                    <a:pt x="653" y="497"/>
                  </a:cubicBezTo>
                  <a:cubicBezTo>
                    <a:pt x="653" y="499"/>
                    <a:pt x="650" y="502"/>
                    <a:pt x="648" y="501"/>
                  </a:cubicBezTo>
                  <a:cubicBezTo>
                    <a:pt x="643" y="501"/>
                    <a:pt x="637" y="500"/>
                    <a:pt x="633" y="495"/>
                  </a:cubicBezTo>
                  <a:cubicBezTo>
                    <a:pt x="631" y="493"/>
                    <a:pt x="628" y="492"/>
                    <a:pt x="625" y="491"/>
                  </a:cubicBezTo>
                  <a:cubicBezTo>
                    <a:pt x="622" y="491"/>
                    <a:pt x="621" y="489"/>
                    <a:pt x="620" y="487"/>
                  </a:cubicBezTo>
                  <a:cubicBezTo>
                    <a:pt x="619" y="483"/>
                    <a:pt x="618" y="478"/>
                    <a:pt x="615" y="474"/>
                  </a:cubicBezTo>
                  <a:cubicBezTo>
                    <a:pt x="613" y="472"/>
                    <a:pt x="613" y="469"/>
                    <a:pt x="613" y="465"/>
                  </a:cubicBezTo>
                  <a:cubicBezTo>
                    <a:pt x="614" y="457"/>
                    <a:pt x="612" y="454"/>
                    <a:pt x="604" y="451"/>
                  </a:cubicBezTo>
                  <a:cubicBezTo>
                    <a:pt x="601" y="449"/>
                    <a:pt x="598" y="448"/>
                    <a:pt x="596" y="446"/>
                  </a:cubicBezTo>
                  <a:cubicBezTo>
                    <a:pt x="594" y="443"/>
                    <a:pt x="590" y="442"/>
                    <a:pt x="588" y="438"/>
                  </a:cubicBezTo>
                  <a:cubicBezTo>
                    <a:pt x="588" y="438"/>
                    <a:pt x="588" y="438"/>
                    <a:pt x="588" y="438"/>
                  </a:cubicBezTo>
                  <a:cubicBezTo>
                    <a:pt x="588" y="438"/>
                    <a:pt x="588" y="438"/>
                    <a:pt x="588" y="438"/>
                  </a:cubicBezTo>
                  <a:cubicBezTo>
                    <a:pt x="587" y="437"/>
                    <a:pt x="586" y="437"/>
                    <a:pt x="585" y="436"/>
                  </a:cubicBezTo>
                  <a:cubicBezTo>
                    <a:pt x="585" y="436"/>
                    <a:pt x="585" y="435"/>
                    <a:pt x="585" y="435"/>
                  </a:cubicBezTo>
                  <a:cubicBezTo>
                    <a:pt x="584" y="435"/>
                    <a:pt x="584" y="435"/>
                    <a:pt x="584" y="435"/>
                  </a:cubicBezTo>
                  <a:cubicBezTo>
                    <a:pt x="585" y="435"/>
                    <a:pt x="585" y="435"/>
                    <a:pt x="585" y="435"/>
                  </a:cubicBezTo>
                  <a:cubicBezTo>
                    <a:pt x="585" y="435"/>
                    <a:pt x="585" y="435"/>
                    <a:pt x="585" y="436"/>
                  </a:cubicBezTo>
                  <a:cubicBezTo>
                    <a:pt x="586" y="436"/>
                    <a:pt x="587" y="437"/>
                    <a:pt x="588" y="438"/>
                  </a:cubicBezTo>
                  <a:cubicBezTo>
                    <a:pt x="588" y="438"/>
                    <a:pt x="588" y="438"/>
                    <a:pt x="588" y="438"/>
                  </a:cubicBezTo>
                  <a:cubicBezTo>
                    <a:pt x="588" y="438"/>
                    <a:pt x="588" y="438"/>
                    <a:pt x="588" y="438"/>
                  </a:cubicBezTo>
                  <a:cubicBezTo>
                    <a:pt x="593" y="438"/>
                    <a:pt x="598" y="440"/>
                    <a:pt x="602" y="442"/>
                  </a:cubicBezTo>
                  <a:cubicBezTo>
                    <a:pt x="614" y="446"/>
                    <a:pt x="626" y="449"/>
                    <a:pt x="638" y="451"/>
                  </a:cubicBezTo>
                  <a:cubicBezTo>
                    <a:pt x="648" y="453"/>
                    <a:pt x="657" y="451"/>
                    <a:pt x="666" y="448"/>
                  </a:cubicBezTo>
                  <a:cubicBezTo>
                    <a:pt x="667" y="447"/>
                    <a:pt x="669" y="446"/>
                    <a:pt x="670" y="445"/>
                  </a:cubicBezTo>
                  <a:cubicBezTo>
                    <a:pt x="675" y="440"/>
                    <a:pt x="679" y="434"/>
                    <a:pt x="680" y="426"/>
                  </a:cubicBezTo>
                  <a:cubicBezTo>
                    <a:pt x="680" y="424"/>
                    <a:pt x="680" y="422"/>
                    <a:pt x="679" y="420"/>
                  </a:cubicBezTo>
                  <a:cubicBezTo>
                    <a:pt x="676" y="416"/>
                    <a:pt x="673" y="410"/>
                    <a:pt x="667" y="408"/>
                  </a:cubicBezTo>
                  <a:cubicBezTo>
                    <a:pt x="665" y="407"/>
                    <a:pt x="663" y="404"/>
                    <a:pt x="661" y="403"/>
                  </a:cubicBezTo>
                  <a:cubicBezTo>
                    <a:pt x="658" y="400"/>
                    <a:pt x="656" y="399"/>
                    <a:pt x="652" y="399"/>
                  </a:cubicBezTo>
                  <a:cubicBezTo>
                    <a:pt x="647" y="398"/>
                    <a:pt x="642" y="396"/>
                    <a:pt x="638" y="392"/>
                  </a:cubicBezTo>
                  <a:cubicBezTo>
                    <a:pt x="633" y="389"/>
                    <a:pt x="629" y="386"/>
                    <a:pt x="624" y="383"/>
                  </a:cubicBezTo>
                  <a:cubicBezTo>
                    <a:pt x="610" y="376"/>
                    <a:pt x="607" y="375"/>
                    <a:pt x="591" y="375"/>
                  </a:cubicBezTo>
                  <a:cubicBezTo>
                    <a:pt x="589" y="375"/>
                    <a:pt x="587" y="376"/>
                    <a:pt x="585" y="376"/>
                  </a:cubicBezTo>
                  <a:cubicBezTo>
                    <a:pt x="582" y="376"/>
                    <a:pt x="579" y="375"/>
                    <a:pt x="577" y="375"/>
                  </a:cubicBezTo>
                  <a:cubicBezTo>
                    <a:pt x="574" y="374"/>
                    <a:pt x="575" y="373"/>
                    <a:pt x="576" y="371"/>
                  </a:cubicBezTo>
                  <a:cubicBezTo>
                    <a:pt x="576" y="370"/>
                    <a:pt x="576" y="368"/>
                    <a:pt x="575" y="367"/>
                  </a:cubicBezTo>
                  <a:cubicBezTo>
                    <a:pt x="573" y="366"/>
                    <a:pt x="571" y="365"/>
                    <a:pt x="569" y="364"/>
                  </a:cubicBezTo>
                  <a:cubicBezTo>
                    <a:pt x="567" y="363"/>
                    <a:pt x="565" y="363"/>
                    <a:pt x="563" y="365"/>
                  </a:cubicBezTo>
                  <a:cubicBezTo>
                    <a:pt x="561" y="367"/>
                    <a:pt x="558" y="369"/>
                    <a:pt x="554" y="367"/>
                  </a:cubicBezTo>
                  <a:cubicBezTo>
                    <a:pt x="551" y="366"/>
                    <a:pt x="548" y="366"/>
                    <a:pt x="545" y="367"/>
                  </a:cubicBezTo>
                  <a:cubicBezTo>
                    <a:pt x="543" y="367"/>
                    <a:pt x="541" y="366"/>
                    <a:pt x="540" y="365"/>
                  </a:cubicBezTo>
                  <a:cubicBezTo>
                    <a:pt x="539" y="365"/>
                    <a:pt x="539" y="364"/>
                    <a:pt x="539" y="363"/>
                  </a:cubicBezTo>
                  <a:cubicBezTo>
                    <a:pt x="539" y="362"/>
                    <a:pt x="539" y="361"/>
                    <a:pt x="541" y="361"/>
                  </a:cubicBezTo>
                  <a:cubicBezTo>
                    <a:pt x="544" y="361"/>
                    <a:pt x="546" y="360"/>
                    <a:pt x="548" y="358"/>
                  </a:cubicBezTo>
                  <a:cubicBezTo>
                    <a:pt x="551" y="357"/>
                    <a:pt x="553" y="355"/>
                    <a:pt x="555" y="353"/>
                  </a:cubicBezTo>
                  <a:cubicBezTo>
                    <a:pt x="556" y="353"/>
                    <a:pt x="555" y="350"/>
                    <a:pt x="554" y="350"/>
                  </a:cubicBezTo>
                  <a:cubicBezTo>
                    <a:pt x="547" y="345"/>
                    <a:pt x="539" y="343"/>
                    <a:pt x="531" y="341"/>
                  </a:cubicBezTo>
                  <a:cubicBezTo>
                    <a:pt x="530" y="341"/>
                    <a:pt x="528" y="342"/>
                    <a:pt x="527" y="343"/>
                  </a:cubicBezTo>
                  <a:cubicBezTo>
                    <a:pt x="526" y="343"/>
                    <a:pt x="525" y="344"/>
                    <a:pt x="525" y="345"/>
                  </a:cubicBezTo>
                  <a:cubicBezTo>
                    <a:pt x="524" y="346"/>
                    <a:pt x="523" y="347"/>
                    <a:pt x="523" y="346"/>
                  </a:cubicBezTo>
                  <a:cubicBezTo>
                    <a:pt x="522" y="346"/>
                    <a:pt x="522" y="345"/>
                    <a:pt x="522" y="345"/>
                  </a:cubicBezTo>
                  <a:cubicBezTo>
                    <a:pt x="522" y="343"/>
                    <a:pt x="522" y="342"/>
                    <a:pt x="522" y="340"/>
                  </a:cubicBezTo>
                  <a:cubicBezTo>
                    <a:pt x="522" y="337"/>
                    <a:pt x="520" y="335"/>
                    <a:pt x="518" y="334"/>
                  </a:cubicBezTo>
                  <a:cubicBezTo>
                    <a:pt x="515" y="334"/>
                    <a:pt x="513" y="335"/>
                    <a:pt x="512" y="336"/>
                  </a:cubicBezTo>
                  <a:cubicBezTo>
                    <a:pt x="510" y="337"/>
                    <a:pt x="509" y="339"/>
                    <a:pt x="508" y="341"/>
                  </a:cubicBezTo>
                  <a:cubicBezTo>
                    <a:pt x="508" y="343"/>
                    <a:pt x="508" y="344"/>
                    <a:pt x="507" y="346"/>
                  </a:cubicBezTo>
                  <a:cubicBezTo>
                    <a:pt x="507" y="346"/>
                    <a:pt x="505" y="347"/>
                    <a:pt x="504" y="347"/>
                  </a:cubicBezTo>
                  <a:cubicBezTo>
                    <a:pt x="504" y="347"/>
                    <a:pt x="503" y="347"/>
                    <a:pt x="503" y="346"/>
                  </a:cubicBezTo>
                  <a:cubicBezTo>
                    <a:pt x="503" y="343"/>
                    <a:pt x="502" y="341"/>
                    <a:pt x="498" y="341"/>
                  </a:cubicBezTo>
                  <a:cubicBezTo>
                    <a:pt x="496" y="341"/>
                    <a:pt x="496" y="339"/>
                    <a:pt x="496" y="338"/>
                  </a:cubicBezTo>
                  <a:cubicBezTo>
                    <a:pt x="495" y="334"/>
                    <a:pt x="491" y="334"/>
                    <a:pt x="490" y="336"/>
                  </a:cubicBezTo>
                  <a:cubicBezTo>
                    <a:pt x="487" y="340"/>
                    <a:pt x="481" y="340"/>
                    <a:pt x="479" y="344"/>
                  </a:cubicBezTo>
                  <a:cubicBezTo>
                    <a:pt x="474" y="345"/>
                    <a:pt x="471" y="348"/>
                    <a:pt x="467" y="349"/>
                  </a:cubicBezTo>
                  <a:cubicBezTo>
                    <a:pt x="467" y="350"/>
                    <a:pt x="466" y="350"/>
                    <a:pt x="466" y="350"/>
                  </a:cubicBezTo>
                  <a:cubicBezTo>
                    <a:pt x="466" y="350"/>
                    <a:pt x="466" y="350"/>
                    <a:pt x="466" y="350"/>
                  </a:cubicBezTo>
                  <a:cubicBezTo>
                    <a:pt x="465" y="351"/>
                    <a:pt x="465" y="351"/>
                    <a:pt x="465" y="351"/>
                  </a:cubicBezTo>
                  <a:cubicBezTo>
                    <a:pt x="466" y="350"/>
                    <a:pt x="466" y="350"/>
                    <a:pt x="466" y="350"/>
                  </a:cubicBezTo>
                  <a:cubicBezTo>
                    <a:pt x="466" y="350"/>
                    <a:pt x="466" y="350"/>
                    <a:pt x="466" y="350"/>
                  </a:cubicBezTo>
                  <a:cubicBezTo>
                    <a:pt x="466" y="349"/>
                    <a:pt x="466" y="348"/>
                    <a:pt x="466" y="347"/>
                  </a:cubicBezTo>
                  <a:cubicBezTo>
                    <a:pt x="465" y="347"/>
                    <a:pt x="465" y="347"/>
                    <a:pt x="464" y="347"/>
                  </a:cubicBezTo>
                  <a:cubicBezTo>
                    <a:pt x="457" y="347"/>
                    <a:pt x="456" y="348"/>
                    <a:pt x="458" y="354"/>
                  </a:cubicBezTo>
                  <a:cubicBezTo>
                    <a:pt x="458" y="354"/>
                    <a:pt x="458" y="355"/>
                    <a:pt x="459" y="356"/>
                  </a:cubicBezTo>
                  <a:cubicBezTo>
                    <a:pt x="459" y="356"/>
                    <a:pt x="459" y="356"/>
                    <a:pt x="459" y="356"/>
                  </a:cubicBezTo>
                  <a:cubicBezTo>
                    <a:pt x="460" y="357"/>
                    <a:pt x="460" y="357"/>
                    <a:pt x="460" y="357"/>
                  </a:cubicBezTo>
                  <a:cubicBezTo>
                    <a:pt x="459" y="357"/>
                    <a:pt x="459" y="357"/>
                    <a:pt x="459" y="357"/>
                  </a:cubicBezTo>
                  <a:cubicBezTo>
                    <a:pt x="459" y="356"/>
                    <a:pt x="459" y="356"/>
                    <a:pt x="459" y="356"/>
                  </a:cubicBezTo>
                  <a:cubicBezTo>
                    <a:pt x="452" y="356"/>
                    <a:pt x="446" y="359"/>
                    <a:pt x="441" y="362"/>
                  </a:cubicBezTo>
                  <a:cubicBezTo>
                    <a:pt x="440" y="362"/>
                    <a:pt x="440" y="364"/>
                    <a:pt x="440" y="364"/>
                  </a:cubicBezTo>
                  <a:cubicBezTo>
                    <a:pt x="440" y="366"/>
                    <a:pt x="442" y="368"/>
                    <a:pt x="441" y="369"/>
                  </a:cubicBezTo>
                  <a:cubicBezTo>
                    <a:pt x="441" y="371"/>
                    <a:pt x="438" y="370"/>
                    <a:pt x="437" y="370"/>
                  </a:cubicBezTo>
                  <a:cubicBezTo>
                    <a:pt x="434" y="371"/>
                    <a:pt x="432" y="372"/>
                    <a:pt x="429" y="372"/>
                  </a:cubicBezTo>
                  <a:cubicBezTo>
                    <a:pt x="430" y="372"/>
                    <a:pt x="430" y="372"/>
                    <a:pt x="430" y="372"/>
                  </a:cubicBezTo>
                  <a:cubicBezTo>
                    <a:pt x="429" y="372"/>
                    <a:pt x="429" y="372"/>
                    <a:pt x="429" y="372"/>
                  </a:cubicBezTo>
                  <a:cubicBezTo>
                    <a:pt x="429" y="372"/>
                    <a:pt x="429" y="372"/>
                    <a:pt x="429" y="372"/>
                  </a:cubicBezTo>
                  <a:cubicBezTo>
                    <a:pt x="429" y="372"/>
                    <a:pt x="428" y="372"/>
                    <a:pt x="428" y="372"/>
                  </a:cubicBezTo>
                  <a:cubicBezTo>
                    <a:pt x="428" y="372"/>
                    <a:pt x="429" y="372"/>
                    <a:pt x="429" y="372"/>
                  </a:cubicBezTo>
                  <a:cubicBezTo>
                    <a:pt x="429" y="371"/>
                    <a:pt x="430" y="369"/>
                    <a:pt x="429" y="368"/>
                  </a:cubicBezTo>
                  <a:cubicBezTo>
                    <a:pt x="429" y="366"/>
                    <a:pt x="427" y="365"/>
                    <a:pt x="426" y="365"/>
                  </a:cubicBezTo>
                  <a:cubicBezTo>
                    <a:pt x="425" y="365"/>
                    <a:pt x="424" y="366"/>
                    <a:pt x="424" y="367"/>
                  </a:cubicBezTo>
                  <a:cubicBezTo>
                    <a:pt x="424" y="369"/>
                    <a:pt x="425" y="370"/>
                    <a:pt x="426" y="372"/>
                  </a:cubicBezTo>
                  <a:cubicBezTo>
                    <a:pt x="426" y="372"/>
                    <a:pt x="426" y="372"/>
                    <a:pt x="426" y="372"/>
                  </a:cubicBezTo>
                  <a:cubicBezTo>
                    <a:pt x="426" y="372"/>
                    <a:pt x="426" y="372"/>
                    <a:pt x="426" y="372"/>
                  </a:cubicBezTo>
                  <a:cubicBezTo>
                    <a:pt x="421" y="372"/>
                    <a:pt x="418" y="374"/>
                    <a:pt x="416" y="378"/>
                  </a:cubicBezTo>
                  <a:cubicBezTo>
                    <a:pt x="416" y="378"/>
                    <a:pt x="416" y="378"/>
                    <a:pt x="416" y="378"/>
                  </a:cubicBezTo>
                  <a:cubicBezTo>
                    <a:pt x="416" y="377"/>
                    <a:pt x="418" y="380"/>
                    <a:pt x="416" y="378"/>
                  </a:cubicBezTo>
                  <a:cubicBezTo>
                    <a:pt x="416" y="378"/>
                    <a:pt x="416" y="378"/>
                    <a:pt x="416" y="378"/>
                  </a:cubicBezTo>
                  <a:cubicBezTo>
                    <a:pt x="415" y="378"/>
                    <a:pt x="413" y="378"/>
                    <a:pt x="411" y="378"/>
                  </a:cubicBezTo>
                  <a:cubicBezTo>
                    <a:pt x="409" y="378"/>
                    <a:pt x="406" y="379"/>
                    <a:pt x="405" y="382"/>
                  </a:cubicBezTo>
                  <a:cubicBezTo>
                    <a:pt x="404" y="385"/>
                    <a:pt x="404" y="388"/>
                    <a:pt x="407" y="391"/>
                  </a:cubicBezTo>
                  <a:cubicBezTo>
                    <a:pt x="408" y="391"/>
                    <a:pt x="409" y="392"/>
                    <a:pt x="410" y="393"/>
                  </a:cubicBezTo>
                  <a:cubicBezTo>
                    <a:pt x="411" y="394"/>
                    <a:pt x="411" y="395"/>
                    <a:pt x="409" y="396"/>
                  </a:cubicBezTo>
                  <a:cubicBezTo>
                    <a:pt x="407" y="398"/>
                    <a:pt x="406" y="399"/>
                    <a:pt x="403" y="398"/>
                  </a:cubicBezTo>
                  <a:cubicBezTo>
                    <a:pt x="400" y="397"/>
                    <a:pt x="398" y="397"/>
                    <a:pt x="395" y="398"/>
                  </a:cubicBezTo>
                  <a:cubicBezTo>
                    <a:pt x="393" y="398"/>
                    <a:pt x="392" y="396"/>
                    <a:pt x="392" y="395"/>
                  </a:cubicBezTo>
                  <a:cubicBezTo>
                    <a:pt x="393" y="392"/>
                    <a:pt x="394" y="390"/>
                    <a:pt x="395" y="388"/>
                  </a:cubicBezTo>
                  <a:cubicBezTo>
                    <a:pt x="395" y="387"/>
                    <a:pt x="395" y="387"/>
                    <a:pt x="394" y="386"/>
                  </a:cubicBezTo>
                  <a:cubicBezTo>
                    <a:pt x="394" y="386"/>
                    <a:pt x="393" y="386"/>
                    <a:pt x="393" y="386"/>
                  </a:cubicBezTo>
                  <a:cubicBezTo>
                    <a:pt x="389" y="390"/>
                    <a:pt x="385" y="394"/>
                    <a:pt x="382" y="398"/>
                  </a:cubicBezTo>
                  <a:cubicBezTo>
                    <a:pt x="380" y="399"/>
                    <a:pt x="382" y="401"/>
                    <a:pt x="383" y="402"/>
                  </a:cubicBezTo>
                  <a:cubicBezTo>
                    <a:pt x="384" y="404"/>
                    <a:pt x="384" y="406"/>
                    <a:pt x="382" y="407"/>
                  </a:cubicBezTo>
                  <a:cubicBezTo>
                    <a:pt x="381" y="408"/>
                    <a:pt x="381" y="409"/>
                    <a:pt x="380" y="410"/>
                  </a:cubicBezTo>
                  <a:cubicBezTo>
                    <a:pt x="382" y="410"/>
                    <a:pt x="384" y="410"/>
                    <a:pt x="386" y="409"/>
                  </a:cubicBezTo>
                  <a:cubicBezTo>
                    <a:pt x="390" y="409"/>
                    <a:pt x="394" y="407"/>
                    <a:pt x="397" y="407"/>
                  </a:cubicBezTo>
                  <a:cubicBezTo>
                    <a:pt x="399" y="407"/>
                    <a:pt x="402" y="407"/>
                    <a:pt x="404" y="408"/>
                  </a:cubicBezTo>
                  <a:cubicBezTo>
                    <a:pt x="404" y="408"/>
                    <a:pt x="405" y="408"/>
                    <a:pt x="405" y="408"/>
                  </a:cubicBezTo>
                  <a:cubicBezTo>
                    <a:pt x="405" y="408"/>
                    <a:pt x="404" y="409"/>
                    <a:pt x="404" y="409"/>
                  </a:cubicBezTo>
                  <a:cubicBezTo>
                    <a:pt x="402" y="410"/>
                    <a:pt x="400" y="411"/>
                    <a:pt x="398" y="412"/>
                  </a:cubicBezTo>
                  <a:cubicBezTo>
                    <a:pt x="397" y="412"/>
                    <a:pt x="396" y="413"/>
                    <a:pt x="395" y="413"/>
                  </a:cubicBezTo>
                  <a:cubicBezTo>
                    <a:pt x="392" y="413"/>
                    <a:pt x="392" y="415"/>
                    <a:pt x="392" y="417"/>
                  </a:cubicBezTo>
                  <a:cubicBezTo>
                    <a:pt x="391" y="418"/>
                    <a:pt x="389" y="419"/>
                    <a:pt x="388" y="421"/>
                  </a:cubicBezTo>
                  <a:cubicBezTo>
                    <a:pt x="387" y="422"/>
                    <a:pt x="388" y="425"/>
                    <a:pt x="388" y="427"/>
                  </a:cubicBezTo>
                  <a:cubicBezTo>
                    <a:pt x="388" y="428"/>
                    <a:pt x="387" y="429"/>
                    <a:pt x="386" y="429"/>
                  </a:cubicBezTo>
                  <a:cubicBezTo>
                    <a:pt x="385" y="431"/>
                    <a:pt x="384" y="432"/>
                    <a:pt x="384" y="433"/>
                  </a:cubicBezTo>
                  <a:cubicBezTo>
                    <a:pt x="384" y="437"/>
                    <a:pt x="382" y="438"/>
                    <a:pt x="380" y="440"/>
                  </a:cubicBezTo>
                  <a:cubicBezTo>
                    <a:pt x="377" y="441"/>
                    <a:pt x="375" y="443"/>
                    <a:pt x="374" y="446"/>
                  </a:cubicBezTo>
                  <a:cubicBezTo>
                    <a:pt x="373" y="449"/>
                    <a:pt x="371" y="452"/>
                    <a:pt x="370" y="455"/>
                  </a:cubicBezTo>
                  <a:cubicBezTo>
                    <a:pt x="370" y="458"/>
                    <a:pt x="370" y="460"/>
                    <a:pt x="367" y="461"/>
                  </a:cubicBezTo>
                  <a:cubicBezTo>
                    <a:pt x="365" y="461"/>
                    <a:pt x="364" y="463"/>
                    <a:pt x="365" y="465"/>
                  </a:cubicBezTo>
                  <a:cubicBezTo>
                    <a:pt x="366" y="468"/>
                    <a:pt x="366" y="471"/>
                    <a:pt x="365" y="474"/>
                  </a:cubicBezTo>
                  <a:cubicBezTo>
                    <a:pt x="364" y="477"/>
                    <a:pt x="363" y="480"/>
                    <a:pt x="363" y="483"/>
                  </a:cubicBezTo>
                  <a:cubicBezTo>
                    <a:pt x="362" y="485"/>
                    <a:pt x="361" y="486"/>
                    <a:pt x="358" y="487"/>
                  </a:cubicBezTo>
                  <a:cubicBezTo>
                    <a:pt x="357" y="488"/>
                    <a:pt x="355" y="488"/>
                    <a:pt x="354" y="489"/>
                  </a:cubicBezTo>
                  <a:cubicBezTo>
                    <a:pt x="353" y="489"/>
                    <a:pt x="352" y="490"/>
                    <a:pt x="352" y="491"/>
                  </a:cubicBezTo>
                  <a:cubicBezTo>
                    <a:pt x="352" y="494"/>
                    <a:pt x="352" y="496"/>
                    <a:pt x="349" y="498"/>
                  </a:cubicBezTo>
                  <a:cubicBezTo>
                    <a:pt x="343" y="501"/>
                    <a:pt x="340" y="506"/>
                    <a:pt x="337" y="512"/>
                  </a:cubicBezTo>
                  <a:cubicBezTo>
                    <a:pt x="337" y="514"/>
                    <a:pt x="336" y="515"/>
                    <a:pt x="335" y="517"/>
                  </a:cubicBezTo>
                  <a:cubicBezTo>
                    <a:pt x="334" y="518"/>
                    <a:pt x="332" y="520"/>
                    <a:pt x="330" y="519"/>
                  </a:cubicBezTo>
                  <a:cubicBezTo>
                    <a:pt x="328" y="519"/>
                    <a:pt x="326" y="519"/>
                    <a:pt x="323" y="519"/>
                  </a:cubicBezTo>
                  <a:cubicBezTo>
                    <a:pt x="323" y="519"/>
                    <a:pt x="322" y="519"/>
                    <a:pt x="322" y="519"/>
                  </a:cubicBezTo>
                  <a:cubicBezTo>
                    <a:pt x="321" y="520"/>
                    <a:pt x="321" y="521"/>
                    <a:pt x="322" y="522"/>
                  </a:cubicBezTo>
                  <a:cubicBezTo>
                    <a:pt x="322" y="523"/>
                    <a:pt x="323" y="523"/>
                    <a:pt x="323" y="523"/>
                  </a:cubicBezTo>
                  <a:cubicBezTo>
                    <a:pt x="324" y="525"/>
                    <a:pt x="324" y="527"/>
                    <a:pt x="322" y="527"/>
                  </a:cubicBezTo>
                  <a:cubicBezTo>
                    <a:pt x="317" y="528"/>
                    <a:pt x="315" y="533"/>
                    <a:pt x="309" y="532"/>
                  </a:cubicBezTo>
                  <a:cubicBezTo>
                    <a:pt x="306" y="535"/>
                    <a:pt x="302" y="537"/>
                    <a:pt x="299" y="540"/>
                  </a:cubicBezTo>
                  <a:cubicBezTo>
                    <a:pt x="299" y="540"/>
                    <a:pt x="298" y="541"/>
                    <a:pt x="299" y="541"/>
                  </a:cubicBezTo>
                  <a:cubicBezTo>
                    <a:pt x="299" y="545"/>
                    <a:pt x="297" y="546"/>
                    <a:pt x="294" y="546"/>
                  </a:cubicBezTo>
                  <a:cubicBezTo>
                    <a:pt x="292" y="547"/>
                    <a:pt x="290" y="547"/>
                    <a:pt x="288" y="548"/>
                  </a:cubicBezTo>
                  <a:cubicBezTo>
                    <a:pt x="287" y="549"/>
                    <a:pt x="285" y="550"/>
                    <a:pt x="285" y="551"/>
                  </a:cubicBezTo>
                  <a:cubicBezTo>
                    <a:pt x="284" y="553"/>
                    <a:pt x="285" y="556"/>
                    <a:pt x="284" y="558"/>
                  </a:cubicBezTo>
                  <a:cubicBezTo>
                    <a:pt x="283" y="563"/>
                    <a:pt x="286" y="569"/>
                    <a:pt x="283" y="574"/>
                  </a:cubicBezTo>
                  <a:cubicBezTo>
                    <a:pt x="283" y="575"/>
                    <a:pt x="283" y="575"/>
                    <a:pt x="283" y="576"/>
                  </a:cubicBezTo>
                  <a:cubicBezTo>
                    <a:pt x="284" y="580"/>
                    <a:pt x="288" y="583"/>
                    <a:pt x="290" y="586"/>
                  </a:cubicBezTo>
                  <a:cubicBezTo>
                    <a:pt x="291" y="589"/>
                    <a:pt x="292" y="591"/>
                    <a:pt x="293" y="594"/>
                  </a:cubicBezTo>
                  <a:cubicBezTo>
                    <a:pt x="293" y="595"/>
                    <a:pt x="292" y="597"/>
                    <a:pt x="292" y="598"/>
                  </a:cubicBezTo>
                  <a:cubicBezTo>
                    <a:pt x="291" y="600"/>
                    <a:pt x="289" y="601"/>
                    <a:pt x="288" y="603"/>
                  </a:cubicBezTo>
                  <a:cubicBezTo>
                    <a:pt x="287" y="604"/>
                    <a:pt x="287" y="606"/>
                    <a:pt x="289" y="607"/>
                  </a:cubicBezTo>
                  <a:cubicBezTo>
                    <a:pt x="290" y="608"/>
                    <a:pt x="292" y="608"/>
                    <a:pt x="293" y="609"/>
                  </a:cubicBezTo>
                  <a:cubicBezTo>
                    <a:pt x="295" y="609"/>
                    <a:pt x="296" y="611"/>
                    <a:pt x="295" y="612"/>
                  </a:cubicBezTo>
                  <a:cubicBezTo>
                    <a:pt x="293" y="614"/>
                    <a:pt x="292" y="615"/>
                    <a:pt x="290" y="617"/>
                  </a:cubicBezTo>
                  <a:cubicBezTo>
                    <a:pt x="289" y="618"/>
                    <a:pt x="290" y="622"/>
                    <a:pt x="291" y="623"/>
                  </a:cubicBezTo>
                  <a:cubicBezTo>
                    <a:pt x="297" y="628"/>
                    <a:pt x="303" y="632"/>
                    <a:pt x="311" y="634"/>
                  </a:cubicBezTo>
                  <a:cubicBezTo>
                    <a:pt x="312" y="635"/>
                    <a:pt x="313" y="635"/>
                    <a:pt x="314" y="635"/>
                  </a:cubicBezTo>
                  <a:cubicBezTo>
                    <a:pt x="321" y="632"/>
                    <a:pt x="328" y="631"/>
                    <a:pt x="332" y="625"/>
                  </a:cubicBezTo>
                  <a:cubicBezTo>
                    <a:pt x="334" y="622"/>
                    <a:pt x="336" y="620"/>
                    <a:pt x="338" y="618"/>
                  </a:cubicBezTo>
                  <a:cubicBezTo>
                    <a:pt x="343" y="615"/>
                    <a:pt x="349" y="614"/>
                    <a:pt x="351" y="609"/>
                  </a:cubicBezTo>
                  <a:cubicBezTo>
                    <a:pt x="351" y="608"/>
                    <a:pt x="352" y="608"/>
                    <a:pt x="352" y="609"/>
                  </a:cubicBezTo>
                  <a:cubicBezTo>
                    <a:pt x="354" y="610"/>
                    <a:pt x="356" y="611"/>
                    <a:pt x="357" y="613"/>
                  </a:cubicBezTo>
                  <a:cubicBezTo>
                    <a:pt x="358" y="616"/>
                    <a:pt x="358" y="619"/>
                    <a:pt x="359" y="622"/>
                  </a:cubicBezTo>
                  <a:cubicBezTo>
                    <a:pt x="360" y="625"/>
                    <a:pt x="362" y="629"/>
                    <a:pt x="362" y="632"/>
                  </a:cubicBezTo>
                  <a:cubicBezTo>
                    <a:pt x="363" y="638"/>
                    <a:pt x="366" y="643"/>
                    <a:pt x="369" y="648"/>
                  </a:cubicBezTo>
                  <a:cubicBezTo>
                    <a:pt x="372" y="652"/>
                    <a:pt x="374" y="657"/>
                    <a:pt x="378" y="661"/>
                  </a:cubicBezTo>
                  <a:cubicBezTo>
                    <a:pt x="379" y="663"/>
                    <a:pt x="378" y="664"/>
                    <a:pt x="378" y="665"/>
                  </a:cubicBezTo>
                  <a:cubicBezTo>
                    <a:pt x="377" y="667"/>
                    <a:pt x="377" y="668"/>
                    <a:pt x="376" y="670"/>
                  </a:cubicBezTo>
                  <a:cubicBezTo>
                    <a:pt x="376" y="670"/>
                    <a:pt x="377" y="670"/>
                    <a:pt x="377" y="670"/>
                  </a:cubicBezTo>
                  <a:cubicBezTo>
                    <a:pt x="377" y="670"/>
                    <a:pt x="377" y="670"/>
                    <a:pt x="377" y="671"/>
                  </a:cubicBezTo>
                  <a:cubicBezTo>
                    <a:pt x="378" y="672"/>
                    <a:pt x="379" y="673"/>
                    <a:pt x="379" y="674"/>
                  </a:cubicBezTo>
                  <a:cubicBezTo>
                    <a:pt x="383" y="684"/>
                    <a:pt x="385" y="681"/>
                    <a:pt x="394" y="680"/>
                  </a:cubicBezTo>
                  <a:cubicBezTo>
                    <a:pt x="397" y="680"/>
                    <a:pt x="398" y="678"/>
                    <a:pt x="398" y="676"/>
                  </a:cubicBezTo>
                  <a:cubicBezTo>
                    <a:pt x="399" y="672"/>
                    <a:pt x="402" y="671"/>
                    <a:pt x="405" y="670"/>
                  </a:cubicBezTo>
                  <a:cubicBezTo>
                    <a:pt x="407" y="670"/>
                    <a:pt x="408" y="670"/>
                    <a:pt x="410" y="670"/>
                  </a:cubicBezTo>
                  <a:cubicBezTo>
                    <a:pt x="415" y="670"/>
                    <a:pt x="419" y="669"/>
                    <a:pt x="421" y="664"/>
                  </a:cubicBezTo>
                  <a:cubicBezTo>
                    <a:pt x="428" y="666"/>
                    <a:pt x="428" y="660"/>
                    <a:pt x="429" y="656"/>
                  </a:cubicBezTo>
                  <a:cubicBezTo>
                    <a:pt x="429" y="655"/>
                    <a:pt x="429" y="654"/>
                    <a:pt x="429" y="653"/>
                  </a:cubicBezTo>
                  <a:cubicBezTo>
                    <a:pt x="429" y="651"/>
                    <a:pt x="428" y="650"/>
                    <a:pt x="426" y="651"/>
                  </a:cubicBezTo>
                  <a:cubicBezTo>
                    <a:pt x="425" y="651"/>
                    <a:pt x="425" y="651"/>
                    <a:pt x="424" y="650"/>
                  </a:cubicBezTo>
                  <a:cubicBezTo>
                    <a:pt x="424" y="650"/>
                    <a:pt x="424" y="650"/>
                    <a:pt x="424" y="649"/>
                  </a:cubicBezTo>
                  <a:cubicBezTo>
                    <a:pt x="424" y="644"/>
                    <a:pt x="423" y="639"/>
                    <a:pt x="425" y="634"/>
                  </a:cubicBezTo>
                  <a:cubicBezTo>
                    <a:pt x="426" y="631"/>
                    <a:pt x="426" y="629"/>
                    <a:pt x="426" y="626"/>
                  </a:cubicBezTo>
                  <a:cubicBezTo>
                    <a:pt x="426" y="621"/>
                    <a:pt x="429" y="618"/>
                    <a:pt x="433" y="616"/>
                  </a:cubicBezTo>
                  <a:cubicBezTo>
                    <a:pt x="435" y="614"/>
                    <a:pt x="438" y="613"/>
                    <a:pt x="441" y="611"/>
                  </a:cubicBezTo>
                  <a:cubicBezTo>
                    <a:pt x="444" y="608"/>
                    <a:pt x="446" y="605"/>
                    <a:pt x="445" y="601"/>
                  </a:cubicBezTo>
                  <a:cubicBezTo>
                    <a:pt x="445" y="599"/>
                    <a:pt x="446" y="597"/>
                    <a:pt x="446" y="595"/>
                  </a:cubicBezTo>
                  <a:cubicBezTo>
                    <a:pt x="446" y="594"/>
                    <a:pt x="446" y="592"/>
                    <a:pt x="445" y="591"/>
                  </a:cubicBezTo>
                  <a:cubicBezTo>
                    <a:pt x="441" y="586"/>
                    <a:pt x="437" y="581"/>
                    <a:pt x="431" y="578"/>
                  </a:cubicBezTo>
                  <a:cubicBezTo>
                    <a:pt x="427" y="577"/>
                    <a:pt x="426" y="574"/>
                    <a:pt x="426" y="570"/>
                  </a:cubicBezTo>
                  <a:cubicBezTo>
                    <a:pt x="426" y="562"/>
                    <a:pt x="426" y="554"/>
                    <a:pt x="427" y="545"/>
                  </a:cubicBezTo>
                  <a:cubicBezTo>
                    <a:pt x="427" y="544"/>
                    <a:pt x="428" y="542"/>
                    <a:pt x="428" y="541"/>
                  </a:cubicBezTo>
                  <a:cubicBezTo>
                    <a:pt x="433" y="534"/>
                    <a:pt x="438" y="527"/>
                    <a:pt x="445" y="523"/>
                  </a:cubicBezTo>
                  <a:cubicBezTo>
                    <a:pt x="449" y="520"/>
                    <a:pt x="452" y="517"/>
                    <a:pt x="455" y="514"/>
                  </a:cubicBezTo>
                  <a:cubicBezTo>
                    <a:pt x="462" y="509"/>
                    <a:pt x="461" y="509"/>
                    <a:pt x="465" y="500"/>
                  </a:cubicBezTo>
                  <a:cubicBezTo>
                    <a:pt x="466" y="498"/>
                    <a:pt x="466" y="495"/>
                    <a:pt x="466" y="493"/>
                  </a:cubicBezTo>
                  <a:cubicBezTo>
                    <a:pt x="464" y="487"/>
                    <a:pt x="466" y="480"/>
                    <a:pt x="468" y="475"/>
                  </a:cubicBezTo>
                  <a:cubicBezTo>
                    <a:pt x="471" y="470"/>
                    <a:pt x="475" y="466"/>
                    <a:pt x="481" y="468"/>
                  </a:cubicBezTo>
                  <a:cubicBezTo>
                    <a:pt x="489" y="466"/>
                    <a:pt x="497" y="468"/>
                    <a:pt x="504" y="471"/>
                  </a:cubicBezTo>
                  <a:cubicBezTo>
                    <a:pt x="506" y="472"/>
                    <a:pt x="507" y="477"/>
                    <a:pt x="505" y="478"/>
                  </a:cubicBezTo>
                  <a:cubicBezTo>
                    <a:pt x="503" y="479"/>
                    <a:pt x="501" y="480"/>
                    <a:pt x="501" y="484"/>
                  </a:cubicBezTo>
                  <a:cubicBezTo>
                    <a:pt x="501" y="486"/>
                    <a:pt x="500" y="488"/>
                    <a:pt x="498" y="489"/>
                  </a:cubicBezTo>
                  <a:cubicBezTo>
                    <a:pt x="493" y="497"/>
                    <a:pt x="489" y="505"/>
                    <a:pt x="482" y="511"/>
                  </a:cubicBezTo>
                  <a:cubicBezTo>
                    <a:pt x="481" y="513"/>
                    <a:pt x="479" y="515"/>
                    <a:pt x="478" y="518"/>
                  </a:cubicBezTo>
                  <a:cubicBezTo>
                    <a:pt x="477" y="521"/>
                    <a:pt x="474" y="522"/>
                    <a:pt x="470" y="522"/>
                  </a:cubicBezTo>
                  <a:cubicBezTo>
                    <a:pt x="468" y="522"/>
                    <a:pt x="467" y="523"/>
                    <a:pt x="467" y="525"/>
                  </a:cubicBezTo>
                  <a:cubicBezTo>
                    <a:pt x="468" y="527"/>
                    <a:pt x="467" y="530"/>
                    <a:pt x="466" y="532"/>
                  </a:cubicBezTo>
                  <a:cubicBezTo>
                    <a:pt x="466" y="534"/>
                    <a:pt x="466" y="536"/>
                    <a:pt x="466" y="538"/>
                  </a:cubicBezTo>
                  <a:cubicBezTo>
                    <a:pt x="467" y="540"/>
                    <a:pt x="468" y="542"/>
                    <a:pt x="468" y="544"/>
                  </a:cubicBezTo>
                  <a:cubicBezTo>
                    <a:pt x="470" y="552"/>
                    <a:pt x="473" y="560"/>
                    <a:pt x="472" y="569"/>
                  </a:cubicBezTo>
                  <a:cubicBezTo>
                    <a:pt x="471" y="570"/>
                    <a:pt x="472" y="572"/>
                    <a:pt x="472" y="574"/>
                  </a:cubicBezTo>
                  <a:cubicBezTo>
                    <a:pt x="472" y="576"/>
                    <a:pt x="474" y="578"/>
                    <a:pt x="477" y="579"/>
                  </a:cubicBezTo>
                  <a:cubicBezTo>
                    <a:pt x="479" y="580"/>
                    <a:pt x="480" y="582"/>
                    <a:pt x="482" y="583"/>
                  </a:cubicBezTo>
                  <a:cubicBezTo>
                    <a:pt x="482" y="582"/>
                    <a:pt x="482" y="582"/>
                    <a:pt x="482" y="582"/>
                  </a:cubicBezTo>
                  <a:cubicBezTo>
                    <a:pt x="482" y="582"/>
                    <a:pt x="482" y="582"/>
                    <a:pt x="482" y="582"/>
                  </a:cubicBezTo>
                  <a:cubicBezTo>
                    <a:pt x="483" y="582"/>
                    <a:pt x="483" y="582"/>
                    <a:pt x="483" y="582"/>
                  </a:cubicBezTo>
                  <a:cubicBezTo>
                    <a:pt x="482" y="582"/>
                    <a:pt x="482" y="582"/>
                    <a:pt x="482" y="582"/>
                  </a:cubicBezTo>
                  <a:cubicBezTo>
                    <a:pt x="484" y="583"/>
                    <a:pt x="485" y="584"/>
                    <a:pt x="486" y="584"/>
                  </a:cubicBezTo>
                  <a:cubicBezTo>
                    <a:pt x="490" y="584"/>
                    <a:pt x="492" y="585"/>
                    <a:pt x="494" y="588"/>
                  </a:cubicBezTo>
                  <a:cubicBezTo>
                    <a:pt x="496" y="592"/>
                    <a:pt x="499" y="592"/>
                    <a:pt x="503" y="591"/>
                  </a:cubicBezTo>
                  <a:cubicBezTo>
                    <a:pt x="506" y="590"/>
                    <a:pt x="509" y="589"/>
                    <a:pt x="512" y="587"/>
                  </a:cubicBezTo>
                  <a:cubicBezTo>
                    <a:pt x="522" y="583"/>
                    <a:pt x="532" y="580"/>
                    <a:pt x="543" y="580"/>
                  </a:cubicBezTo>
                  <a:cubicBezTo>
                    <a:pt x="547" y="580"/>
                    <a:pt x="551" y="579"/>
                    <a:pt x="555" y="579"/>
                  </a:cubicBezTo>
                  <a:cubicBezTo>
                    <a:pt x="556" y="579"/>
                    <a:pt x="557" y="579"/>
                    <a:pt x="558" y="579"/>
                  </a:cubicBezTo>
                  <a:cubicBezTo>
                    <a:pt x="559" y="584"/>
                    <a:pt x="565" y="583"/>
                    <a:pt x="568" y="585"/>
                  </a:cubicBezTo>
                  <a:cubicBezTo>
                    <a:pt x="569" y="586"/>
                    <a:pt x="569" y="586"/>
                    <a:pt x="570" y="586"/>
                  </a:cubicBezTo>
                  <a:cubicBezTo>
                    <a:pt x="570" y="586"/>
                    <a:pt x="570" y="587"/>
                    <a:pt x="570" y="587"/>
                  </a:cubicBezTo>
                  <a:cubicBezTo>
                    <a:pt x="568" y="588"/>
                    <a:pt x="566" y="590"/>
                    <a:pt x="565" y="590"/>
                  </a:cubicBezTo>
                  <a:cubicBezTo>
                    <a:pt x="562" y="592"/>
                    <a:pt x="558" y="593"/>
                    <a:pt x="556" y="595"/>
                  </a:cubicBezTo>
                  <a:cubicBezTo>
                    <a:pt x="553" y="601"/>
                    <a:pt x="548" y="601"/>
                    <a:pt x="542" y="599"/>
                  </a:cubicBezTo>
                  <a:cubicBezTo>
                    <a:pt x="539" y="598"/>
                    <a:pt x="535" y="597"/>
                    <a:pt x="531" y="597"/>
                  </a:cubicBezTo>
                  <a:cubicBezTo>
                    <a:pt x="530" y="596"/>
                    <a:pt x="528" y="596"/>
                    <a:pt x="526" y="596"/>
                  </a:cubicBezTo>
                  <a:cubicBezTo>
                    <a:pt x="521" y="598"/>
                    <a:pt x="516" y="599"/>
                    <a:pt x="511" y="601"/>
                  </a:cubicBezTo>
                  <a:cubicBezTo>
                    <a:pt x="505" y="603"/>
                    <a:pt x="502" y="607"/>
                    <a:pt x="501" y="613"/>
                  </a:cubicBezTo>
                  <a:cubicBezTo>
                    <a:pt x="501" y="616"/>
                    <a:pt x="499" y="617"/>
                    <a:pt x="496" y="618"/>
                  </a:cubicBezTo>
                  <a:cubicBezTo>
                    <a:pt x="494" y="619"/>
                    <a:pt x="492" y="619"/>
                    <a:pt x="490" y="620"/>
                  </a:cubicBezTo>
                  <a:cubicBezTo>
                    <a:pt x="486" y="621"/>
                    <a:pt x="485" y="624"/>
                    <a:pt x="488" y="628"/>
                  </a:cubicBezTo>
                  <a:cubicBezTo>
                    <a:pt x="488" y="629"/>
                    <a:pt x="489" y="629"/>
                    <a:pt x="489" y="629"/>
                  </a:cubicBezTo>
                  <a:cubicBezTo>
                    <a:pt x="494" y="629"/>
                    <a:pt x="497" y="626"/>
                    <a:pt x="500" y="623"/>
                  </a:cubicBezTo>
                  <a:cubicBezTo>
                    <a:pt x="502" y="622"/>
                    <a:pt x="503" y="622"/>
                    <a:pt x="506" y="623"/>
                  </a:cubicBezTo>
                  <a:cubicBezTo>
                    <a:pt x="508" y="625"/>
                    <a:pt x="509" y="626"/>
                    <a:pt x="511" y="627"/>
                  </a:cubicBezTo>
                  <a:cubicBezTo>
                    <a:pt x="513" y="628"/>
                    <a:pt x="514" y="629"/>
                    <a:pt x="514" y="630"/>
                  </a:cubicBezTo>
                  <a:cubicBezTo>
                    <a:pt x="514" y="635"/>
                    <a:pt x="514" y="639"/>
                    <a:pt x="514" y="643"/>
                  </a:cubicBezTo>
                  <a:cubicBezTo>
                    <a:pt x="514" y="645"/>
                    <a:pt x="512" y="647"/>
                    <a:pt x="510" y="647"/>
                  </a:cubicBezTo>
                  <a:cubicBezTo>
                    <a:pt x="509" y="648"/>
                    <a:pt x="507" y="647"/>
                    <a:pt x="506" y="646"/>
                  </a:cubicBezTo>
                  <a:cubicBezTo>
                    <a:pt x="503" y="644"/>
                    <a:pt x="501" y="642"/>
                    <a:pt x="499" y="639"/>
                  </a:cubicBezTo>
                  <a:cubicBezTo>
                    <a:pt x="497" y="637"/>
                    <a:pt x="495" y="636"/>
                    <a:pt x="492" y="637"/>
                  </a:cubicBezTo>
                  <a:cubicBezTo>
                    <a:pt x="487" y="639"/>
                    <a:pt x="484" y="641"/>
                    <a:pt x="482" y="645"/>
                  </a:cubicBezTo>
                  <a:cubicBezTo>
                    <a:pt x="481" y="648"/>
                    <a:pt x="480" y="651"/>
                    <a:pt x="479" y="654"/>
                  </a:cubicBezTo>
                  <a:cubicBezTo>
                    <a:pt x="478" y="658"/>
                    <a:pt x="477" y="662"/>
                    <a:pt x="478" y="666"/>
                  </a:cubicBezTo>
                  <a:cubicBezTo>
                    <a:pt x="479" y="671"/>
                    <a:pt x="480" y="677"/>
                    <a:pt x="481" y="682"/>
                  </a:cubicBezTo>
                  <a:cubicBezTo>
                    <a:pt x="481" y="682"/>
                    <a:pt x="480" y="684"/>
                    <a:pt x="479" y="684"/>
                  </a:cubicBezTo>
                  <a:cubicBezTo>
                    <a:pt x="477" y="685"/>
                    <a:pt x="474" y="686"/>
                    <a:pt x="472" y="687"/>
                  </a:cubicBezTo>
                  <a:cubicBezTo>
                    <a:pt x="469" y="688"/>
                    <a:pt x="467" y="690"/>
                    <a:pt x="467" y="693"/>
                  </a:cubicBezTo>
                  <a:cubicBezTo>
                    <a:pt x="466" y="698"/>
                    <a:pt x="456" y="699"/>
                    <a:pt x="453" y="695"/>
                  </a:cubicBezTo>
                  <a:cubicBezTo>
                    <a:pt x="453" y="694"/>
                    <a:pt x="452" y="693"/>
                    <a:pt x="452" y="692"/>
                  </a:cubicBezTo>
                  <a:cubicBezTo>
                    <a:pt x="450" y="689"/>
                    <a:pt x="448" y="689"/>
                    <a:pt x="445" y="689"/>
                  </a:cubicBezTo>
                  <a:cubicBezTo>
                    <a:pt x="439" y="689"/>
                    <a:pt x="434" y="691"/>
                    <a:pt x="429" y="693"/>
                  </a:cubicBezTo>
                  <a:cubicBezTo>
                    <a:pt x="423" y="697"/>
                    <a:pt x="416" y="701"/>
                    <a:pt x="409" y="704"/>
                  </a:cubicBezTo>
                  <a:cubicBezTo>
                    <a:pt x="407" y="705"/>
                    <a:pt x="405" y="708"/>
                    <a:pt x="403" y="709"/>
                  </a:cubicBezTo>
                  <a:cubicBezTo>
                    <a:pt x="402" y="710"/>
                    <a:pt x="399" y="710"/>
                    <a:pt x="399" y="710"/>
                  </a:cubicBezTo>
                  <a:cubicBezTo>
                    <a:pt x="396" y="707"/>
                    <a:pt x="393" y="705"/>
                    <a:pt x="391" y="702"/>
                  </a:cubicBezTo>
                  <a:cubicBezTo>
                    <a:pt x="390" y="701"/>
                    <a:pt x="391" y="699"/>
                    <a:pt x="391" y="697"/>
                  </a:cubicBezTo>
                  <a:cubicBezTo>
                    <a:pt x="391" y="696"/>
                    <a:pt x="388" y="695"/>
                    <a:pt x="387" y="696"/>
                  </a:cubicBezTo>
                  <a:cubicBezTo>
                    <a:pt x="384" y="698"/>
                    <a:pt x="382" y="700"/>
                    <a:pt x="378" y="700"/>
                  </a:cubicBezTo>
                  <a:cubicBezTo>
                    <a:pt x="373" y="700"/>
                    <a:pt x="369" y="703"/>
                    <a:pt x="365" y="706"/>
                  </a:cubicBezTo>
                  <a:cubicBezTo>
                    <a:pt x="364" y="706"/>
                    <a:pt x="363" y="706"/>
                    <a:pt x="362" y="705"/>
                  </a:cubicBezTo>
                  <a:cubicBezTo>
                    <a:pt x="360" y="703"/>
                    <a:pt x="359" y="701"/>
                    <a:pt x="356" y="701"/>
                  </a:cubicBezTo>
                  <a:cubicBezTo>
                    <a:pt x="353" y="700"/>
                    <a:pt x="350" y="700"/>
                    <a:pt x="348" y="698"/>
                  </a:cubicBezTo>
                  <a:cubicBezTo>
                    <a:pt x="346" y="697"/>
                    <a:pt x="346" y="694"/>
                    <a:pt x="345" y="691"/>
                  </a:cubicBezTo>
                  <a:cubicBezTo>
                    <a:pt x="344" y="690"/>
                    <a:pt x="345" y="689"/>
                    <a:pt x="345" y="689"/>
                  </a:cubicBezTo>
                  <a:cubicBezTo>
                    <a:pt x="345" y="688"/>
                    <a:pt x="346" y="688"/>
                    <a:pt x="347" y="688"/>
                  </a:cubicBezTo>
                  <a:cubicBezTo>
                    <a:pt x="351" y="690"/>
                    <a:pt x="356" y="691"/>
                    <a:pt x="360" y="694"/>
                  </a:cubicBezTo>
                  <a:cubicBezTo>
                    <a:pt x="365" y="698"/>
                    <a:pt x="370" y="696"/>
                    <a:pt x="372" y="691"/>
                  </a:cubicBezTo>
                  <a:cubicBezTo>
                    <a:pt x="376" y="684"/>
                    <a:pt x="378" y="678"/>
                    <a:pt x="377" y="671"/>
                  </a:cubicBezTo>
                  <a:cubicBezTo>
                    <a:pt x="377" y="670"/>
                    <a:pt x="376" y="670"/>
                    <a:pt x="376" y="670"/>
                  </a:cubicBezTo>
                  <a:cubicBezTo>
                    <a:pt x="376" y="670"/>
                    <a:pt x="376" y="670"/>
                    <a:pt x="376" y="670"/>
                  </a:cubicBezTo>
                  <a:cubicBezTo>
                    <a:pt x="371" y="669"/>
                    <a:pt x="366" y="672"/>
                    <a:pt x="362" y="676"/>
                  </a:cubicBezTo>
                  <a:cubicBezTo>
                    <a:pt x="361" y="677"/>
                    <a:pt x="360" y="679"/>
                    <a:pt x="361" y="681"/>
                  </a:cubicBezTo>
                  <a:cubicBezTo>
                    <a:pt x="362" y="683"/>
                    <a:pt x="364" y="685"/>
                    <a:pt x="365" y="687"/>
                  </a:cubicBezTo>
                  <a:cubicBezTo>
                    <a:pt x="365" y="687"/>
                    <a:pt x="365" y="689"/>
                    <a:pt x="365" y="689"/>
                  </a:cubicBezTo>
                  <a:cubicBezTo>
                    <a:pt x="364" y="690"/>
                    <a:pt x="363" y="689"/>
                    <a:pt x="362" y="689"/>
                  </a:cubicBezTo>
                  <a:cubicBezTo>
                    <a:pt x="361" y="689"/>
                    <a:pt x="361" y="688"/>
                    <a:pt x="360" y="688"/>
                  </a:cubicBezTo>
                  <a:cubicBezTo>
                    <a:pt x="356" y="685"/>
                    <a:pt x="355" y="680"/>
                    <a:pt x="350" y="678"/>
                  </a:cubicBezTo>
                  <a:cubicBezTo>
                    <a:pt x="350" y="678"/>
                    <a:pt x="350" y="676"/>
                    <a:pt x="350" y="675"/>
                  </a:cubicBezTo>
                  <a:cubicBezTo>
                    <a:pt x="351" y="671"/>
                    <a:pt x="353" y="669"/>
                    <a:pt x="357" y="667"/>
                  </a:cubicBezTo>
                  <a:cubicBezTo>
                    <a:pt x="358" y="666"/>
                    <a:pt x="358" y="665"/>
                    <a:pt x="357" y="664"/>
                  </a:cubicBezTo>
                  <a:cubicBezTo>
                    <a:pt x="356" y="664"/>
                    <a:pt x="356" y="663"/>
                    <a:pt x="356" y="663"/>
                  </a:cubicBezTo>
                  <a:cubicBezTo>
                    <a:pt x="350" y="661"/>
                    <a:pt x="349" y="657"/>
                    <a:pt x="351" y="651"/>
                  </a:cubicBezTo>
                  <a:cubicBezTo>
                    <a:pt x="352" y="649"/>
                    <a:pt x="353" y="647"/>
                    <a:pt x="353" y="644"/>
                  </a:cubicBezTo>
                  <a:cubicBezTo>
                    <a:pt x="352" y="642"/>
                    <a:pt x="351" y="641"/>
                    <a:pt x="349" y="641"/>
                  </a:cubicBezTo>
                  <a:cubicBezTo>
                    <a:pt x="348" y="641"/>
                    <a:pt x="347" y="641"/>
                    <a:pt x="346" y="642"/>
                  </a:cubicBezTo>
                  <a:cubicBezTo>
                    <a:pt x="340" y="645"/>
                    <a:pt x="336" y="651"/>
                    <a:pt x="329" y="653"/>
                  </a:cubicBezTo>
                  <a:cubicBezTo>
                    <a:pt x="328" y="653"/>
                    <a:pt x="327" y="655"/>
                    <a:pt x="327" y="656"/>
                  </a:cubicBezTo>
                  <a:cubicBezTo>
                    <a:pt x="327" y="662"/>
                    <a:pt x="322" y="667"/>
                    <a:pt x="325" y="674"/>
                  </a:cubicBezTo>
                  <a:cubicBezTo>
                    <a:pt x="326" y="674"/>
                    <a:pt x="325" y="675"/>
                    <a:pt x="324" y="676"/>
                  </a:cubicBezTo>
                  <a:cubicBezTo>
                    <a:pt x="324" y="679"/>
                    <a:pt x="324" y="680"/>
                    <a:pt x="326" y="682"/>
                  </a:cubicBezTo>
                  <a:cubicBezTo>
                    <a:pt x="327" y="683"/>
                    <a:pt x="328" y="685"/>
                    <a:pt x="328" y="686"/>
                  </a:cubicBezTo>
                  <a:cubicBezTo>
                    <a:pt x="330" y="693"/>
                    <a:pt x="333" y="699"/>
                    <a:pt x="333" y="706"/>
                  </a:cubicBezTo>
                  <a:cubicBezTo>
                    <a:pt x="333" y="709"/>
                    <a:pt x="328" y="714"/>
                    <a:pt x="325" y="714"/>
                  </a:cubicBezTo>
                  <a:cubicBezTo>
                    <a:pt x="320" y="712"/>
                    <a:pt x="316" y="713"/>
                    <a:pt x="312" y="715"/>
                  </a:cubicBezTo>
                  <a:cubicBezTo>
                    <a:pt x="309" y="717"/>
                    <a:pt x="305" y="718"/>
                    <a:pt x="301" y="719"/>
                  </a:cubicBezTo>
                  <a:cubicBezTo>
                    <a:pt x="296" y="720"/>
                    <a:pt x="292" y="722"/>
                    <a:pt x="288" y="724"/>
                  </a:cubicBezTo>
                  <a:cubicBezTo>
                    <a:pt x="284" y="726"/>
                    <a:pt x="281" y="729"/>
                    <a:pt x="280" y="734"/>
                  </a:cubicBezTo>
                  <a:cubicBezTo>
                    <a:pt x="275" y="748"/>
                    <a:pt x="275" y="748"/>
                    <a:pt x="264" y="756"/>
                  </a:cubicBezTo>
                  <a:cubicBezTo>
                    <a:pt x="261" y="758"/>
                    <a:pt x="258" y="759"/>
                    <a:pt x="255" y="761"/>
                  </a:cubicBezTo>
                  <a:cubicBezTo>
                    <a:pt x="254" y="762"/>
                    <a:pt x="253" y="763"/>
                    <a:pt x="252" y="764"/>
                  </a:cubicBezTo>
                  <a:cubicBezTo>
                    <a:pt x="251" y="766"/>
                    <a:pt x="251" y="768"/>
                    <a:pt x="250" y="770"/>
                  </a:cubicBezTo>
                  <a:cubicBezTo>
                    <a:pt x="249" y="774"/>
                    <a:pt x="247" y="776"/>
                    <a:pt x="244" y="777"/>
                  </a:cubicBezTo>
                  <a:cubicBezTo>
                    <a:pt x="242" y="777"/>
                    <a:pt x="240" y="778"/>
                    <a:pt x="239" y="778"/>
                  </a:cubicBezTo>
                  <a:cubicBezTo>
                    <a:pt x="236" y="779"/>
                    <a:pt x="234" y="780"/>
                    <a:pt x="233" y="783"/>
                  </a:cubicBezTo>
                  <a:cubicBezTo>
                    <a:pt x="231" y="786"/>
                    <a:pt x="228" y="786"/>
                    <a:pt x="224" y="786"/>
                  </a:cubicBezTo>
                  <a:cubicBezTo>
                    <a:pt x="221" y="786"/>
                    <a:pt x="219" y="784"/>
                    <a:pt x="217" y="783"/>
                  </a:cubicBezTo>
                  <a:cubicBezTo>
                    <a:pt x="216" y="782"/>
                    <a:pt x="214" y="782"/>
                    <a:pt x="212" y="782"/>
                  </a:cubicBezTo>
                  <a:cubicBezTo>
                    <a:pt x="211" y="782"/>
                    <a:pt x="209" y="784"/>
                    <a:pt x="209" y="785"/>
                  </a:cubicBezTo>
                  <a:cubicBezTo>
                    <a:pt x="210" y="788"/>
                    <a:pt x="211" y="791"/>
                    <a:pt x="211" y="794"/>
                  </a:cubicBezTo>
                  <a:cubicBezTo>
                    <a:pt x="212" y="796"/>
                    <a:pt x="210" y="798"/>
                    <a:pt x="208" y="798"/>
                  </a:cubicBezTo>
                  <a:cubicBezTo>
                    <a:pt x="204" y="798"/>
                    <a:pt x="200" y="798"/>
                    <a:pt x="196" y="796"/>
                  </a:cubicBezTo>
                  <a:cubicBezTo>
                    <a:pt x="194" y="796"/>
                    <a:pt x="192" y="795"/>
                    <a:pt x="190" y="796"/>
                  </a:cubicBezTo>
                  <a:cubicBezTo>
                    <a:pt x="186" y="797"/>
                    <a:pt x="182" y="798"/>
                    <a:pt x="177" y="799"/>
                  </a:cubicBezTo>
                  <a:cubicBezTo>
                    <a:pt x="176" y="800"/>
                    <a:pt x="175" y="802"/>
                    <a:pt x="175" y="803"/>
                  </a:cubicBezTo>
                  <a:cubicBezTo>
                    <a:pt x="176" y="808"/>
                    <a:pt x="176" y="813"/>
                    <a:pt x="184" y="814"/>
                  </a:cubicBezTo>
                  <a:cubicBezTo>
                    <a:pt x="187" y="814"/>
                    <a:pt x="190" y="816"/>
                    <a:pt x="193" y="817"/>
                  </a:cubicBezTo>
                  <a:cubicBezTo>
                    <a:pt x="199" y="818"/>
                    <a:pt x="202" y="821"/>
                    <a:pt x="204" y="826"/>
                  </a:cubicBezTo>
                  <a:cubicBezTo>
                    <a:pt x="206" y="831"/>
                    <a:pt x="208" y="834"/>
                    <a:pt x="213" y="837"/>
                  </a:cubicBezTo>
                  <a:cubicBezTo>
                    <a:pt x="216" y="838"/>
                    <a:pt x="217" y="841"/>
                    <a:pt x="217" y="844"/>
                  </a:cubicBezTo>
                  <a:cubicBezTo>
                    <a:pt x="217" y="853"/>
                    <a:pt x="216" y="861"/>
                    <a:pt x="215" y="869"/>
                  </a:cubicBezTo>
                  <a:cubicBezTo>
                    <a:pt x="215" y="872"/>
                    <a:pt x="214" y="875"/>
                    <a:pt x="213" y="878"/>
                  </a:cubicBezTo>
                  <a:cubicBezTo>
                    <a:pt x="212" y="881"/>
                    <a:pt x="208" y="884"/>
                    <a:pt x="205" y="883"/>
                  </a:cubicBezTo>
                  <a:cubicBezTo>
                    <a:pt x="199" y="880"/>
                    <a:pt x="193" y="883"/>
                    <a:pt x="187" y="881"/>
                  </a:cubicBezTo>
                  <a:cubicBezTo>
                    <a:pt x="186" y="880"/>
                    <a:pt x="184" y="880"/>
                    <a:pt x="183" y="880"/>
                  </a:cubicBezTo>
                  <a:cubicBezTo>
                    <a:pt x="177" y="882"/>
                    <a:pt x="172" y="881"/>
                    <a:pt x="166" y="880"/>
                  </a:cubicBezTo>
                  <a:cubicBezTo>
                    <a:pt x="160" y="878"/>
                    <a:pt x="155" y="877"/>
                    <a:pt x="149" y="879"/>
                  </a:cubicBezTo>
                  <a:cubicBezTo>
                    <a:pt x="147" y="879"/>
                    <a:pt x="145" y="879"/>
                    <a:pt x="144" y="878"/>
                  </a:cubicBezTo>
                  <a:cubicBezTo>
                    <a:pt x="137" y="876"/>
                    <a:pt x="131" y="876"/>
                    <a:pt x="126" y="882"/>
                  </a:cubicBezTo>
                  <a:cubicBezTo>
                    <a:pt x="125" y="883"/>
                    <a:pt x="123" y="883"/>
                    <a:pt x="121" y="884"/>
                  </a:cubicBezTo>
                  <a:cubicBezTo>
                    <a:pt x="120" y="884"/>
                    <a:pt x="119" y="884"/>
                    <a:pt x="118" y="885"/>
                  </a:cubicBezTo>
                  <a:cubicBezTo>
                    <a:pt x="117" y="886"/>
                    <a:pt x="115" y="889"/>
                    <a:pt x="116" y="890"/>
                  </a:cubicBezTo>
                  <a:cubicBezTo>
                    <a:pt x="119" y="895"/>
                    <a:pt x="121" y="901"/>
                    <a:pt x="119" y="907"/>
                  </a:cubicBezTo>
                  <a:cubicBezTo>
                    <a:pt x="119" y="907"/>
                    <a:pt x="120" y="908"/>
                    <a:pt x="120" y="908"/>
                  </a:cubicBezTo>
                  <a:cubicBezTo>
                    <a:pt x="122" y="920"/>
                    <a:pt x="120" y="931"/>
                    <a:pt x="115" y="941"/>
                  </a:cubicBezTo>
                  <a:cubicBezTo>
                    <a:pt x="113" y="944"/>
                    <a:pt x="112" y="947"/>
                    <a:pt x="111" y="950"/>
                  </a:cubicBezTo>
                  <a:cubicBezTo>
                    <a:pt x="110" y="952"/>
                    <a:pt x="110" y="954"/>
                    <a:pt x="112" y="956"/>
                  </a:cubicBezTo>
                  <a:cubicBezTo>
                    <a:pt x="117" y="962"/>
                    <a:pt x="119" y="968"/>
                    <a:pt x="118" y="975"/>
                  </a:cubicBezTo>
                  <a:cubicBezTo>
                    <a:pt x="118" y="976"/>
                    <a:pt x="118" y="977"/>
                    <a:pt x="118" y="978"/>
                  </a:cubicBezTo>
                  <a:cubicBezTo>
                    <a:pt x="119" y="979"/>
                    <a:pt x="119" y="980"/>
                    <a:pt x="120" y="980"/>
                  </a:cubicBezTo>
                  <a:cubicBezTo>
                    <a:pt x="124" y="981"/>
                    <a:pt x="128" y="984"/>
                    <a:pt x="133" y="982"/>
                  </a:cubicBezTo>
                  <a:cubicBezTo>
                    <a:pt x="135" y="982"/>
                    <a:pt x="137" y="982"/>
                    <a:pt x="139" y="982"/>
                  </a:cubicBezTo>
                  <a:cubicBezTo>
                    <a:pt x="142" y="981"/>
                    <a:pt x="145" y="983"/>
                    <a:pt x="147" y="985"/>
                  </a:cubicBezTo>
                  <a:cubicBezTo>
                    <a:pt x="149" y="988"/>
                    <a:pt x="151" y="991"/>
                    <a:pt x="153" y="994"/>
                  </a:cubicBezTo>
                  <a:cubicBezTo>
                    <a:pt x="155" y="997"/>
                    <a:pt x="160" y="998"/>
                    <a:pt x="163" y="996"/>
                  </a:cubicBezTo>
                  <a:cubicBezTo>
                    <a:pt x="166" y="995"/>
                    <a:pt x="168" y="994"/>
                    <a:pt x="170" y="992"/>
                  </a:cubicBezTo>
                  <a:cubicBezTo>
                    <a:pt x="176" y="988"/>
                    <a:pt x="182" y="987"/>
                    <a:pt x="189" y="987"/>
                  </a:cubicBezTo>
                  <a:cubicBezTo>
                    <a:pt x="194" y="988"/>
                    <a:pt x="199" y="987"/>
                    <a:pt x="204" y="987"/>
                  </a:cubicBezTo>
                  <a:cubicBezTo>
                    <a:pt x="207" y="987"/>
                    <a:pt x="209" y="985"/>
                    <a:pt x="211" y="983"/>
                  </a:cubicBezTo>
                  <a:cubicBezTo>
                    <a:pt x="213" y="980"/>
                    <a:pt x="215" y="979"/>
                    <a:pt x="218" y="978"/>
                  </a:cubicBezTo>
                  <a:cubicBezTo>
                    <a:pt x="222" y="977"/>
                    <a:pt x="224" y="975"/>
                    <a:pt x="225" y="971"/>
                  </a:cubicBezTo>
                  <a:cubicBezTo>
                    <a:pt x="226" y="967"/>
                    <a:pt x="229" y="963"/>
                    <a:pt x="233" y="959"/>
                  </a:cubicBezTo>
                  <a:cubicBezTo>
                    <a:pt x="234" y="958"/>
                    <a:pt x="235" y="956"/>
                    <a:pt x="234" y="954"/>
                  </a:cubicBezTo>
                  <a:cubicBezTo>
                    <a:pt x="227" y="946"/>
                    <a:pt x="231" y="940"/>
                    <a:pt x="236" y="935"/>
                  </a:cubicBezTo>
                  <a:cubicBezTo>
                    <a:pt x="238" y="933"/>
                    <a:pt x="239" y="931"/>
                    <a:pt x="241" y="930"/>
                  </a:cubicBezTo>
                  <a:cubicBezTo>
                    <a:pt x="245" y="925"/>
                    <a:pt x="249" y="920"/>
                    <a:pt x="256" y="919"/>
                  </a:cubicBezTo>
                  <a:cubicBezTo>
                    <a:pt x="264" y="916"/>
                    <a:pt x="269" y="912"/>
                    <a:pt x="269" y="903"/>
                  </a:cubicBezTo>
                  <a:cubicBezTo>
                    <a:pt x="270" y="900"/>
                    <a:pt x="270" y="897"/>
                    <a:pt x="270" y="894"/>
                  </a:cubicBezTo>
                  <a:cubicBezTo>
                    <a:pt x="271" y="892"/>
                    <a:pt x="271" y="891"/>
                    <a:pt x="271" y="889"/>
                  </a:cubicBezTo>
                  <a:cubicBezTo>
                    <a:pt x="273" y="886"/>
                    <a:pt x="278" y="882"/>
                    <a:pt x="282" y="883"/>
                  </a:cubicBezTo>
                  <a:cubicBezTo>
                    <a:pt x="289" y="884"/>
                    <a:pt x="297" y="884"/>
                    <a:pt x="303" y="889"/>
                  </a:cubicBezTo>
                  <a:cubicBezTo>
                    <a:pt x="306" y="891"/>
                    <a:pt x="310" y="890"/>
                    <a:pt x="312" y="887"/>
                  </a:cubicBezTo>
                  <a:cubicBezTo>
                    <a:pt x="317" y="882"/>
                    <a:pt x="322" y="879"/>
                    <a:pt x="328" y="877"/>
                  </a:cubicBezTo>
                  <a:cubicBezTo>
                    <a:pt x="330" y="876"/>
                    <a:pt x="332" y="874"/>
                    <a:pt x="333" y="873"/>
                  </a:cubicBezTo>
                  <a:cubicBezTo>
                    <a:pt x="337" y="869"/>
                    <a:pt x="342" y="868"/>
                    <a:pt x="347" y="870"/>
                  </a:cubicBezTo>
                  <a:cubicBezTo>
                    <a:pt x="352" y="872"/>
                    <a:pt x="355" y="874"/>
                    <a:pt x="358" y="879"/>
                  </a:cubicBezTo>
                  <a:cubicBezTo>
                    <a:pt x="360" y="883"/>
                    <a:pt x="362" y="886"/>
                    <a:pt x="364" y="890"/>
                  </a:cubicBezTo>
                  <a:cubicBezTo>
                    <a:pt x="370" y="896"/>
                    <a:pt x="377" y="901"/>
                    <a:pt x="383" y="908"/>
                  </a:cubicBezTo>
                  <a:cubicBezTo>
                    <a:pt x="388" y="913"/>
                    <a:pt x="393" y="917"/>
                    <a:pt x="400" y="918"/>
                  </a:cubicBezTo>
                  <a:cubicBezTo>
                    <a:pt x="407" y="920"/>
                    <a:pt x="413" y="926"/>
                    <a:pt x="419" y="929"/>
                  </a:cubicBezTo>
                  <a:cubicBezTo>
                    <a:pt x="421" y="933"/>
                    <a:pt x="425" y="935"/>
                    <a:pt x="429" y="937"/>
                  </a:cubicBezTo>
                  <a:cubicBezTo>
                    <a:pt x="430" y="938"/>
                    <a:pt x="432" y="939"/>
                    <a:pt x="432" y="941"/>
                  </a:cubicBezTo>
                  <a:cubicBezTo>
                    <a:pt x="434" y="944"/>
                    <a:pt x="435" y="948"/>
                    <a:pt x="437" y="952"/>
                  </a:cubicBezTo>
                  <a:cubicBezTo>
                    <a:pt x="437" y="953"/>
                    <a:pt x="437" y="954"/>
                    <a:pt x="437" y="955"/>
                  </a:cubicBezTo>
                  <a:cubicBezTo>
                    <a:pt x="435" y="960"/>
                    <a:pt x="434" y="964"/>
                    <a:pt x="427" y="965"/>
                  </a:cubicBezTo>
                  <a:cubicBezTo>
                    <a:pt x="417" y="967"/>
                    <a:pt x="408" y="968"/>
                    <a:pt x="398" y="967"/>
                  </a:cubicBezTo>
                  <a:cubicBezTo>
                    <a:pt x="396" y="967"/>
                    <a:pt x="395" y="968"/>
                    <a:pt x="393" y="969"/>
                  </a:cubicBezTo>
                  <a:cubicBezTo>
                    <a:pt x="392" y="969"/>
                    <a:pt x="392" y="970"/>
                    <a:pt x="391" y="971"/>
                  </a:cubicBezTo>
                  <a:cubicBezTo>
                    <a:pt x="391" y="972"/>
                    <a:pt x="391" y="974"/>
                    <a:pt x="392" y="974"/>
                  </a:cubicBezTo>
                  <a:cubicBezTo>
                    <a:pt x="395" y="976"/>
                    <a:pt x="399" y="978"/>
                    <a:pt x="402" y="979"/>
                  </a:cubicBezTo>
                  <a:cubicBezTo>
                    <a:pt x="409" y="983"/>
                    <a:pt x="416" y="986"/>
                    <a:pt x="422" y="989"/>
                  </a:cubicBezTo>
                  <a:cubicBezTo>
                    <a:pt x="424" y="990"/>
                    <a:pt x="426" y="989"/>
                    <a:pt x="427" y="987"/>
                  </a:cubicBezTo>
                  <a:cubicBezTo>
                    <a:pt x="427" y="986"/>
                    <a:pt x="428" y="985"/>
                    <a:pt x="428" y="983"/>
                  </a:cubicBezTo>
                  <a:cubicBezTo>
                    <a:pt x="428" y="981"/>
                    <a:pt x="427" y="979"/>
                    <a:pt x="427" y="977"/>
                  </a:cubicBezTo>
                  <a:cubicBezTo>
                    <a:pt x="427" y="974"/>
                    <a:pt x="430" y="971"/>
                    <a:pt x="434" y="971"/>
                  </a:cubicBezTo>
                  <a:cubicBezTo>
                    <a:pt x="437" y="971"/>
                    <a:pt x="440" y="970"/>
                    <a:pt x="442" y="967"/>
                  </a:cubicBezTo>
                  <a:cubicBezTo>
                    <a:pt x="444" y="963"/>
                    <a:pt x="447" y="958"/>
                    <a:pt x="450" y="954"/>
                  </a:cubicBezTo>
                  <a:cubicBezTo>
                    <a:pt x="451" y="951"/>
                    <a:pt x="451" y="948"/>
                    <a:pt x="449" y="945"/>
                  </a:cubicBezTo>
                  <a:cubicBezTo>
                    <a:pt x="448" y="944"/>
                    <a:pt x="447" y="942"/>
                    <a:pt x="447" y="941"/>
                  </a:cubicBezTo>
                  <a:cubicBezTo>
                    <a:pt x="446" y="939"/>
                    <a:pt x="446" y="937"/>
                    <a:pt x="447" y="935"/>
                  </a:cubicBezTo>
                  <a:cubicBezTo>
                    <a:pt x="448" y="932"/>
                    <a:pt x="452" y="930"/>
                    <a:pt x="455" y="932"/>
                  </a:cubicBezTo>
                  <a:cubicBezTo>
                    <a:pt x="458" y="934"/>
                    <a:pt x="460" y="936"/>
                    <a:pt x="463" y="938"/>
                  </a:cubicBezTo>
                  <a:cubicBezTo>
                    <a:pt x="463" y="938"/>
                    <a:pt x="465" y="938"/>
                    <a:pt x="465" y="937"/>
                  </a:cubicBezTo>
                  <a:cubicBezTo>
                    <a:pt x="468" y="934"/>
                    <a:pt x="467" y="930"/>
                    <a:pt x="465" y="929"/>
                  </a:cubicBezTo>
                  <a:cubicBezTo>
                    <a:pt x="456" y="924"/>
                    <a:pt x="449" y="917"/>
                    <a:pt x="439" y="914"/>
                  </a:cubicBezTo>
                  <a:cubicBezTo>
                    <a:pt x="436" y="914"/>
                    <a:pt x="435" y="912"/>
                    <a:pt x="435" y="909"/>
                  </a:cubicBezTo>
                  <a:cubicBezTo>
                    <a:pt x="435" y="908"/>
                    <a:pt x="434" y="907"/>
                    <a:pt x="433" y="906"/>
                  </a:cubicBezTo>
                  <a:cubicBezTo>
                    <a:pt x="431" y="906"/>
                    <a:pt x="429" y="905"/>
                    <a:pt x="427" y="905"/>
                  </a:cubicBezTo>
                  <a:cubicBezTo>
                    <a:pt x="422" y="905"/>
                    <a:pt x="418" y="903"/>
                    <a:pt x="414" y="899"/>
                  </a:cubicBezTo>
                  <a:cubicBezTo>
                    <a:pt x="412" y="896"/>
                    <a:pt x="409" y="893"/>
                    <a:pt x="408" y="890"/>
                  </a:cubicBezTo>
                  <a:cubicBezTo>
                    <a:pt x="405" y="884"/>
                    <a:pt x="400" y="880"/>
                    <a:pt x="395" y="876"/>
                  </a:cubicBezTo>
                  <a:cubicBezTo>
                    <a:pt x="393" y="874"/>
                    <a:pt x="391" y="873"/>
                    <a:pt x="389" y="871"/>
                  </a:cubicBezTo>
                  <a:cubicBezTo>
                    <a:pt x="386" y="869"/>
                    <a:pt x="385" y="866"/>
                    <a:pt x="385" y="863"/>
                  </a:cubicBezTo>
                  <a:cubicBezTo>
                    <a:pt x="385" y="860"/>
                    <a:pt x="385" y="858"/>
                    <a:pt x="385" y="855"/>
                  </a:cubicBezTo>
                  <a:cubicBezTo>
                    <a:pt x="385" y="853"/>
                    <a:pt x="386" y="852"/>
                    <a:pt x="388" y="851"/>
                  </a:cubicBezTo>
                  <a:cubicBezTo>
                    <a:pt x="390" y="850"/>
                    <a:pt x="393" y="849"/>
                    <a:pt x="395" y="848"/>
                  </a:cubicBezTo>
                  <a:cubicBezTo>
                    <a:pt x="396" y="848"/>
                    <a:pt x="398" y="849"/>
                    <a:pt x="398" y="850"/>
                  </a:cubicBezTo>
                  <a:cubicBezTo>
                    <a:pt x="399" y="852"/>
                    <a:pt x="399" y="855"/>
                    <a:pt x="400" y="857"/>
                  </a:cubicBezTo>
                  <a:cubicBezTo>
                    <a:pt x="401" y="859"/>
                    <a:pt x="402" y="861"/>
                    <a:pt x="405" y="861"/>
                  </a:cubicBezTo>
                  <a:cubicBezTo>
                    <a:pt x="408" y="860"/>
                    <a:pt x="411" y="863"/>
                    <a:pt x="414" y="863"/>
                  </a:cubicBezTo>
                  <a:cubicBezTo>
                    <a:pt x="416" y="862"/>
                    <a:pt x="418" y="864"/>
                    <a:pt x="419" y="866"/>
                  </a:cubicBezTo>
                  <a:cubicBezTo>
                    <a:pt x="421" y="873"/>
                    <a:pt x="426" y="877"/>
                    <a:pt x="432" y="881"/>
                  </a:cubicBezTo>
                  <a:cubicBezTo>
                    <a:pt x="437" y="884"/>
                    <a:pt x="442" y="888"/>
                    <a:pt x="448" y="888"/>
                  </a:cubicBezTo>
                  <a:cubicBezTo>
                    <a:pt x="451" y="890"/>
                    <a:pt x="453" y="893"/>
                    <a:pt x="457" y="893"/>
                  </a:cubicBezTo>
                  <a:cubicBezTo>
                    <a:pt x="461" y="894"/>
                    <a:pt x="464" y="896"/>
                    <a:pt x="466" y="899"/>
                  </a:cubicBezTo>
                  <a:cubicBezTo>
                    <a:pt x="470" y="902"/>
                    <a:pt x="472" y="905"/>
                    <a:pt x="475" y="908"/>
                  </a:cubicBezTo>
                  <a:cubicBezTo>
                    <a:pt x="477" y="910"/>
                    <a:pt x="478" y="911"/>
                    <a:pt x="477" y="914"/>
                  </a:cubicBezTo>
                  <a:cubicBezTo>
                    <a:pt x="477" y="917"/>
                    <a:pt x="478" y="920"/>
                    <a:pt x="477" y="923"/>
                  </a:cubicBezTo>
                  <a:cubicBezTo>
                    <a:pt x="477" y="929"/>
                    <a:pt x="478" y="933"/>
                    <a:pt x="483" y="937"/>
                  </a:cubicBezTo>
                  <a:cubicBezTo>
                    <a:pt x="483" y="937"/>
                    <a:pt x="484" y="938"/>
                    <a:pt x="484" y="938"/>
                  </a:cubicBezTo>
                  <a:cubicBezTo>
                    <a:pt x="482" y="943"/>
                    <a:pt x="486" y="944"/>
                    <a:pt x="489" y="947"/>
                  </a:cubicBezTo>
                  <a:cubicBezTo>
                    <a:pt x="492" y="949"/>
                    <a:pt x="494" y="951"/>
                    <a:pt x="496" y="953"/>
                  </a:cubicBezTo>
                  <a:cubicBezTo>
                    <a:pt x="497" y="958"/>
                    <a:pt x="502" y="960"/>
                    <a:pt x="502" y="965"/>
                  </a:cubicBezTo>
                  <a:cubicBezTo>
                    <a:pt x="504" y="966"/>
                    <a:pt x="504" y="967"/>
                    <a:pt x="502" y="968"/>
                  </a:cubicBezTo>
                  <a:cubicBezTo>
                    <a:pt x="502" y="969"/>
                    <a:pt x="502" y="970"/>
                    <a:pt x="503" y="972"/>
                  </a:cubicBezTo>
                  <a:cubicBezTo>
                    <a:pt x="507" y="974"/>
                    <a:pt x="511" y="978"/>
                    <a:pt x="512" y="983"/>
                  </a:cubicBezTo>
                  <a:cubicBezTo>
                    <a:pt x="512" y="984"/>
                    <a:pt x="514" y="986"/>
                    <a:pt x="515" y="986"/>
                  </a:cubicBezTo>
                  <a:cubicBezTo>
                    <a:pt x="519" y="988"/>
                    <a:pt x="524" y="989"/>
                    <a:pt x="528" y="989"/>
                  </a:cubicBezTo>
                  <a:cubicBezTo>
                    <a:pt x="530" y="988"/>
                    <a:pt x="532" y="987"/>
                    <a:pt x="531" y="986"/>
                  </a:cubicBezTo>
                  <a:cubicBezTo>
                    <a:pt x="528" y="981"/>
                    <a:pt x="534" y="977"/>
                    <a:pt x="534" y="973"/>
                  </a:cubicBezTo>
                  <a:cubicBezTo>
                    <a:pt x="534" y="973"/>
                    <a:pt x="535" y="972"/>
                    <a:pt x="535" y="972"/>
                  </a:cubicBezTo>
                  <a:cubicBezTo>
                    <a:pt x="539" y="974"/>
                    <a:pt x="542" y="970"/>
                    <a:pt x="546" y="969"/>
                  </a:cubicBezTo>
                  <a:cubicBezTo>
                    <a:pt x="547" y="969"/>
                    <a:pt x="547" y="968"/>
                    <a:pt x="547" y="967"/>
                  </a:cubicBezTo>
                  <a:cubicBezTo>
                    <a:pt x="546" y="963"/>
                    <a:pt x="544" y="959"/>
                    <a:pt x="540" y="957"/>
                  </a:cubicBezTo>
                  <a:cubicBezTo>
                    <a:pt x="538" y="956"/>
                    <a:pt x="536" y="955"/>
                    <a:pt x="535" y="953"/>
                  </a:cubicBezTo>
                  <a:cubicBezTo>
                    <a:pt x="530" y="948"/>
                    <a:pt x="526" y="942"/>
                    <a:pt x="523" y="936"/>
                  </a:cubicBezTo>
                  <a:cubicBezTo>
                    <a:pt x="522" y="936"/>
                    <a:pt x="522" y="934"/>
                    <a:pt x="522" y="933"/>
                  </a:cubicBezTo>
                  <a:cubicBezTo>
                    <a:pt x="522" y="933"/>
                    <a:pt x="522" y="932"/>
                    <a:pt x="523" y="932"/>
                  </a:cubicBezTo>
                  <a:cubicBezTo>
                    <a:pt x="523" y="931"/>
                    <a:pt x="524" y="931"/>
                    <a:pt x="525" y="931"/>
                  </a:cubicBezTo>
                  <a:cubicBezTo>
                    <a:pt x="526" y="932"/>
                    <a:pt x="527" y="933"/>
                    <a:pt x="528" y="934"/>
                  </a:cubicBezTo>
                  <a:cubicBezTo>
                    <a:pt x="532" y="937"/>
                    <a:pt x="537" y="936"/>
                    <a:pt x="539" y="931"/>
                  </a:cubicBezTo>
                  <a:cubicBezTo>
                    <a:pt x="540" y="929"/>
                    <a:pt x="540" y="927"/>
                    <a:pt x="541" y="925"/>
                  </a:cubicBezTo>
                  <a:cubicBezTo>
                    <a:pt x="542" y="924"/>
                    <a:pt x="543" y="924"/>
                    <a:pt x="544" y="924"/>
                  </a:cubicBezTo>
                  <a:cubicBezTo>
                    <a:pt x="546" y="925"/>
                    <a:pt x="548" y="925"/>
                    <a:pt x="550" y="924"/>
                  </a:cubicBezTo>
                  <a:cubicBezTo>
                    <a:pt x="553" y="921"/>
                    <a:pt x="556" y="922"/>
                    <a:pt x="560" y="922"/>
                  </a:cubicBezTo>
                  <a:cubicBezTo>
                    <a:pt x="564" y="923"/>
                    <a:pt x="568" y="926"/>
                    <a:pt x="568" y="931"/>
                  </a:cubicBezTo>
                  <a:cubicBezTo>
                    <a:pt x="568" y="937"/>
                    <a:pt x="568" y="943"/>
                    <a:pt x="566" y="949"/>
                  </a:cubicBezTo>
                  <a:cubicBezTo>
                    <a:pt x="566" y="950"/>
                    <a:pt x="567" y="952"/>
                    <a:pt x="569" y="952"/>
                  </a:cubicBezTo>
                  <a:cubicBezTo>
                    <a:pt x="571" y="952"/>
                    <a:pt x="572" y="952"/>
                    <a:pt x="574" y="952"/>
                  </a:cubicBezTo>
                  <a:cubicBezTo>
                    <a:pt x="574" y="952"/>
                    <a:pt x="575" y="952"/>
                    <a:pt x="576" y="952"/>
                  </a:cubicBezTo>
                  <a:cubicBezTo>
                    <a:pt x="576" y="952"/>
                    <a:pt x="577" y="953"/>
                    <a:pt x="577" y="953"/>
                  </a:cubicBezTo>
                  <a:cubicBezTo>
                    <a:pt x="577" y="954"/>
                    <a:pt x="577" y="955"/>
                    <a:pt x="576" y="956"/>
                  </a:cubicBezTo>
                  <a:cubicBezTo>
                    <a:pt x="575" y="959"/>
                    <a:pt x="571" y="959"/>
                    <a:pt x="568" y="960"/>
                  </a:cubicBezTo>
                  <a:cubicBezTo>
                    <a:pt x="568" y="960"/>
                    <a:pt x="567" y="961"/>
                    <a:pt x="567" y="961"/>
                  </a:cubicBezTo>
                  <a:cubicBezTo>
                    <a:pt x="566" y="962"/>
                    <a:pt x="567" y="963"/>
                    <a:pt x="568" y="964"/>
                  </a:cubicBezTo>
                  <a:cubicBezTo>
                    <a:pt x="570" y="965"/>
                    <a:pt x="572" y="966"/>
                    <a:pt x="574" y="967"/>
                  </a:cubicBezTo>
                  <a:cubicBezTo>
                    <a:pt x="575" y="967"/>
                    <a:pt x="577" y="968"/>
                    <a:pt x="578" y="969"/>
                  </a:cubicBezTo>
                  <a:cubicBezTo>
                    <a:pt x="580" y="971"/>
                    <a:pt x="576" y="973"/>
                    <a:pt x="578" y="974"/>
                  </a:cubicBezTo>
                  <a:cubicBezTo>
                    <a:pt x="580" y="976"/>
                    <a:pt x="583" y="977"/>
                    <a:pt x="585" y="980"/>
                  </a:cubicBezTo>
                  <a:cubicBezTo>
                    <a:pt x="586" y="983"/>
                    <a:pt x="589" y="985"/>
                    <a:pt x="591" y="987"/>
                  </a:cubicBezTo>
                  <a:cubicBezTo>
                    <a:pt x="593" y="988"/>
                    <a:pt x="595" y="989"/>
                    <a:pt x="597" y="988"/>
                  </a:cubicBezTo>
                  <a:cubicBezTo>
                    <a:pt x="602" y="987"/>
                    <a:pt x="606" y="988"/>
                    <a:pt x="609" y="992"/>
                  </a:cubicBezTo>
                  <a:cubicBezTo>
                    <a:pt x="610" y="993"/>
                    <a:pt x="612" y="994"/>
                    <a:pt x="613" y="995"/>
                  </a:cubicBezTo>
                  <a:cubicBezTo>
                    <a:pt x="614" y="995"/>
                    <a:pt x="615" y="996"/>
                    <a:pt x="616" y="996"/>
                  </a:cubicBezTo>
                  <a:cubicBezTo>
                    <a:pt x="621" y="995"/>
                    <a:pt x="627" y="995"/>
                    <a:pt x="631" y="990"/>
                  </a:cubicBezTo>
                  <a:cubicBezTo>
                    <a:pt x="634" y="987"/>
                    <a:pt x="637" y="987"/>
                    <a:pt x="641" y="988"/>
                  </a:cubicBezTo>
                  <a:cubicBezTo>
                    <a:pt x="645" y="988"/>
                    <a:pt x="648" y="990"/>
                    <a:pt x="651" y="993"/>
                  </a:cubicBezTo>
                  <a:cubicBezTo>
                    <a:pt x="656" y="997"/>
                    <a:pt x="661" y="997"/>
                    <a:pt x="666" y="996"/>
                  </a:cubicBezTo>
                  <a:cubicBezTo>
                    <a:pt x="673" y="995"/>
                    <a:pt x="678" y="992"/>
                    <a:pt x="682" y="988"/>
                  </a:cubicBezTo>
                  <a:cubicBezTo>
                    <a:pt x="683" y="986"/>
                    <a:pt x="685" y="985"/>
                    <a:pt x="688" y="986"/>
                  </a:cubicBezTo>
                  <a:cubicBezTo>
                    <a:pt x="692" y="988"/>
                    <a:pt x="696" y="987"/>
                    <a:pt x="700" y="988"/>
                  </a:cubicBezTo>
                  <a:cubicBezTo>
                    <a:pt x="700" y="988"/>
                    <a:pt x="700" y="987"/>
                    <a:pt x="701" y="987"/>
                  </a:cubicBezTo>
                  <a:cubicBezTo>
                    <a:pt x="701" y="987"/>
                    <a:pt x="701" y="987"/>
                    <a:pt x="701" y="987"/>
                  </a:cubicBezTo>
                  <a:cubicBezTo>
                    <a:pt x="701" y="988"/>
                    <a:pt x="701" y="988"/>
                    <a:pt x="701" y="988"/>
                  </a:cubicBezTo>
                  <a:cubicBezTo>
                    <a:pt x="701" y="988"/>
                    <a:pt x="701" y="988"/>
                    <a:pt x="700" y="988"/>
                  </a:cubicBezTo>
                  <a:cubicBezTo>
                    <a:pt x="698" y="993"/>
                    <a:pt x="699" y="999"/>
                    <a:pt x="700" y="1004"/>
                  </a:cubicBezTo>
                  <a:cubicBezTo>
                    <a:pt x="701" y="1010"/>
                    <a:pt x="701" y="1015"/>
                    <a:pt x="699" y="1020"/>
                  </a:cubicBezTo>
                  <a:cubicBezTo>
                    <a:pt x="698" y="1024"/>
                    <a:pt x="697" y="1028"/>
                    <a:pt x="695" y="1032"/>
                  </a:cubicBezTo>
                  <a:cubicBezTo>
                    <a:pt x="693" y="1037"/>
                    <a:pt x="690" y="1042"/>
                    <a:pt x="689" y="1048"/>
                  </a:cubicBezTo>
                  <a:cubicBezTo>
                    <a:pt x="688" y="1053"/>
                    <a:pt x="685" y="1058"/>
                    <a:pt x="682" y="1062"/>
                  </a:cubicBezTo>
                  <a:cubicBezTo>
                    <a:pt x="680" y="1063"/>
                    <a:pt x="679" y="1065"/>
                    <a:pt x="676" y="1065"/>
                  </a:cubicBezTo>
                  <a:cubicBezTo>
                    <a:pt x="668" y="1065"/>
                    <a:pt x="660" y="1066"/>
                    <a:pt x="652" y="1063"/>
                  </a:cubicBezTo>
                  <a:cubicBezTo>
                    <a:pt x="649" y="1062"/>
                    <a:pt x="646" y="1062"/>
                    <a:pt x="642" y="1061"/>
                  </a:cubicBezTo>
                  <a:cubicBezTo>
                    <a:pt x="635" y="1061"/>
                    <a:pt x="628" y="1063"/>
                    <a:pt x="622" y="1067"/>
                  </a:cubicBezTo>
                  <a:cubicBezTo>
                    <a:pt x="619" y="1068"/>
                    <a:pt x="616" y="1068"/>
                    <a:pt x="612" y="1068"/>
                  </a:cubicBezTo>
                  <a:cubicBezTo>
                    <a:pt x="601" y="1065"/>
                    <a:pt x="589" y="1062"/>
                    <a:pt x="577" y="1061"/>
                  </a:cubicBezTo>
                  <a:cubicBezTo>
                    <a:pt x="573" y="1060"/>
                    <a:pt x="568" y="1060"/>
                    <a:pt x="564" y="1058"/>
                  </a:cubicBezTo>
                  <a:cubicBezTo>
                    <a:pt x="559" y="1055"/>
                    <a:pt x="553" y="1054"/>
                    <a:pt x="547" y="1053"/>
                  </a:cubicBezTo>
                  <a:cubicBezTo>
                    <a:pt x="542" y="1052"/>
                    <a:pt x="538" y="1050"/>
                    <a:pt x="534" y="1047"/>
                  </a:cubicBezTo>
                  <a:cubicBezTo>
                    <a:pt x="532" y="1045"/>
                    <a:pt x="530" y="1044"/>
                    <a:pt x="528" y="1044"/>
                  </a:cubicBezTo>
                  <a:cubicBezTo>
                    <a:pt x="519" y="1042"/>
                    <a:pt x="510" y="1042"/>
                    <a:pt x="501" y="1046"/>
                  </a:cubicBezTo>
                  <a:cubicBezTo>
                    <a:pt x="495" y="1049"/>
                    <a:pt x="490" y="1057"/>
                    <a:pt x="492" y="1063"/>
                  </a:cubicBezTo>
                  <a:cubicBezTo>
                    <a:pt x="493" y="1065"/>
                    <a:pt x="494" y="1067"/>
                    <a:pt x="494" y="1069"/>
                  </a:cubicBezTo>
                  <a:cubicBezTo>
                    <a:pt x="495" y="1071"/>
                    <a:pt x="494" y="1073"/>
                    <a:pt x="493" y="1075"/>
                  </a:cubicBezTo>
                  <a:cubicBezTo>
                    <a:pt x="492" y="1076"/>
                    <a:pt x="490" y="1077"/>
                    <a:pt x="489" y="1078"/>
                  </a:cubicBezTo>
                  <a:cubicBezTo>
                    <a:pt x="486" y="1081"/>
                    <a:pt x="482" y="1082"/>
                    <a:pt x="479" y="1080"/>
                  </a:cubicBezTo>
                  <a:cubicBezTo>
                    <a:pt x="477" y="1079"/>
                    <a:pt x="475" y="1078"/>
                    <a:pt x="473" y="1076"/>
                  </a:cubicBezTo>
                  <a:cubicBezTo>
                    <a:pt x="470" y="1075"/>
                    <a:pt x="468" y="1073"/>
                    <a:pt x="465" y="1071"/>
                  </a:cubicBezTo>
                  <a:cubicBezTo>
                    <a:pt x="458" y="1068"/>
                    <a:pt x="451" y="1065"/>
                    <a:pt x="443" y="1065"/>
                  </a:cubicBezTo>
                  <a:cubicBezTo>
                    <a:pt x="439" y="1065"/>
                    <a:pt x="437" y="1063"/>
                    <a:pt x="435" y="1060"/>
                  </a:cubicBezTo>
                  <a:cubicBezTo>
                    <a:pt x="434" y="1058"/>
                    <a:pt x="434" y="1056"/>
                    <a:pt x="433" y="1054"/>
                  </a:cubicBezTo>
                  <a:cubicBezTo>
                    <a:pt x="432" y="1051"/>
                    <a:pt x="429" y="1049"/>
                    <a:pt x="426" y="1048"/>
                  </a:cubicBezTo>
                  <a:cubicBezTo>
                    <a:pt x="417" y="1045"/>
                    <a:pt x="407" y="1042"/>
                    <a:pt x="397" y="1043"/>
                  </a:cubicBezTo>
                  <a:cubicBezTo>
                    <a:pt x="391" y="1044"/>
                    <a:pt x="386" y="1041"/>
                    <a:pt x="381" y="1039"/>
                  </a:cubicBezTo>
                  <a:cubicBezTo>
                    <a:pt x="381" y="1039"/>
                    <a:pt x="380" y="1039"/>
                    <a:pt x="380" y="1039"/>
                  </a:cubicBezTo>
                  <a:cubicBezTo>
                    <a:pt x="376" y="1035"/>
                    <a:pt x="371" y="1033"/>
                    <a:pt x="366" y="1031"/>
                  </a:cubicBezTo>
                  <a:cubicBezTo>
                    <a:pt x="364" y="1030"/>
                    <a:pt x="363" y="1026"/>
                    <a:pt x="364" y="1024"/>
                  </a:cubicBezTo>
                  <a:cubicBezTo>
                    <a:pt x="367" y="1022"/>
                    <a:pt x="369" y="1020"/>
                    <a:pt x="371" y="1018"/>
                  </a:cubicBezTo>
                  <a:cubicBezTo>
                    <a:pt x="375" y="1014"/>
                    <a:pt x="375" y="1010"/>
                    <a:pt x="373" y="1006"/>
                  </a:cubicBezTo>
                  <a:cubicBezTo>
                    <a:pt x="372" y="1003"/>
                    <a:pt x="370" y="1002"/>
                    <a:pt x="368" y="999"/>
                  </a:cubicBezTo>
                  <a:cubicBezTo>
                    <a:pt x="368" y="999"/>
                    <a:pt x="368" y="997"/>
                    <a:pt x="368" y="996"/>
                  </a:cubicBezTo>
                  <a:cubicBezTo>
                    <a:pt x="369" y="993"/>
                    <a:pt x="371" y="991"/>
                    <a:pt x="372" y="988"/>
                  </a:cubicBezTo>
                  <a:cubicBezTo>
                    <a:pt x="373" y="986"/>
                    <a:pt x="371" y="985"/>
                    <a:pt x="369" y="985"/>
                  </a:cubicBezTo>
                  <a:cubicBezTo>
                    <a:pt x="366" y="986"/>
                    <a:pt x="364" y="986"/>
                    <a:pt x="362" y="983"/>
                  </a:cubicBezTo>
                  <a:cubicBezTo>
                    <a:pt x="359" y="980"/>
                    <a:pt x="354" y="980"/>
                    <a:pt x="350" y="981"/>
                  </a:cubicBezTo>
                  <a:cubicBezTo>
                    <a:pt x="345" y="982"/>
                    <a:pt x="341" y="984"/>
                    <a:pt x="337" y="985"/>
                  </a:cubicBezTo>
                  <a:cubicBezTo>
                    <a:pt x="335" y="985"/>
                    <a:pt x="332" y="985"/>
                    <a:pt x="329" y="985"/>
                  </a:cubicBezTo>
                  <a:cubicBezTo>
                    <a:pt x="325" y="982"/>
                    <a:pt x="320" y="987"/>
                    <a:pt x="316" y="985"/>
                  </a:cubicBezTo>
                  <a:cubicBezTo>
                    <a:pt x="312" y="982"/>
                    <a:pt x="308" y="986"/>
                    <a:pt x="304" y="986"/>
                  </a:cubicBezTo>
                  <a:cubicBezTo>
                    <a:pt x="301" y="987"/>
                    <a:pt x="297" y="987"/>
                    <a:pt x="294" y="987"/>
                  </a:cubicBezTo>
                  <a:cubicBezTo>
                    <a:pt x="286" y="985"/>
                    <a:pt x="277" y="986"/>
                    <a:pt x="270" y="988"/>
                  </a:cubicBezTo>
                  <a:cubicBezTo>
                    <a:pt x="265" y="990"/>
                    <a:pt x="261" y="989"/>
                    <a:pt x="256" y="990"/>
                  </a:cubicBezTo>
                  <a:cubicBezTo>
                    <a:pt x="253" y="990"/>
                    <a:pt x="249" y="991"/>
                    <a:pt x="245" y="992"/>
                  </a:cubicBezTo>
                  <a:cubicBezTo>
                    <a:pt x="240" y="995"/>
                    <a:pt x="234" y="998"/>
                    <a:pt x="228" y="1001"/>
                  </a:cubicBezTo>
                  <a:cubicBezTo>
                    <a:pt x="223" y="1002"/>
                    <a:pt x="219" y="1004"/>
                    <a:pt x="215" y="1008"/>
                  </a:cubicBezTo>
                  <a:cubicBezTo>
                    <a:pt x="211" y="1012"/>
                    <a:pt x="205" y="1012"/>
                    <a:pt x="200" y="1010"/>
                  </a:cubicBezTo>
                  <a:cubicBezTo>
                    <a:pt x="195" y="1008"/>
                    <a:pt x="191" y="1008"/>
                    <a:pt x="187" y="1008"/>
                  </a:cubicBezTo>
                  <a:cubicBezTo>
                    <a:pt x="183" y="1009"/>
                    <a:pt x="178" y="1009"/>
                    <a:pt x="174" y="1009"/>
                  </a:cubicBezTo>
                  <a:cubicBezTo>
                    <a:pt x="172" y="1008"/>
                    <a:pt x="170" y="1007"/>
                    <a:pt x="168" y="1006"/>
                  </a:cubicBezTo>
                  <a:cubicBezTo>
                    <a:pt x="167" y="1006"/>
                    <a:pt x="166" y="1005"/>
                    <a:pt x="166" y="1004"/>
                  </a:cubicBezTo>
                  <a:cubicBezTo>
                    <a:pt x="161" y="1000"/>
                    <a:pt x="157" y="1001"/>
                    <a:pt x="155" y="1006"/>
                  </a:cubicBezTo>
                  <a:cubicBezTo>
                    <a:pt x="154" y="1009"/>
                    <a:pt x="152" y="1012"/>
                    <a:pt x="152" y="1015"/>
                  </a:cubicBezTo>
                  <a:cubicBezTo>
                    <a:pt x="150" y="1023"/>
                    <a:pt x="145" y="1027"/>
                    <a:pt x="139" y="1030"/>
                  </a:cubicBezTo>
                  <a:cubicBezTo>
                    <a:pt x="133" y="1033"/>
                    <a:pt x="127" y="1037"/>
                    <a:pt x="122" y="1040"/>
                  </a:cubicBezTo>
                  <a:cubicBezTo>
                    <a:pt x="117" y="1043"/>
                    <a:pt x="112" y="1047"/>
                    <a:pt x="112" y="1053"/>
                  </a:cubicBezTo>
                  <a:cubicBezTo>
                    <a:pt x="112" y="1056"/>
                    <a:pt x="110" y="1058"/>
                    <a:pt x="108" y="1060"/>
                  </a:cubicBezTo>
                  <a:cubicBezTo>
                    <a:pt x="105" y="1064"/>
                    <a:pt x="104" y="1068"/>
                    <a:pt x="105" y="1072"/>
                  </a:cubicBezTo>
                  <a:cubicBezTo>
                    <a:pt x="105" y="1075"/>
                    <a:pt x="105" y="1078"/>
                    <a:pt x="105" y="1081"/>
                  </a:cubicBezTo>
                  <a:cubicBezTo>
                    <a:pt x="105" y="1084"/>
                    <a:pt x="104" y="1087"/>
                    <a:pt x="103" y="1089"/>
                  </a:cubicBezTo>
                  <a:cubicBezTo>
                    <a:pt x="101" y="1092"/>
                    <a:pt x="98" y="1095"/>
                    <a:pt x="96" y="1098"/>
                  </a:cubicBezTo>
                  <a:cubicBezTo>
                    <a:pt x="95" y="1099"/>
                    <a:pt x="93" y="1101"/>
                    <a:pt x="91" y="1102"/>
                  </a:cubicBezTo>
                  <a:cubicBezTo>
                    <a:pt x="89" y="1104"/>
                    <a:pt x="86" y="1105"/>
                    <a:pt x="83" y="1107"/>
                  </a:cubicBezTo>
                  <a:cubicBezTo>
                    <a:pt x="80" y="1110"/>
                    <a:pt x="76" y="1112"/>
                    <a:pt x="71" y="1112"/>
                  </a:cubicBezTo>
                  <a:cubicBezTo>
                    <a:pt x="67" y="1113"/>
                    <a:pt x="64" y="1115"/>
                    <a:pt x="62" y="1118"/>
                  </a:cubicBezTo>
                  <a:cubicBezTo>
                    <a:pt x="61" y="1120"/>
                    <a:pt x="59" y="1121"/>
                    <a:pt x="58" y="1123"/>
                  </a:cubicBezTo>
                  <a:cubicBezTo>
                    <a:pt x="57" y="1127"/>
                    <a:pt x="54" y="1130"/>
                    <a:pt x="50" y="1132"/>
                  </a:cubicBezTo>
                  <a:cubicBezTo>
                    <a:pt x="45" y="1135"/>
                    <a:pt x="43" y="1139"/>
                    <a:pt x="40" y="1143"/>
                  </a:cubicBezTo>
                  <a:cubicBezTo>
                    <a:pt x="36" y="1150"/>
                    <a:pt x="33" y="1158"/>
                    <a:pt x="26" y="1164"/>
                  </a:cubicBezTo>
                  <a:cubicBezTo>
                    <a:pt x="24" y="1165"/>
                    <a:pt x="23" y="1167"/>
                    <a:pt x="22" y="1169"/>
                  </a:cubicBezTo>
                  <a:cubicBezTo>
                    <a:pt x="18" y="1177"/>
                    <a:pt x="14" y="1185"/>
                    <a:pt x="9" y="1192"/>
                  </a:cubicBezTo>
                  <a:cubicBezTo>
                    <a:pt x="7" y="1195"/>
                    <a:pt x="6" y="1199"/>
                    <a:pt x="6" y="1202"/>
                  </a:cubicBezTo>
                  <a:cubicBezTo>
                    <a:pt x="5" y="1207"/>
                    <a:pt x="6" y="1211"/>
                    <a:pt x="10" y="1213"/>
                  </a:cubicBezTo>
                  <a:cubicBezTo>
                    <a:pt x="14" y="1215"/>
                    <a:pt x="15" y="1219"/>
                    <a:pt x="14" y="1223"/>
                  </a:cubicBezTo>
                  <a:cubicBezTo>
                    <a:pt x="13" y="1226"/>
                    <a:pt x="13" y="1230"/>
                    <a:pt x="14" y="1233"/>
                  </a:cubicBezTo>
                  <a:cubicBezTo>
                    <a:pt x="17" y="1242"/>
                    <a:pt x="18" y="1252"/>
                    <a:pt x="13" y="1261"/>
                  </a:cubicBezTo>
                  <a:cubicBezTo>
                    <a:pt x="12" y="1262"/>
                    <a:pt x="12" y="1263"/>
                    <a:pt x="12" y="1264"/>
                  </a:cubicBezTo>
                  <a:cubicBezTo>
                    <a:pt x="10" y="1273"/>
                    <a:pt x="8" y="1282"/>
                    <a:pt x="0" y="1289"/>
                  </a:cubicBezTo>
                  <a:cubicBezTo>
                    <a:pt x="0" y="1290"/>
                    <a:pt x="0" y="1291"/>
                    <a:pt x="0" y="1292"/>
                  </a:cubicBezTo>
                  <a:cubicBezTo>
                    <a:pt x="2" y="1295"/>
                    <a:pt x="4" y="1297"/>
                    <a:pt x="6" y="1300"/>
                  </a:cubicBezTo>
                  <a:cubicBezTo>
                    <a:pt x="7" y="1303"/>
                    <a:pt x="9" y="1305"/>
                    <a:pt x="7" y="1309"/>
                  </a:cubicBezTo>
                  <a:cubicBezTo>
                    <a:pt x="5" y="1313"/>
                    <a:pt x="6" y="1318"/>
                    <a:pt x="9" y="1322"/>
                  </a:cubicBezTo>
                  <a:cubicBezTo>
                    <a:pt x="10" y="1326"/>
                    <a:pt x="13" y="1328"/>
                    <a:pt x="17" y="1330"/>
                  </a:cubicBezTo>
                  <a:cubicBezTo>
                    <a:pt x="20" y="1331"/>
                    <a:pt x="23" y="1332"/>
                    <a:pt x="26" y="1333"/>
                  </a:cubicBezTo>
                  <a:cubicBezTo>
                    <a:pt x="26" y="1333"/>
                    <a:pt x="26" y="1333"/>
                    <a:pt x="26" y="1332"/>
                  </a:cubicBezTo>
                  <a:cubicBezTo>
                    <a:pt x="26" y="1332"/>
                    <a:pt x="26" y="1332"/>
                    <a:pt x="26" y="1332"/>
                  </a:cubicBezTo>
                  <a:cubicBezTo>
                    <a:pt x="26" y="1333"/>
                    <a:pt x="26" y="1333"/>
                    <a:pt x="26" y="1333"/>
                  </a:cubicBezTo>
                  <a:cubicBezTo>
                    <a:pt x="26" y="1333"/>
                    <a:pt x="26" y="1333"/>
                    <a:pt x="26" y="1333"/>
                  </a:cubicBezTo>
                  <a:cubicBezTo>
                    <a:pt x="26" y="1336"/>
                    <a:pt x="27" y="1339"/>
                    <a:pt x="30" y="1340"/>
                  </a:cubicBezTo>
                  <a:cubicBezTo>
                    <a:pt x="33" y="1342"/>
                    <a:pt x="35" y="1344"/>
                    <a:pt x="36" y="1348"/>
                  </a:cubicBezTo>
                  <a:cubicBezTo>
                    <a:pt x="37" y="1350"/>
                    <a:pt x="38" y="1351"/>
                    <a:pt x="40" y="1352"/>
                  </a:cubicBezTo>
                  <a:cubicBezTo>
                    <a:pt x="45" y="1354"/>
                    <a:pt x="49" y="1357"/>
                    <a:pt x="52" y="1361"/>
                  </a:cubicBezTo>
                  <a:cubicBezTo>
                    <a:pt x="53" y="1362"/>
                    <a:pt x="55" y="1364"/>
                    <a:pt x="55" y="1366"/>
                  </a:cubicBezTo>
                  <a:cubicBezTo>
                    <a:pt x="55" y="1373"/>
                    <a:pt x="59" y="1378"/>
                    <a:pt x="62" y="1383"/>
                  </a:cubicBezTo>
                  <a:cubicBezTo>
                    <a:pt x="65" y="1389"/>
                    <a:pt x="70" y="1393"/>
                    <a:pt x="76" y="1396"/>
                  </a:cubicBezTo>
                  <a:cubicBezTo>
                    <a:pt x="81" y="1398"/>
                    <a:pt x="85" y="1400"/>
                    <a:pt x="89" y="1403"/>
                  </a:cubicBezTo>
                  <a:cubicBezTo>
                    <a:pt x="98" y="1410"/>
                    <a:pt x="107" y="1417"/>
                    <a:pt x="117" y="1423"/>
                  </a:cubicBezTo>
                  <a:cubicBezTo>
                    <a:pt x="121" y="1425"/>
                    <a:pt x="126" y="1427"/>
                    <a:pt x="132" y="1429"/>
                  </a:cubicBezTo>
                  <a:cubicBezTo>
                    <a:pt x="133" y="1429"/>
                    <a:pt x="135" y="1429"/>
                    <a:pt x="136" y="1429"/>
                  </a:cubicBezTo>
                  <a:cubicBezTo>
                    <a:pt x="140" y="1427"/>
                    <a:pt x="144" y="1426"/>
                    <a:pt x="147" y="1424"/>
                  </a:cubicBezTo>
                  <a:cubicBezTo>
                    <a:pt x="153" y="1421"/>
                    <a:pt x="159" y="1420"/>
                    <a:pt x="166" y="1420"/>
                  </a:cubicBezTo>
                  <a:cubicBezTo>
                    <a:pt x="170" y="1420"/>
                    <a:pt x="175" y="1420"/>
                    <a:pt x="179" y="1419"/>
                  </a:cubicBezTo>
                  <a:cubicBezTo>
                    <a:pt x="186" y="1418"/>
                    <a:pt x="192" y="1419"/>
                    <a:pt x="198" y="1421"/>
                  </a:cubicBezTo>
                  <a:cubicBezTo>
                    <a:pt x="200" y="1422"/>
                    <a:pt x="201" y="1422"/>
                    <a:pt x="203" y="1423"/>
                  </a:cubicBezTo>
                  <a:cubicBezTo>
                    <a:pt x="206" y="1424"/>
                    <a:pt x="209" y="1424"/>
                    <a:pt x="213" y="1423"/>
                  </a:cubicBezTo>
                  <a:cubicBezTo>
                    <a:pt x="216" y="1421"/>
                    <a:pt x="220" y="1420"/>
                    <a:pt x="224" y="1419"/>
                  </a:cubicBezTo>
                  <a:cubicBezTo>
                    <a:pt x="227" y="1418"/>
                    <a:pt x="230" y="1417"/>
                    <a:pt x="233" y="1415"/>
                  </a:cubicBezTo>
                  <a:cubicBezTo>
                    <a:pt x="237" y="1412"/>
                    <a:pt x="241" y="1411"/>
                    <a:pt x="246" y="1409"/>
                  </a:cubicBezTo>
                  <a:cubicBezTo>
                    <a:pt x="251" y="1408"/>
                    <a:pt x="255" y="1406"/>
                    <a:pt x="260" y="1405"/>
                  </a:cubicBezTo>
                  <a:cubicBezTo>
                    <a:pt x="267" y="1405"/>
                    <a:pt x="274" y="1401"/>
                    <a:pt x="281" y="1403"/>
                  </a:cubicBezTo>
                  <a:cubicBezTo>
                    <a:pt x="283" y="1403"/>
                    <a:pt x="285" y="1403"/>
                    <a:pt x="286" y="1403"/>
                  </a:cubicBezTo>
                  <a:cubicBezTo>
                    <a:pt x="292" y="1406"/>
                    <a:pt x="298" y="1409"/>
                    <a:pt x="300" y="1416"/>
                  </a:cubicBezTo>
                  <a:cubicBezTo>
                    <a:pt x="301" y="1419"/>
                    <a:pt x="303" y="1422"/>
                    <a:pt x="304" y="1424"/>
                  </a:cubicBezTo>
                  <a:cubicBezTo>
                    <a:pt x="307" y="1430"/>
                    <a:pt x="311" y="1432"/>
                    <a:pt x="317" y="1432"/>
                  </a:cubicBezTo>
                  <a:cubicBezTo>
                    <a:pt x="319" y="1432"/>
                    <a:pt x="321" y="1432"/>
                    <a:pt x="322" y="1432"/>
                  </a:cubicBezTo>
                  <a:cubicBezTo>
                    <a:pt x="329" y="1431"/>
                    <a:pt x="336" y="1430"/>
                    <a:pt x="343" y="1428"/>
                  </a:cubicBezTo>
                  <a:cubicBezTo>
                    <a:pt x="348" y="1427"/>
                    <a:pt x="351" y="1427"/>
                    <a:pt x="353" y="1431"/>
                  </a:cubicBezTo>
                  <a:cubicBezTo>
                    <a:pt x="354" y="1433"/>
                    <a:pt x="356" y="1434"/>
                    <a:pt x="358" y="1435"/>
                  </a:cubicBezTo>
                  <a:cubicBezTo>
                    <a:pt x="364" y="1439"/>
                    <a:pt x="364" y="1445"/>
                    <a:pt x="365" y="1450"/>
                  </a:cubicBezTo>
                  <a:cubicBezTo>
                    <a:pt x="365" y="1454"/>
                    <a:pt x="364" y="1457"/>
                    <a:pt x="362" y="1461"/>
                  </a:cubicBezTo>
                  <a:cubicBezTo>
                    <a:pt x="361" y="1464"/>
                    <a:pt x="359" y="1466"/>
                    <a:pt x="358" y="1469"/>
                  </a:cubicBezTo>
                  <a:cubicBezTo>
                    <a:pt x="358" y="1473"/>
                    <a:pt x="359" y="1477"/>
                    <a:pt x="358" y="1480"/>
                  </a:cubicBezTo>
                  <a:cubicBezTo>
                    <a:pt x="356" y="1486"/>
                    <a:pt x="356" y="1491"/>
                    <a:pt x="351" y="1496"/>
                  </a:cubicBezTo>
                  <a:cubicBezTo>
                    <a:pt x="351" y="1496"/>
                    <a:pt x="351" y="1498"/>
                    <a:pt x="351" y="1499"/>
                  </a:cubicBezTo>
                  <a:cubicBezTo>
                    <a:pt x="351" y="1499"/>
                    <a:pt x="351" y="1500"/>
                    <a:pt x="351" y="1500"/>
                  </a:cubicBezTo>
                  <a:cubicBezTo>
                    <a:pt x="358" y="1517"/>
                    <a:pt x="361" y="1521"/>
                    <a:pt x="375" y="1533"/>
                  </a:cubicBezTo>
                  <a:cubicBezTo>
                    <a:pt x="377" y="1535"/>
                    <a:pt x="380" y="1538"/>
                    <a:pt x="382" y="1540"/>
                  </a:cubicBezTo>
                  <a:cubicBezTo>
                    <a:pt x="387" y="1543"/>
                    <a:pt x="390" y="1547"/>
                    <a:pt x="392" y="1552"/>
                  </a:cubicBezTo>
                  <a:cubicBezTo>
                    <a:pt x="393" y="1555"/>
                    <a:pt x="394" y="1557"/>
                    <a:pt x="395" y="1559"/>
                  </a:cubicBezTo>
                  <a:cubicBezTo>
                    <a:pt x="397" y="1565"/>
                    <a:pt x="399" y="1571"/>
                    <a:pt x="403" y="1576"/>
                  </a:cubicBezTo>
                  <a:cubicBezTo>
                    <a:pt x="407" y="1583"/>
                    <a:pt x="407" y="1590"/>
                    <a:pt x="409" y="1597"/>
                  </a:cubicBezTo>
                  <a:cubicBezTo>
                    <a:pt x="409" y="1599"/>
                    <a:pt x="408" y="1600"/>
                    <a:pt x="408" y="1602"/>
                  </a:cubicBezTo>
                  <a:cubicBezTo>
                    <a:pt x="407" y="1604"/>
                    <a:pt x="407" y="1606"/>
                    <a:pt x="407" y="1608"/>
                  </a:cubicBezTo>
                  <a:cubicBezTo>
                    <a:pt x="408" y="1612"/>
                    <a:pt x="409" y="1617"/>
                    <a:pt x="412" y="1621"/>
                  </a:cubicBezTo>
                  <a:cubicBezTo>
                    <a:pt x="413" y="1623"/>
                    <a:pt x="414" y="1625"/>
                    <a:pt x="415" y="1627"/>
                  </a:cubicBezTo>
                  <a:cubicBezTo>
                    <a:pt x="417" y="1635"/>
                    <a:pt x="417" y="1644"/>
                    <a:pt x="409" y="1650"/>
                  </a:cubicBezTo>
                  <a:cubicBezTo>
                    <a:pt x="405" y="1653"/>
                    <a:pt x="403" y="1656"/>
                    <a:pt x="400" y="1659"/>
                  </a:cubicBezTo>
                  <a:cubicBezTo>
                    <a:pt x="397" y="1662"/>
                    <a:pt x="395" y="1666"/>
                    <a:pt x="395" y="1670"/>
                  </a:cubicBezTo>
                  <a:cubicBezTo>
                    <a:pt x="394" y="1677"/>
                    <a:pt x="392" y="1684"/>
                    <a:pt x="388" y="1690"/>
                  </a:cubicBezTo>
                  <a:cubicBezTo>
                    <a:pt x="387" y="1693"/>
                    <a:pt x="386" y="1697"/>
                    <a:pt x="386" y="1700"/>
                  </a:cubicBezTo>
                  <a:cubicBezTo>
                    <a:pt x="386" y="1706"/>
                    <a:pt x="386" y="1713"/>
                    <a:pt x="386" y="1719"/>
                  </a:cubicBezTo>
                  <a:cubicBezTo>
                    <a:pt x="386" y="1722"/>
                    <a:pt x="387" y="1725"/>
                    <a:pt x="389" y="1728"/>
                  </a:cubicBezTo>
                  <a:cubicBezTo>
                    <a:pt x="395" y="1734"/>
                    <a:pt x="400" y="1741"/>
                    <a:pt x="403" y="1749"/>
                  </a:cubicBezTo>
                  <a:cubicBezTo>
                    <a:pt x="406" y="1757"/>
                    <a:pt x="410" y="1765"/>
                    <a:pt x="414" y="1773"/>
                  </a:cubicBezTo>
                  <a:cubicBezTo>
                    <a:pt x="417" y="1779"/>
                    <a:pt x="420" y="1784"/>
                    <a:pt x="419" y="1791"/>
                  </a:cubicBezTo>
                  <a:cubicBezTo>
                    <a:pt x="419" y="1798"/>
                    <a:pt x="421" y="1804"/>
                    <a:pt x="423" y="1811"/>
                  </a:cubicBezTo>
                  <a:cubicBezTo>
                    <a:pt x="424" y="1813"/>
                    <a:pt x="425" y="1816"/>
                    <a:pt x="425" y="1818"/>
                  </a:cubicBezTo>
                  <a:cubicBezTo>
                    <a:pt x="425" y="1826"/>
                    <a:pt x="427" y="1833"/>
                    <a:pt x="428" y="1840"/>
                  </a:cubicBezTo>
                  <a:cubicBezTo>
                    <a:pt x="430" y="1848"/>
                    <a:pt x="434" y="1855"/>
                    <a:pt x="439" y="1861"/>
                  </a:cubicBezTo>
                  <a:cubicBezTo>
                    <a:pt x="442" y="1864"/>
                    <a:pt x="444" y="1868"/>
                    <a:pt x="447" y="1871"/>
                  </a:cubicBezTo>
                  <a:cubicBezTo>
                    <a:pt x="450" y="1874"/>
                    <a:pt x="452" y="1878"/>
                    <a:pt x="453" y="1882"/>
                  </a:cubicBezTo>
                  <a:cubicBezTo>
                    <a:pt x="455" y="1890"/>
                    <a:pt x="457" y="1898"/>
                    <a:pt x="461" y="1906"/>
                  </a:cubicBezTo>
                  <a:cubicBezTo>
                    <a:pt x="462" y="1907"/>
                    <a:pt x="463" y="1909"/>
                    <a:pt x="464" y="1911"/>
                  </a:cubicBezTo>
                  <a:cubicBezTo>
                    <a:pt x="466" y="1916"/>
                    <a:pt x="466" y="1920"/>
                    <a:pt x="462" y="1925"/>
                  </a:cubicBezTo>
                  <a:cubicBezTo>
                    <a:pt x="461" y="1926"/>
                    <a:pt x="461" y="1929"/>
                    <a:pt x="462" y="1930"/>
                  </a:cubicBezTo>
                  <a:cubicBezTo>
                    <a:pt x="465" y="1934"/>
                    <a:pt x="465" y="1939"/>
                    <a:pt x="466" y="1944"/>
                  </a:cubicBezTo>
                  <a:cubicBezTo>
                    <a:pt x="466" y="1945"/>
                    <a:pt x="467" y="1946"/>
                    <a:pt x="467" y="1947"/>
                  </a:cubicBezTo>
                  <a:cubicBezTo>
                    <a:pt x="473" y="1950"/>
                    <a:pt x="479" y="1953"/>
                    <a:pt x="485" y="1955"/>
                  </a:cubicBezTo>
                  <a:cubicBezTo>
                    <a:pt x="486" y="1956"/>
                    <a:pt x="488" y="1956"/>
                    <a:pt x="490" y="1955"/>
                  </a:cubicBezTo>
                  <a:cubicBezTo>
                    <a:pt x="495" y="1952"/>
                    <a:pt x="500" y="1950"/>
                    <a:pt x="507" y="1951"/>
                  </a:cubicBezTo>
                  <a:cubicBezTo>
                    <a:pt x="509" y="1951"/>
                    <a:pt x="512" y="1950"/>
                    <a:pt x="515" y="1949"/>
                  </a:cubicBezTo>
                  <a:cubicBezTo>
                    <a:pt x="519" y="1947"/>
                    <a:pt x="524" y="1947"/>
                    <a:pt x="529" y="1947"/>
                  </a:cubicBezTo>
                  <a:cubicBezTo>
                    <a:pt x="535" y="1947"/>
                    <a:pt x="540" y="1945"/>
                    <a:pt x="545" y="1947"/>
                  </a:cubicBezTo>
                  <a:cubicBezTo>
                    <a:pt x="547" y="1948"/>
                    <a:pt x="549" y="1948"/>
                    <a:pt x="550" y="1948"/>
                  </a:cubicBezTo>
                  <a:cubicBezTo>
                    <a:pt x="555" y="1945"/>
                    <a:pt x="561" y="1948"/>
                    <a:pt x="565" y="1943"/>
                  </a:cubicBezTo>
                  <a:cubicBezTo>
                    <a:pt x="566" y="1942"/>
                    <a:pt x="568" y="1941"/>
                    <a:pt x="570" y="1941"/>
                  </a:cubicBezTo>
                  <a:cubicBezTo>
                    <a:pt x="578" y="1941"/>
                    <a:pt x="585" y="1938"/>
                    <a:pt x="591" y="1934"/>
                  </a:cubicBezTo>
                  <a:cubicBezTo>
                    <a:pt x="600" y="1928"/>
                    <a:pt x="608" y="1920"/>
                    <a:pt x="616" y="1913"/>
                  </a:cubicBezTo>
                  <a:cubicBezTo>
                    <a:pt x="621" y="1909"/>
                    <a:pt x="626" y="1904"/>
                    <a:pt x="630" y="1898"/>
                  </a:cubicBezTo>
                  <a:cubicBezTo>
                    <a:pt x="634" y="1892"/>
                    <a:pt x="639" y="1887"/>
                    <a:pt x="643" y="1881"/>
                  </a:cubicBezTo>
                  <a:cubicBezTo>
                    <a:pt x="645" y="1878"/>
                    <a:pt x="647" y="1875"/>
                    <a:pt x="650" y="1873"/>
                  </a:cubicBezTo>
                  <a:cubicBezTo>
                    <a:pt x="657" y="1869"/>
                    <a:pt x="661" y="1863"/>
                    <a:pt x="663" y="1856"/>
                  </a:cubicBezTo>
                  <a:cubicBezTo>
                    <a:pt x="665" y="1851"/>
                    <a:pt x="666" y="1846"/>
                    <a:pt x="668" y="1841"/>
                  </a:cubicBezTo>
                  <a:cubicBezTo>
                    <a:pt x="668" y="1838"/>
                    <a:pt x="668" y="1836"/>
                    <a:pt x="667" y="1833"/>
                  </a:cubicBezTo>
                  <a:cubicBezTo>
                    <a:pt x="665" y="1830"/>
                    <a:pt x="667" y="1827"/>
                    <a:pt x="669" y="1825"/>
                  </a:cubicBezTo>
                  <a:cubicBezTo>
                    <a:pt x="673" y="1822"/>
                    <a:pt x="677" y="1819"/>
                    <a:pt x="682" y="1818"/>
                  </a:cubicBezTo>
                  <a:cubicBezTo>
                    <a:pt x="687" y="1817"/>
                    <a:pt x="693" y="1816"/>
                    <a:pt x="697" y="1813"/>
                  </a:cubicBezTo>
                  <a:cubicBezTo>
                    <a:pt x="701" y="1810"/>
                    <a:pt x="704" y="1807"/>
                    <a:pt x="704" y="1803"/>
                  </a:cubicBezTo>
                  <a:cubicBezTo>
                    <a:pt x="704" y="1797"/>
                    <a:pt x="706" y="1792"/>
                    <a:pt x="707" y="1787"/>
                  </a:cubicBezTo>
                  <a:cubicBezTo>
                    <a:pt x="707" y="1784"/>
                    <a:pt x="707" y="1782"/>
                    <a:pt x="706" y="1779"/>
                  </a:cubicBezTo>
                  <a:cubicBezTo>
                    <a:pt x="704" y="1771"/>
                    <a:pt x="701" y="1763"/>
                    <a:pt x="699" y="1755"/>
                  </a:cubicBezTo>
                  <a:cubicBezTo>
                    <a:pt x="698" y="1752"/>
                    <a:pt x="699" y="1750"/>
                    <a:pt x="701" y="1748"/>
                  </a:cubicBezTo>
                  <a:cubicBezTo>
                    <a:pt x="713" y="1739"/>
                    <a:pt x="724" y="1729"/>
                    <a:pt x="736" y="1720"/>
                  </a:cubicBezTo>
                  <a:cubicBezTo>
                    <a:pt x="740" y="1717"/>
                    <a:pt x="744" y="1716"/>
                    <a:pt x="748" y="1714"/>
                  </a:cubicBezTo>
                  <a:cubicBezTo>
                    <a:pt x="752" y="1712"/>
                    <a:pt x="757" y="1710"/>
                    <a:pt x="761" y="1707"/>
                  </a:cubicBezTo>
                  <a:cubicBezTo>
                    <a:pt x="770" y="1702"/>
                    <a:pt x="777" y="1695"/>
                    <a:pt x="781" y="1685"/>
                  </a:cubicBezTo>
                  <a:cubicBezTo>
                    <a:pt x="783" y="1681"/>
                    <a:pt x="784" y="1677"/>
                    <a:pt x="783" y="1672"/>
                  </a:cubicBezTo>
                  <a:cubicBezTo>
                    <a:pt x="782" y="1667"/>
                    <a:pt x="783" y="1662"/>
                    <a:pt x="783" y="1658"/>
                  </a:cubicBezTo>
                  <a:cubicBezTo>
                    <a:pt x="783" y="1654"/>
                    <a:pt x="784" y="1650"/>
                    <a:pt x="783" y="1647"/>
                  </a:cubicBezTo>
                  <a:cubicBezTo>
                    <a:pt x="782" y="1640"/>
                    <a:pt x="782" y="1634"/>
                    <a:pt x="784" y="1628"/>
                  </a:cubicBezTo>
                  <a:cubicBezTo>
                    <a:pt x="785" y="1625"/>
                    <a:pt x="784" y="1622"/>
                    <a:pt x="780" y="1620"/>
                  </a:cubicBezTo>
                  <a:cubicBezTo>
                    <a:pt x="775" y="1617"/>
                    <a:pt x="773" y="1612"/>
                    <a:pt x="771" y="1606"/>
                  </a:cubicBezTo>
                  <a:cubicBezTo>
                    <a:pt x="768" y="1599"/>
                    <a:pt x="769" y="1592"/>
                    <a:pt x="768" y="1585"/>
                  </a:cubicBezTo>
                  <a:cubicBezTo>
                    <a:pt x="768" y="1583"/>
                    <a:pt x="768" y="1582"/>
                    <a:pt x="769" y="1580"/>
                  </a:cubicBezTo>
                  <a:cubicBezTo>
                    <a:pt x="771" y="1577"/>
                    <a:pt x="771" y="1574"/>
                    <a:pt x="768" y="1572"/>
                  </a:cubicBezTo>
                  <a:cubicBezTo>
                    <a:pt x="762" y="1567"/>
                    <a:pt x="761" y="1563"/>
                    <a:pt x="764" y="1557"/>
                  </a:cubicBezTo>
                  <a:cubicBezTo>
                    <a:pt x="766" y="1552"/>
                    <a:pt x="768" y="1547"/>
                    <a:pt x="772" y="1543"/>
                  </a:cubicBezTo>
                  <a:cubicBezTo>
                    <a:pt x="777" y="1539"/>
                    <a:pt x="778" y="1532"/>
                    <a:pt x="781" y="1526"/>
                  </a:cubicBezTo>
                  <a:cubicBezTo>
                    <a:pt x="783" y="1524"/>
                    <a:pt x="784" y="1521"/>
                    <a:pt x="788" y="1520"/>
                  </a:cubicBezTo>
                  <a:cubicBezTo>
                    <a:pt x="793" y="1517"/>
                    <a:pt x="797" y="1513"/>
                    <a:pt x="801" y="1508"/>
                  </a:cubicBezTo>
                  <a:cubicBezTo>
                    <a:pt x="810" y="1496"/>
                    <a:pt x="822" y="1485"/>
                    <a:pt x="834" y="1475"/>
                  </a:cubicBezTo>
                  <a:cubicBezTo>
                    <a:pt x="841" y="1469"/>
                    <a:pt x="847" y="1462"/>
                    <a:pt x="856" y="1459"/>
                  </a:cubicBezTo>
                  <a:cubicBezTo>
                    <a:pt x="857" y="1459"/>
                    <a:pt x="858" y="1458"/>
                    <a:pt x="859" y="1457"/>
                  </a:cubicBezTo>
                  <a:cubicBezTo>
                    <a:pt x="879" y="1442"/>
                    <a:pt x="896" y="1423"/>
                    <a:pt x="906" y="1400"/>
                  </a:cubicBezTo>
                  <a:cubicBezTo>
                    <a:pt x="910" y="1392"/>
                    <a:pt x="914" y="1383"/>
                    <a:pt x="920" y="1376"/>
                  </a:cubicBezTo>
                  <a:cubicBezTo>
                    <a:pt x="924" y="1371"/>
                    <a:pt x="926" y="1365"/>
                    <a:pt x="928" y="1359"/>
                  </a:cubicBezTo>
                  <a:cubicBezTo>
                    <a:pt x="931" y="1350"/>
                    <a:pt x="930" y="1342"/>
                    <a:pt x="931" y="1334"/>
                  </a:cubicBezTo>
                  <a:cubicBezTo>
                    <a:pt x="931" y="1332"/>
                    <a:pt x="926" y="1329"/>
                    <a:pt x="924" y="1330"/>
                  </a:cubicBezTo>
                  <a:cubicBezTo>
                    <a:pt x="924" y="1330"/>
                    <a:pt x="923" y="1330"/>
                    <a:pt x="923" y="1331"/>
                  </a:cubicBezTo>
                  <a:cubicBezTo>
                    <a:pt x="917" y="1336"/>
                    <a:pt x="909" y="1337"/>
                    <a:pt x="901" y="1338"/>
                  </a:cubicBezTo>
                  <a:cubicBezTo>
                    <a:pt x="891" y="1340"/>
                    <a:pt x="880" y="1340"/>
                    <a:pt x="869" y="1344"/>
                  </a:cubicBezTo>
                  <a:cubicBezTo>
                    <a:pt x="868" y="1344"/>
                    <a:pt x="866" y="1345"/>
                    <a:pt x="864" y="1344"/>
                  </a:cubicBezTo>
                  <a:cubicBezTo>
                    <a:pt x="858" y="1344"/>
                    <a:pt x="852" y="1346"/>
                    <a:pt x="847" y="1348"/>
                  </a:cubicBezTo>
                  <a:cubicBezTo>
                    <a:pt x="846" y="1349"/>
                    <a:pt x="844" y="1350"/>
                    <a:pt x="842" y="1350"/>
                  </a:cubicBezTo>
                  <a:cubicBezTo>
                    <a:pt x="840" y="1351"/>
                    <a:pt x="838" y="1350"/>
                    <a:pt x="836" y="1349"/>
                  </a:cubicBezTo>
                  <a:cubicBezTo>
                    <a:pt x="835" y="1348"/>
                    <a:pt x="833" y="1347"/>
                    <a:pt x="832" y="1346"/>
                  </a:cubicBezTo>
                  <a:cubicBezTo>
                    <a:pt x="828" y="1343"/>
                    <a:pt x="825" y="1339"/>
                    <a:pt x="821" y="1335"/>
                  </a:cubicBezTo>
                  <a:cubicBezTo>
                    <a:pt x="819" y="1334"/>
                    <a:pt x="820" y="1333"/>
                    <a:pt x="820" y="1331"/>
                  </a:cubicBezTo>
                  <a:cubicBezTo>
                    <a:pt x="823" y="1325"/>
                    <a:pt x="823" y="1324"/>
                    <a:pt x="819" y="1320"/>
                  </a:cubicBezTo>
                  <a:cubicBezTo>
                    <a:pt x="816" y="1318"/>
                    <a:pt x="813" y="1316"/>
                    <a:pt x="811" y="1313"/>
                  </a:cubicBezTo>
                  <a:cubicBezTo>
                    <a:pt x="806" y="1306"/>
                    <a:pt x="799" y="1301"/>
                    <a:pt x="794" y="1296"/>
                  </a:cubicBezTo>
                  <a:cubicBezTo>
                    <a:pt x="791" y="1292"/>
                    <a:pt x="786" y="1290"/>
                    <a:pt x="782" y="1288"/>
                  </a:cubicBezTo>
                  <a:cubicBezTo>
                    <a:pt x="774" y="1284"/>
                    <a:pt x="767" y="1279"/>
                    <a:pt x="765" y="1270"/>
                  </a:cubicBezTo>
                  <a:cubicBezTo>
                    <a:pt x="764" y="1265"/>
                    <a:pt x="762" y="1261"/>
                    <a:pt x="761" y="1257"/>
                  </a:cubicBezTo>
                  <a:cubicBezTo>
                    <a:pt x="759" y="1252"/>
                    <a:pt x="756" y="1248"/>
                    <a:pt x="752" y="1245"/>
                  </a:cubicBezTo>
                  <a:cubicBezTo>
                    <a:pt x="749" y="1243"/>
                    <a:pt x="745" y="1240"/>
                    <a:pt x="742" y="1237"/>
                  </a:cubicBezTo>
                  <a:cubicBezTo>
                    <a:pt x="739" y="1235"/>
                    <a:pt x="737" y="1233"/>
                    <a:pt x="737" y="1229"/>
                  </a:cubicBezTo>
                  <a:cubicBezTo>
                    <a:pt x="737" y="1220"/>
                    <a:pt x="734" y="1212"/>
                    <a:pt x="732" y="1203"/>
                  </a:cubicBezTo>
                  <a:cubicBezTo>
                    <a:pt x="731" y="1195"/>
                    <a:pt x="725" y="1189"/>
                    <a:pt x="718" y="1185"/>
                  </a:cubicBezTo>
                  <a:cubicBezTo>
                    <a:pt x="717" y="1184"/>
                    <a:pt x="715" y="1184"/>
                    <a:pt x="714" y="1183"/>
                  </a:cubicBezTo>
                  <a:cubicBezTo>
                    <a:pt x="712" y="1182"/>
                    <a:pt x="711" y="1181"/>
                    <a:pt x="711" y="1179"/>
                  </a:cubicBezTo>
                  <a:cubicBezTo>
                    <a:pt x="710" y="1178"/>
                    <a:pt x="710" y="1176"/>
                    <a:pt x="710" y="1175"/>
                  </a:cubicBezTo>
                  <a:cubicBezTo>
                    <a:pt x="711" y="1169"/>
                    <a:pt x="709" y="1164"/>
                    <a:pt x="705" y="1160"/>
                  </a:cubicBezTo>
                  <a:cubicBezTo>
                    <a:pt x="704" y="1158"/>
                    <a:pt x="702" y="1156"/>
                    <a:pt x="701" y="1154"/>
                  </a:cubicBezTo>
                  <a:cubicBezTo>
                    <a:pt x="694" y="1144"/>
                    <a:pt x="688" y="1134"/>
                    <a:pt x="685" y="1123"/>
                  </a:cubicBezTo>
                  <a:cubicBezTo>
                    <a:pt x="684" y="1121"/>
                    <a:pt x="683" y="1119"/>
                    <a:pt x="682" y="1117"/>
                  </a:cubicBezTo>
                  <a:cubicBezTo>
                    <a:pt x="681" y="1116"/>
                    <a:pt x="682" y="1114"/>
                    <a:pt x="684" y="1114"/>
                  </a:cubicBezTo>
                  <a:cubicBezTo>
                    <a:pt x="686" y="1114"/>
                    <a:pt x="689" y="1115"/>
                    <a:pt x="690" y="1113"/>
                  </a:cubicBezTo>
                  <a:cubicBezTo>
                    <a:pt x="692" y="1112"/>
                    <a:pt x="694" y="1110"/>
                    <a:pt x="696" y="1110"/>
                  </a:cubicBezTo>
                  <a:cubicBezTo>
                    <a:pt x="699" y="1111"/>
                    <a:pt x="701" y="1112"/>
                    <a:pt x="703" y="1114"/>
                  </a:cubicBezTo>
                  <a:cubicBezTo>
                    <a:pt x="704" y="1116"/>
                    <a:pt x="705" y="1118"/>
                    <a:pt x="707" y="1119"/>
                  </a:cubicBezTo>
                  <a:cubicBezTo>
                    <a:pt x="713" y="1127"/>
                    <a:pt x="717" y="1135"/>
                    <a:pt x="723" y="1143"/>
                  </a:cubicBezTo>
                  <a:cubicBezTo>
                    <a:pt x="727" y="1147"/>
                    <a:pt x="729" y="1151"/>
                    <a:pt x="730" y="1157"/>
                  </a:cubicBezTo>
                  <a:cubicBezTo>
                    <a:pt x="731" y="1160"/>
                    <a:pt x="733" y="1162"/>
                    <a:pt x="737" y="1163"/>
                  </a:cubicBezTo>
                  <a:cubicBezTo>
                    <a:pt x="743" y="1165"/>
                    <a:pt x="748" y="1170"/>
                    <a:pt x="750" y="1176"/>
                  </a:cubicBezTo>
                  <a:cubicBezTo>
                    <a:pt x="751" y="1178"/>
                    <a:pt x="752" y="1180"/>
                    <a:pt x="753" y="1182"/>
                  </a:cubicBezTo>
                  <a:cubicBezTo>
                    <a:pt x="755" y="1185"/>
                    <a:pt x="756" y="1188"/>
                    <a:pt x="756" y="1192"/>
                  </a:cubicBezTo>
                  <a:cubicBezTo>
                    <a:pt x="756" y="1194"/>
                    <a:pt x="756" y="1195"/>
                    <a:pt x="756" y="1197"/>
                  </a:cubicBezTo>
                  <a:cubicBezTo>
                    <a:pt x="756" y="1205"/>
                    <a:pt x="761" y="1212"/>
                    <a:pt x="768" y="1217"/>
                  </a:cubicBezTo>
                  <a:cubicBezTo>
                    <a:pt x="770" y="1218"/>
                    <a:pt x="773" y="1220"/>
                    <a:pt x="776" y="1222"/>
                  </a:cubicBezTo>
                  <a:cubicBezTo>
                    <a:pt x="781" y="1225"/>
                    <a:pt x="784" y="1229"/>
                    <a:pt x="786" y="1234"/>
                  </a:cubicBezTo>
                  <a:cubicBezTo>
                    <a:pt x="788" y="1240"/>
                    <a:pt x="791" y="1245"/>
                    <a:pt x="796" y="1250"/>
                  </a:cubicBezTo>
                  <a:cubicBezTo>
                    <a:pt x="800" y="1254"/>
                    <a:pt x="803" y="1258"/>
                    <a:pt x="806" y="1262"/>
                  </a:cubicBezTo>
                  <a:cubicBezTo>
                    <a:pt x="810" y="1267"/>
                    <a:pt x="813" y="1273"/>
                    <a:pt x="811" y="1280"/>
                  </a:cubicBezTo>
                  <a:cubicBezTo>
                    <a:pt x="811" y="1282"/>
                    <a:pt x="810" y="1284"/>
                    <a:pt x="811" y="1286"/>
                  </a:cubicBezTo>
                  <a:cubicBezTo>
                    <a:pt x="815" y="1293"/>
                    <a:pt x="816" y="1301"/>
                    <a:pt x="819" y="1308"/>
                  </a:cubicBezTo>
                  <a:cubicBezTo>
                    <a:pt x="820" y="1311"/>
                    <a:pt x="821" y="1314"/>
                    <a:pt x="823" y="1317"/>
                  </a:cubicBezTo>
                  <a:cubicBezTo>
                    <a:pt x="824" y="1319"/>
                    <a:pt x="827" y="1320"/>
                    <a:pt x="829" y="1320"/>
                  </a:cubicBezTo>
                  <a:cubicBezTo>
                    <a:pt x="832" y="1320"/>
                    <a:pt x="835" y="1320"/>
                    <a:pt x="838" y="1320"/>
                  </a:cubicBezTo>
                  <a:cubicBezTo>
                    <a:pt x="842" y="1319"/>
                    <a:pt x="845" y="1318"/>
                    <a:pt x="848" y="1315"/>
                  </a:cubicBezTo>
                  <a:cubicBezTo>
                    <a:pt x="851" y="1311"/>
                    <a:pt x="856" y="1310"/>
                    <a:pt x="861" y="1311"/>
                  </a:cubicBezTo>
                  <a:cubicBezTo>
                    <a:pt x="867" y="1311"/>
                    <a:pt x="873" y="1310"/>
                    <a:pt x="878" y="1307"/>
                  </a:cubicBezTo>
                  <a:cubicBezTo>
                    <a:pt x="882" y="1305"/>
                    <a:pt x="885" y="1304"/>
                    <a:pt x="889" y="1303"/>
                  </a:cubicBezTo>
                  <a:cubicBezTo>
                    <a:pt x="892" y="1303"/>
                    <a:pt x="895" y="1301"/>
                    <a:pt x="898" y="1299"/>
                  </a:cubicBezTo>
                  <a:cubicBezTo>
                    <a:pt x="900" y="1296"/>
                    <a:pt x="904" y="1295"/>
                    <a:pt x="907" y="1293"/>
                  </a:cubicBezTo>
                  <a:cubicBezTo>
                    <a:pt x="913" y="1292"/>
                    <a:pt x="919" y="1290"/>
                    <a:pt x="925" y="1288"/>
                  </a:cubicBezTo>
                  <a:cubicBezTo>
                    <a:pt x="929" y="1286"/>
                    <a:pt x="934" y="1284"/>
                    <a:pt x="938" y="1282"/>
                  </a:cubicBezTo>
                  <a:cubicBezTo>
                    <a:pt x="940" y="1281"/>
                    <a:pt x="942" y="1280"/>
                    <a:pt x="942" y="1278"/>
                  </a:cubicBezTo>
                  <a:cubicBezTo>
                    <a:pt x="943" y="1272"/>
                    <a:pt x="947" y="1270"/>
                    <a:pt x="952" y="1268"/>
                  </a:cubicBezTo>
                  <a:cubicBezTo>
                    <a:pt x="959" y="1266"/>
                    <a:pt x="966" y="1264"/>
                    <a:pt x="973" y="1263"/>
                  </a:cubicBezTo>
                  <a:cubicBezTo>
                    <a:pt x="978" y="1262"/>
                    <a:pt x="981" y="1261"/>
                    <a:pt x="982" y="1256"/>
                  </a:cubicBezTo>
                  <a:cubicBezTo>
                    <a:pt x="983" y="1253"/>
                    <a:pt x="985" y="1251"/>
                    <a:pt x="988" y="1251"/>
                  </a:cubicBezTo>
                  <a:cubicBezTo>
                    <a:pt x="994" y="1250"/>
                    <a:pt x="998" y="1247"/>
                    <a:pt x="1000" y="1241"/>
                  </a:cubicBezTo>
                  <a:cubicBezTo>
                    <a:pt x="1001" y="1239"/>
                    <a:pt x="1003" y="1237"/>
                    <a:pt x="1006" y="1237"/>
                  </a:cubicBezTo>
                  <a:cubicBezTo>
                    <a:pt x="1008" y="1236"/>
                    <a:pt x="1010" y="1236"/>
                    <a:pt x="1012" y="1235"/>
                  </a:cubicBezTo>
                  <a:cubicBezTo>
                    <a:pt x="1013" y="1234"/>
                    <a:pt x="1015" y="1232"/>
                    <a:pt x="1015" y="1231"/>
                  </a:cubicBezTo>
                  <a:cubicBezTo>
                    <a:pt x="1015" y="1228"/>
                    <a:pt x="1015" y="1225"/>
                    <a:pt x="1015" y="1222"/>
                  </a:cubicBezTo>
                  <a:cubicBezTo>
                    <a:pt x="1015" y="1219"/>
                    <a:pt x="1016" y="1217"/>
                    <a:pt x="1019" y="1215"/>
                  </a:cubicBezTo>
                  <a:cubicBezTo>
                    <a:pt x="1027" y="1210"/>
                    <a:pt x="1032" y="1203"/>
                    <a:pt x="1036" y="1195"/>
                  </a:cubicBezTo>
                  <a:cubicBezTo>
                    <a:pt x="1039" y="1190"/>
                    <a:pt x="1038" y="1187"/>
                    <a:pt x="1034" y="1183"/>
                  </a:cubicBezTo>
                  <a:cubicBezTo>
                    <a:pt x="1030" y="1180"/>
                    <a:pt x="1028" y="1176"/>
                    <a:pt x="1025" y="1173"/>
                  </a:cubicBezTo>
                  <a:cubicBezTo>
                    <a:pt x="1023" y="1170"/>
                    <a:pt x="1021" y="1168"/>
                    <a:pt x="1017" y="1168"/>
                  </a:cubicBezTo>
                  <a:cubicBezTo>
                    <a:pt x="1013" y="1168"/>
                    <a:pt x="1008" y="1167"/>
                    <a:pt x="1004" y="1166"/>
                  </a:cubicBezTo>
                  <a:cubicBezTo>
                    <a:pt x="1002" y="1165"/>
                    <a:pt x="999" y="1164"/>
                    <a:pt x="997" y="1162"/>
                  </a:cubicBezTo>
                  <a:cubicBezTo>
                    <a:pt x="993" y="1159"/>
                    <a:pt x="990" y="1154"/>
                    <a:pt x="990" y="1149"/>
                  </a:cubicBezTo>
                  <a:cubicBezTo>
                    <a:pt x="989" y="1144"/>
                    <a:pt x="988" y="1139"/>
                    <a:pt x="988" y="1135"/>
                  </a:cubicBezTo>
                  <a:cubicBezTo>
                    <a:pt x="988" y="1134"/>
                    <a:pt x="987" y="1134"/>
                    <a:pt x="987" y="1134"/>
                  </a:cubicBezTo>
                  <a:cubicBezTo>
                    <a:pt x="986" y="1134"/>
                    <a:pt x="984" y="1134"/>
                    <a:pt x="984" y="1134"/>
                  </a:cubicBezTo>
                  <a:cubicBezTo>
                    <a:pt x="977" y="1141"/>
                    <a:pt x="970" y="1147"/>
                    <a:pt x="965" y="1154"/>
                  </a:cubicBezTo>
                  <a:cubicBezTo>
                    <a:pt x="961" y="1160"/>
                    <a:pt x="956" y="1163"/>
                    <a:pt x="949" y="1163"/>
                  </a:cubicBezTo>
                  <a:cubicBezTo>
                    <a:pt x="944" y="1162"/>
                    <a:pt x="938" y="1162"/>
                    <a:pt x="933" y="1165"/>
                  </a:cubicBezTo>
                  <a:cubicBezTo>
                    <a:pt x="931" y="1165"/>
                    <a:pt x="929" y="1164"/>
                    <a:pt x="927" y="1163"/>
                  </a:cubicBezTo>
                  <a:cubicBezTo>
                    <a:pt x="925" y="1161"/>
                    <a:pt x="924" y="1159"/>
                    <a:pt x="923" y="1156"/>
                  </a:cubicBezTo>
                  <a:cubicBezTo>
                    <a:pt x="923" y="1151"/>
                    <a:pt x="922" y="1145"/>
                    <a:pt x="922" y="1140"/>
                  </a:cubicBezTo>
                  <a:cubicBezTo>
                    <a:pt x="922" y="1139"/>
                    <a:pt x="921" y="1138"/>
                    <a:pt x="920" y="1137"/>
                  </a:cubicBezTo>
                  <a:cubicBezTo>
                    <a:pt x="920" y="1137"/>
                    <a:pt x="919" y="1136"/>
                    <a:pt x="918" y="1136"/>
                  </a:cubicBezTo>
                  <a:cubicBezTo>
                    <a:pt x="917" y="1136"/>
                    <a:pt x="916" y="1136"/>
                    <a:pt x="915" y="1137"/>
                  </a:cubicBezTo>
                  <a:cubicBezTo>
                    <a:pt x="914" y="1139"/>
                    <a:pt x="913" y="1141"/>
                    <a:pt x="912" y="1142"/>
                  </a:cubicBezTo>
                  <a:cubicBezTo>
                    <a:pt x="911" y="1145"/>
                    <a:pt x="909" y="1145"/>
                    <a:pt x="907" y="1142"/>
                  </a:cubicBezTo>
                  <a:cubicBezTo>
                    <a:pt x="905" y="1140"/>
                    <a:pt x="903" y="1137"/>
                    <a:pt x="903" y="1134"/>
                  </a:cubicBezTo>
                  <a:cubicBezTo>
                    <a:pt x="902" y="1129"/>
                    <a:pt x="899" y="1124"/>
                    <a:pt x="895" y="1120"/>
                  </a:cubicBezTo>
                  <a:cubicBezTo>
                    <a:pt x="893" y="1118"/>
                    <a:pt x="890" y="1115"/>
                    <a:pt x="887" y="1113"/>
                  </a:cubicBezTo>
                  <a:cubicBezTo>
                    <a:pt x="886" y="1112"/>
                    <a:pt x="884" y="1111"/>
                    <a:pt x="883" y="1110"/>
                  </a:cubicBezTo>
                  <a:cubicBezTo>
                    <a:pt x="880" y="1104"/>
                    <a:pt x="877" y="1099"/>
                    <a:pt x="874" y="1093"/>
                  </a:cubicBezTo>
                  <a:cubicBezTo>
                    <a:pt x="873" y="1092"/>
                    <a:pt x="873" y="1090"/>
                    <a:pt x="874" y="1089"/>
                  </a:cubicBezTo>
                  <a:cubicBezTo>
                    <a:pt x="874" y="1087"/>
                    <a:pt x="874" y="1084"/>
                    <a:pt x="875" y="1083"/>
                  </a:cubicBezTo>
                  <a:cubicBezTo>
                    <a:pt x="875" y="1082"/>
                    <a:pt x="876" y="1081"/>
                    <a:pt x="877" y="1081"/>
                  </a:cubicBezTo>
                  <a:cubicBezTo>
                    <a:pt x="880" y="1080"/>
                    <a:pt x="884" y="1080"/>
                    <a:pt x="887" y="1080"/>
                  </a:cubicBezTo>
                  <a:cubicBezTo>
                    <a:pt x="890" y="1080"/>
                    <a:pt x="894" y="1080"/>
                    <a:pt x="896" y="1081"/>
                  </a:cubicBezTo>
                  <a:cubicBezTo>
                    <a:pt x="898" y="1082"/>
                    <a:pt x="900" y="1085"/>
                    <a:pt x="901" y="1087"/>
                  </a:cubicBezTo>
                  <a:cubicBezTo>
                    <a:pt x="905" y="1094"/>
                    <a:pt x="909" y="1100"/>
                    <a:pt x="913" y="1106"/>
                  </a:cubicBezTo>
                  <a:cubicBezTo>
                    <a:pt x="915" y="1109"/>
                    <a:pt x="918" y="1111"/>
                    <a:pt x="921" y="1111"/>
                  </a:cubicBezTo>
                  <a:cubicBezTo>
                    <a:pt x="923" y="1112"/>
                    <a:pt x="924" y="1112"/>
                    <a:pt x="926" y="1113"/>
                  </a:cubicBezTo>
                  <a:cubicBezTo>
                    <a:pt x="930" y="1113"/>
                    <a:pt x="933" y="1115"/>
                    <a:pt x="936" y="1118"/>
                  </a:cubicBezTo>
                  <a:cubicBezTo>
                    <a:pt x="937" y="1120"/>
                    <a:pt x="940" y="1121"/>
                    <a:pt x="942" y="1123"/>
                  </a:cubicBezTo>
                  <a:cubicBezTo>
                    <a:pt x="948" y="1127"/>
                    <a:pt x="955" y="1128"/>
                    <a:pt x="962" y="1129"/>
                  </a:cubicBezTo>
                  <a:cubicBezTo>
                    <a:pt x="965" y="1130"/>
                    <a:pt x="968" y="1129"/>
                    <a:pt x="970" y="1128"/>
                  </a:cubicBezTo>
                  <a:cubicBezTo>
                    <a:pt x="974" y="1126"/>
                    <a:pt x="978" y="1124"/>
                    <a:pt x="982" y="1123"/>
                  </a:cubicBezTo>
                  <a:cubicBezTo>
                    <a:pt x="987" y="1121"/>
                    <a:pt x="991" y="1122"/>
                    <a:pt x="993" y="1127"/>
                  </a:cubicBezTo>
                  <a:cubicBezTo>
                    <a:pt x="995" y="1130"/>
                    <a:pt x="996" y="1133"/>
                    <a:pt x="998" y="1137"/>
                  </a:cubicBezTo>
                  <a:cubicBezTo>
                    <a:pt x="999" y="1140"/>
                    <a:pt x="1002" y="1141"/>
                    <a:pt x="1005" y="1142"/>
                  </a:cubicBezTo>
                  <a:cubicBezTo>
                    <a:pt x="1021" y="1143"/>
                    <a:pt x="1036" y="1146"/>
                    <a:pt x="1051" y="1148"/>
                  </a:cubicBezTo>
                  <a:cubicBezTo>
                    <a:pt x="1056" y="1149"/>
                    <a:pt x="1062" y="1149"/>
                    <a:pt x="1067" y="1149"/>
                  </a:cubicBezTo>
                  <a:cubicBezTo>
                    <a:pt x="1076" y="1148"/>
                    <a:pt x="1086" y="1145"/>
                    <a:pt x="1095" y="1147"/>
                  </a:cubicBezTo>
                  <a:cubicBezTo>
                    <a:pt x="1097" y="1148"/>
                    <a:pt x="1099" y="1147"/>
                    <a:pt x="1101" y="1146"/>
                  </a:cubicBezTo>
                  <a:cubicBezTo>
                    <a:pt x="1108" y="1144"/>
                    <a:pt x="1114" y="1144"/>
                    <a:pt x="1121" y="1145"/>
                  </a:cubicBezTo>
                  <a:cubicBezTo>
                    <a:pt x="1123" y="1145"/>
                    <a:pt x="1125" y="1146"/>
                    <a:pt x="1126" y="1148"/>
                  </a:cubicBezTo>
                  <a:cubicBezTo>
                    <a:pt x="1127" y="1150"/>
                    <a:pt x="1129" y="1151"/>
                    <a:pt x="1131" y="1152"/>
                  </a:cubicBezTo>
                  <a:cubicBezTo>
                    <a:pt x="1133" y="1154"/>
                    <a:pt x="1135" y="1156"/>
                    <a:pt x="1136" y="1158"/>
                  </a:cubicBezTo>
                  <a:cubicBezTo>
                    <a:pt x="1137" y="1164"/>
                    <a:pt x="1140" y="1166"/>
                    <a:pt x="1146" y="1167"/>
                  </a:cubicBezTo>
                  <a:cubicBezTo>
                    <a:pt x="1149" y="1168"/>
                    <a:pt x="1152" y="1170"/>
                    <a:pt x="1155" y="1174"/>
                  </a:cubicBezTo>
                  <a:cubicBezTo>
                    <a:pt x="1159" y="1179"/>
                    <a:pt x="1165" y="1181"/>
                    <a:pt x="1172" y="1182"/>
                  </a:cubicBezTo>
                  <a:cubicBezTo>
                    <a:pt x="1173" y="1182"/>
                    <a:pt x="1175" y="1182"/>
                    <a:pt x="1176" y="1182"/>
                  </a:cubicBezTo>
                  <a:cubicBezTo>
                    <a:pt x="1176" y="1182"/>
                    <a:pt x="1176" y="1182"/>
                    <a:pt x="1177" y="1182"/>
                  </a:cubicBezTo>
                  <a:cubicBezTo>
                    <a:pt x="1177" y="1181"/>
                    <a:pt x="1177" y="1181"/>
                    <a:pt x="1177" y="1181"/>
                  </a:cubicBezTo>
                  <a:cubicBezTo>
                    <a:pt x="1177" y="1182"/>
                    <a:pt x="1177" y="1182"/>
                    <a:pt x="1177" y="1182"/>
                  </a:cubicBezTo>
                  <a:cubicBezTo>
                    <a:pt x="1177" y="1182"/>
                    <a:pt x="1176" y="1182"/>
                    <a:pt x="1176" y="1182"/>
                  </a:cubicBezTo>
                  <a:cubicBezTo>
                    <a:pt x="1174" y="1186"/>
                    <a:pt x="1171" y="1188"/>
                    <a:pt x="1166" y="1186"/>
                  </a:cubicBezTo>
                  <a:cubicBezTo>
                    <a:pt x="1165" y="1186"/>
                    <a:pt x="1163" y="1186"/>
                    <a:pt x="1163" y="1187"/>
                  </a:cubicBezTo>
                  <a:cubicBezTo>
                    <a:pt x="1163" y="1187"/>
                    <a:pt x="1163" y="1189"/>
                    <a:pt x="1163" y="1190"/>
                  </a:cubicBezTo>
                  <a:cubicBezTo>
                    <a:pt x="1168" y="1194"/>
                    <a:pt x="1173" y="1199"/>
                    <a:pt x="1178" y="1204"/>
                  </a:cubicBezTo>
                  <a:cubicBezTo>
                    <a:pt x="1187" y="1212"/>
                    <a:pt x="1192" y="1212"/>
                    <a:pt x="1202" y="1205"/>
                  </a:cubicBezTo>
                  <a:cubicBezTo>
                    <a:pt x="1207" y="1203"/>
                    <a:pt x="1209" y="1200"/>
                    <a:pt x="1210" y="1195"/>
                  </a:cubicBezTo>
                  <a:cubicBezTo>
                    <a:pt x="1210" y="1195"/>
                    <a:pt x="1210" y="1195"/>
                    <a:pt x="1210" y="1195"/>
                  </a:cubicBezTo>
                  <a:cubicBezTo>
                    <a:pt x="1210" y="1194"/>
                    <a:pt x="1210" y="1194"/>
                    <a:pt x="1210" y="1194"/>
                  </a:cubicBezTo>
                  <a:cubicBezTo>
                    <a:pt x="1210" y="1194"/>
                    <a:pt x="1210" y="1194"/>
                    <a:pt x="1210" y="1194"/>
                  </a:cubicBezTo>
                  <a:cubicBezTo>
                    <a:pt x="1210" y="1194"/>
                    <a:pt x="1210" y="1195"/>
                    <a:pt x="1210" y="1195"/>
                  </a:cubicBezTo>
                  <a:cubicBezTo>
                    <a:pt x="1210" y="1195"/>
                    <a:pt x="1211" y="1195"/>
                    <a:pt x="1211" y="1195"/>
                  </a:cubicBezTo>
                  <a:cubicBezTo>
                    <a:pt x="1214" y="1202"/>
                    <a:pt x="1216" y="1209"/>
                    <a:pt x="1216" y="1217"/>
                  </a:cubicBezTo>
                  <a:cubicBezTo>
                    <a:pt x="1216" y="1220"/>
                    <a:pt x="1216" y="1223"/>
                    <a:pt x="1217" y="1226"/>
                  </a:cubicBezTo>
                  <a:cubicBezTo>
                    <a:pt x="1220" y="1233"/>
                    <a:pt x="1221" y="1241"/>
                    <a:pt x="1223" y="1249"/>
                  </a:cubicBezTo>
                  <a:cubicBezTo>
                    <a:pt x="1225" y="1256"/>
                    <a:pt x="1230" y="1263"/>
                    <a:pt x="1230" y="1271"/>
                  </a:cubicBezTo>
                  <a:cubicBezTo>
                    <a:pt x="1230" y="1272"/>
                    <a:pt x="1231" y="1274"/>
                    <a:pt x="1232" y="1275"/>
                  </a:cubicBezTo>
                  <a:cubicBezTo>
                    <a:pt x="1234" y="1280"/>
                    <a:pt x="1237" y="1285"/>
                    <a:pt x="1240" y="1289"/>
                  </a:cubicBezTo>
                  <a:cubicBezTo>
                    <a:pt x="1244" y="1294"/>
                    <a:pt x="1246" y="1300"/>
                    <a:pt x="1248" y="1306"/>
                  </a:cubicBezTo>
                  <a:cubicBezTo>
                    <a:pt x="1249" y="1309"/>
                    <a:pt x="1251" y="1312"/>
                    <a:pt x="1251" y="1315"/>
                  </a:cubicBezTo>
                  <a:cubicBezTo>
                    <a:pt x="1253" y="1321"/>
                    <a:pt x="1256" y="1326"/>
                    <a:pt x="1261" y="1331"/>
                  </a:cubicBezTo>
                  <a:cubicBezTo>
                    <a:pt x="1263" y="1333"/>
                    <a:pt x="1266" y="1337"/>
                    <a:pt x="1267" y="1340"/>
                  </a:cubicBezTo>
                  <a:cubicBezTo>
                    <a:pt x="1270" y="1347"/>
                    <a:pt x="1275" y="1354"/>
                    <a:pt x="1276" y="1362"/>
                  </a:cubicBezTo>
                  <a:cubicBezTo>
                    <a:pt x="1276" y="1367"/>
                    <a:pt x="1279" y="1371"/>
                    <a:pt x="1282" y="1375"/>
                  </a:cubicBezTo>
                  <a:cubicBezTo>
                    <a:pt x="1283" y="1376"/>
                    <a:pt x="1285" y="1378"/>
                    <a:pt x="1286" y="1379"/>
                  </a:cubicBezTo>
                  <a:cubicBezTo>
                    <a:pt x="1290" y="1382"/>
                    <a:pt x="1297" y="1381"/>
                    <a:pt x="1299" y="1377"/>
                  </a:cubicBezTo>
                  <a:cubicBezTo>
                    <a:pt x="1300" y="1376"/>
                    <a:pt x="1301" y="1375"/>
                    <a:pt x="1302" y="1373"/>
                  </a:cubicBezTo>
                  <a:cubicBezTo>
                    <a:pt x="1303" y="1371"/>
                    <a:pt x="1305" y="1369"/>
                    <a:pt x="1308" y="1368"/>
                  </a:cubicBezTo>
                  <a:cubicBezTo>
                    <a:pt x="1311" y="1367"/>
                    <a:pt x="1312" y="1364"/>
                    <a:pt x="1314" y="1361"/>
                  </a:cubicBezTo>
                  <a:cubicBezTo>
                    <a:pt x="1315" y="1357"/>
                    <a:pt x="1318" y="1354"/>
                    <a:pt x="1322" y="1352"/>
                  </a:cubicBezTo>
                  <a:cubicBezTo>
                    <a:pt x="1325" y="1350"/>
                    <a:pt x="1325" y="1348"/>
                    <a:pt x="1325" y="1345"/>
                  </a:cubicBezTo>
                  <a:cubicBezTo>
                    <a:pt x="1325" y="1342"/>
                    <a:pt x="1324" y="1340"/>
                    <a:pt x="1324" y="1337"/>
                  </a:cubicBezTo>
                  <a:cubicBezTo>
                    <a:pt x="1323" y="1334"/>
                    <a:pt x="1323" y="1331"/>
                    <a:pt x="1325" y="1328"/>
                  </a:cubicBezTo>
                  <a:cubicBezTo>
                    <a:pt x="1326" y="1326"/>
                    <a:pt x="1326" y="1324"/>
                    <a:pt x="1327" y="1322"/>
                  </a:cubicBezTo>
                  <a:cubicBezTo>
                    <a:pt x="1329" y="1318"/>
                    <a:pt x="1329" y="1313"/>
                    <a:pt x="1327" y="1309"/>
                  </a:cubicBezTo>
                  <a:cubicBezTo>
                    <a:pt x="1326" y="1306"/>
                    <a:pt x="1326" y="1304"/>
                    <a:pt x="1326" y="1301"/>
                  </a:cubicBezTo>
                  <a:cubicBezTo>
                    <a:pt x="1326" y="1295"/>
                    <a:pt x="1326" y="1290"/>
                    <a:pt x="1326" y="1284"/>
                  </a:cubicBezTo>
                  <a:cubicBezTo>
                    <a:pt x="1326" y="1280"/>
                    <a:pt x="1328" y="1278"/>
                    <a:pt x="1332" y="1277"/>
                  </a:cubicBezTo>
                  <a:cubicBezTo>
                    <a:pt x="1333" y="1277"/>
                    <a:pt x="1336" y="1277"/>
                    <a:pt x="1336" y="1276"/>
                  </a:cubicBezTo>
                  <a:cubicBezTo>
                    <a:pt x="1339" y="1271"/>
                    <a:pt x="1344" y="1270"/>
                    <a:pt x="1348" y="1268"/>
                  </a:cubicBezTo>
                  <a:cubicBezTo>
                    <a:pt x="1350" y="1268"/>
                    <a:pt x="1352" y="1266"/>
                    <a:pt x="1352" y="1264"/>
                  </a:cubicBezTo>
                  <a:cubicBezTo>
                    <a:pt x="1353" y="1261"/>
                    <a:pt x="1354" y="1258"/>
                    <a:pt x="1356" y="1257"/>
                  </a:cubicBezTo>
                  <a:cubicBezTo>
                    <a:pt x="1363" y="1253"/>
                    <a:pt x="1367" y="1247"/>
                    <a:pt x="1374" y="1243"/>
                  </a:cubicBezTo>
                  <a:cubicBezTo>
                    <a:pt x="1376" y="1241"/>
                    <a:pt x="1378" y="1238"/>
                    <a:pt x="1380" y="1236"/>
                  </a:cubicBezTo>
                  <a:cubicBezTo>
                    <a:pt x="1382" y="1233"/>
                    <a:pt x="1385" y="1230"/>
                    <a:pt x="1387" y="1227"/>
                  </a:cubicBezTo>
                  <a:cubicBezTo>
                    <a:pt x="1389" y="1225"/>
                    <a:pt x="1391" y="1224"/>
                    <a:pt x="1394" y="1223"/>
                  </a:cubicBezTo>
                  <a:cubicBezTo>
                    <a:pt x="1403" y="1219"/>
                    <a:pt x="1409" y="1213"/>
                    <a:pt x="1409" y="1202"/>
                  </a:cubicBezTo>
                  <a:cubicBezTo>
                    <a:pt x="1409" y="1200"/>
                    <a:pt x="1411" y="1198"/>
                    <a:pt x="1414" y="1197"/>
                  </a:cubicBezTo>
                  <a:cubicBezTo>
                    <a:pt x="1418" y="1194"/>
                    <a:pt x="1422" y="1194"/>
                    <a:pt x="1427" y="1194"/>
                  </a:cubicBezTo>
                  <a:cubicBezTo>
                    <a:pt x="1437" y="1195"/>
                    <a:pt x="1446" y="1192"/>
                    <a:pt x="1455" y="1187"/>
                  </a:cubicBezTo>
                  <a:cubicBezTo>
                    <a:pt x="1458" y="1184"/>
                    <a:pt x="1463" y="1185"/>
                    <a:pt x="1467" y="1182"/>
                  </a:cubicBezTo>
                  <a:cubicBezTo>
                    <a:pt x="1467" y="1181"/>
                    <a:pt x="1469" y="1182"/>
                    <a:pt x="1469" y="1183"/>
                  </a:cubicBezTo>
                  <a:cubicBezTo>
                    <a:pt x="1470" y="1186"/>
                    <a:pt x="1471" y="1189"/>
                    <a:pt x="1472" y="1192"/>
                  </a:cubicBezTo>
                  <a:cubicBezTo>
                    <a:pt x="1476" y="1202"/>
                    <a:pt x="1481" y="1211"/>
                    <a:pt x="1492" y="1216"/>
                  </a:cubicBezTo>
                  <a:cubicBezTo>
                    <a:pt x="1494" y="1216"/>
                    <a:pt x="1495" y="1217"/>
                    <a:pt x="1497" y="1218"/>
                  </a:cubicBezTo>
                  <a:cubicBezTo>
                    <a:pt x="1499" y="1219"/>
                    <a:pt x="1499" y="1221"/>
                    <a:pt x="1499" y="1224"/>
                  </a:cubicBezTo>
                  <a:cubicBezTo>
                    <a:pt x="1498" y="1229"/>
                    <a:pt x="1498" y="1231"/>
                    <a:pt x="1503" y="1233"/>
                  </a:cubicBezTo>
                  <a:cubicBezTo>
                    <a:pt x="1506" y="1234"/>
                    <a:pt x="1509" y="1236"/>
                    <a:pt x="1510" y="1239"/>
                  </a:cubicBezTo>
                  <a:cubicBezTo>
                    <a:pt x="1511" y="1239"/>
                    <a:pt x="1511" y="1239"/>
                    <a:pt x="1511" y="1240"/>
                  </a:cubicBezTo>
                  <a:cubicBezTo>
                    <a:pt x="1515" y="1247"/>
                    <a:pt x="1516" y="1254"/>
                    <a:pt x="1514" y="1261"/>
                  </a:cubicBezTo>
                  <a:cubicBezTo>
                    <a:pt x="1513" y="1263"/>
                    <a:pt x="1514" y="1266"/>
                    <a:pt x="1514" y="1269"/>
                  </a:cubicBezTo>
                  <a:cubicBezTo>
                    <a:pt x="1514" y="1271"/>
                    <a:pt x="1517" y="1274"/>
                    <a:pt x="1519" y="1274"/>
                  </a:cubicBezTo>
                  <a:cubicBezTo>
                    <a:pt x="1525" y="1274"/>
                    <a:pt x="1531" y="1273"/>
                    <a:pt x="1536" y="1270"/>
                  </a:cubicBezTo>
                  <a:cubicBezTo>
                    <a:pt x="1540" y="1267"/>
                    <a:pt x="1545" y="1265"/>
                    <a:pt x="1549" y="1262"/>
                  </a:cubicBezTo>
                  <a:close/>
                  <a:moveTo>
                    <a:pt x="2226" y="188"/>
                  </a:moveTo>
                  <a:cubicBezTo>
                    <a:pt x="2228" y="187"/>
                    <a:pt x="2230" y="187"/>
                    <a:pt x="2232" y="186"/>
                  </a:cubicBezTo>
                  <a:cubicBezTo>
                    <a:pt x="2232" y="186"/>
                    <a:pt x="2233" y="187"/>
                    <a:pt x="2233" y="187"/>
                  </a:cubicBezTo>
                  <a:cubicBezTo>
                    <a:pt x="2233" y="187"/>
                    <a:pt x="2233" y="188"/>
                    <a:pt x="2233" y="189"/>
                  </a:cubicBezTo>
                  <a:cubicBezTo>
                    <a:pt x="2232" y="190"/>
                    <a:pt x="2230" y="191"/>
                    <a:pt x="2228" y="192"/>
                  </a:cubicBezTo>
                  <a:cubicBezTo>
                    <a:pt x="2227" y="192"/>
                    <a:pt x="2225" y="191"/>
                    <a:pt x="2224" y="190"/>
                  </a:cubicBezTo>
                  <a:cubicBezTo>
                    <a:pt x="2224" y="189"/>
                    <a:pt x="2224" y="188"/>
                    <a:pt x="2226" y="188"/>
                  </a:cubicBezTo>
                  <a:close/>
                  <a:moveTo>
                    <a:pt x="1712" y="60"/>
                  </a:moveTo>
                  <a:cubicBezTo>
                    <a:pt x="1713" y="60"/>
                    <a:pt x="1714" y="60"/>
                    <a:pt x="1715" y="60"/>
                  </a:cubicBezTo>
                  <a:cubicBezTo>
                    <a:pt x="1715" y="61"/>
                    <a:pt x="1714" y="61"/>
                    <a:pt x="1714" y="62"/>
                  </a:cubicBezTo>
                  <a:cubicBezTo>
                    <a:pt x="1713" y="63"/>
                    <a:pt x="1712" y="64"/>
                    <a:pt x="1711" y="65"/>
                  </a:cubicBezTo>
                  <a:cubicBezTo>
                    <a:pt x="1710" y="65"/>
                    <a:pt x="1710" y="65"/>
                    <a:pt x="1709" y="65"/>
                  </a:cubicBezTo>
                  <a:cubicBezTo>
                    <a:pt x="1708" y="65"/>
                    <a:pt x="1707" y="65"/>
                    <a:pt x="1707" y="64"/>
                  </a:cubicBezTo>
                  <a:cubicBezTo>
                    <a:pt x="1707" y="61"/>
                    <a:pt x="1708" y="60"/>
                    <a:pt x="1712" y="60"/>
                  </a:cubicBezTo>
                  <a:close/>
                  <a:moveTo>
                    <a:pt x="1657" y="115"/>
                  </a:moveTo>
                  <a:cubicBezTo>
                    <a:pt x="1659" y="115"/>
                    <a:pt x="1661" y="116"/>
                    <a:pt x="1663" y="116"/>
                  </a:cubicBezTo>
                  <a:cubicBezTo>
                    <a:pt x="1664" y="116"/>
                    <a:pt x="1664" y="117"/>
                    <a:pt x="1664" y="117"/>
                  </a:cubicBezTo>
                  <a:cubicBezTo>
                    <a:pt x="1663" y="118"/>
                    <a:pt x="1663" y="119"/>
                    <a:pt x="1662" y="120"/>
                  </a:cubicBezTo>
                  <a:cubicBezTo>
                    <a:pt x="1660" y="121"/>
                    <a:pt x="1657" y="120"/>
                    <a:pt x="1656" y="117"/>
                  </a:cubicBezTo>
                  <a:cubicBezTo>
                    <a:pt x="1655" y="116"/>
                    <a:pt x="1656" y="115"/>
                    <a:pt x="1657" y="115"/>
                  </a:cubicBezTo>
                  <a:close/>
                  <a:moveTo>
                    <a:pt x="1312" y="49"/>
                  </a:moveTo>
                  <a:cubicBezTo>
                    <a:pt x="1313" y="49"/>
                    <a:pt x="1313" y="49"/>
                    <a:pt x="1313" y="50"/>
                  </a:cubicBezTo>
                  <a:cubicBezTo>
                    <a:pt x="1313" y="49"/>
                    <a:pt x="1312" y="49"/>
                    <a:pt x="1312" y="49"/>
                  </a:cubicBezTo>
                  <a:cubicBezTo>
                    <a:pt x="1311" y="48"/>
                    <a:pt x="1311" y="48"/>
                    <a:pt x="1311" y="48"/>
                  </a:cubicBezTo>
                  <a:lnTo>
                    <a:pt x="1312" y="49"/>
                  </a:lnTo>
                  <a:close/>
                  <a:moveTo>
                    <a:pt x="346" y="522"/>
                  </a:moveTo>
                  <a:cubicBezTo>
                    <a:pt x="346" y="521"/>
                    <a:pt x="346" y="521"/>
                    <a:pt x="346" y="521"/>
                  </a:cubicBezTo>
                  <a:cubicBezTo>
                    <a:pt x="347" y="521"/>
                    <a:pt x="347" y="521"/>
                    <a:pt x="347" y="521"/>
                  </a:cubicBezTo>
                  <a:lnTo>
                    <a:pt x="346" y="522"/>
                  </a:lnTo>
                  <a:close/>
                  <a:moveTo>
                    <a:pt x="452" y="367"/>
                  </a:moveTo>
                  <a:cubicBezTo>
                    <a:pt x="452" y="368"/>
                    <a:pt x="451" y="368"/>
                    <a:pt x="450" y="368"/>
                  </a:cubicBezTo>
                  <a:cubicBezTo>
                    <a:pt x="449" y="368"/>
                    <a:pt x="448" y="368"/>
                    <a:pt x="448" y="368"/>
                  </a:cubicBezTo>
                  <a:cubicBezTo>
                    <a:pt x="448" y="367"/>
                    <a:pt x="447" y="366"/>
                    <a:pt x="447" y="365"/>
                  </a:cubicBezTo>
                  <a:cubicBezTo>
                    <a:pt x="447" y="365"/>
                    <a:pt x="449" y="364"/>
                    <a:pt x="449" y="364"/>
                  </a:cubicBezTo>
                  <a:cubicBezTo>
                    <a:pt x="451" y="364"/>
                    <a:pt x="453" y="366"/>
                    <a:pt x="452" y="367"/>
                  </a:cubicBezTo>
                  <a:close/>
                  <a:moveTo>
                    <a:pt x="469" y="357"/>
                  </a:moveTo>
                  <a:cubicBezTo>
                    <a:pt x="469" y="357"/>
                    <a:pt x="469" y="357"/>
                    <a:pt x="469" y="357"/>
                  </a:cubicBezTo>
                  <a:cubicBezTo>
                    <a:pt x="469" y="358"/>
                    <a:pt x="469" y="359"/>
                    <a:pt x="467" y="359"/>
                  </a:cubicBezTo>
                  <a:cubicBezTo>
                    <a:pt x="467" y="359"/>
                    <a:pt x="467" y="358"/>
                    <a:pt x="467" y="358"/>
                  </a:cubicBezTo>
                  <a:cubicBezTo>
                    <a:pt x="467" y="358"/>
                    <a:pt x="468" y="358"/>
                    <a:pt x="469" y="357"/>
                  </a:cubicBezTo>
                  <a:cubicBezTo>
                    <a:pt x="469" y="357"/>
                    <a:pt x="469" y="357"/>
                    <a:pt x="469" y="357"/>
                  </a:cubicBezTo>
                  <a:cubicBezTo>
                    <a:pt x="469" y="356"/>
                    <a:pt x="469" y="356"/>
                    <a:pt x="469" y="356"/>
                  </a:cubicBezTo>
                  <a:lnTo>
                    <a:pt x="469" y="357"/>
                  </a:lnTo>
                  <a:close/>
                  <a:moveTo>
                    <a:pt x="492" y="350"/>
                  </a:moveTo>
                  <a:cubicBezTo>
                    <a:pt x="492" y="350"/>
                    <a:pt x="492" y="350"/>
                    <a:pt x="492" y="350"/>
                  </a:cubicBezTo>
                  <a:cubicBezTo>
                    <a:pt x="492" y="351"/>
                    <a:pt x="492" y="351"/>
                    <a:pt x="492" y="351"/>
                  </a:cubicBezTo>
                  <a:cubicBezTo>
                    <a:pt x="492" y="353"/>
                    <a:pt x="492" y="355"/>
                    <a:pt x="491" y="357"/>
                  </a:cubicBezTo>
                  <a:cubicBezTo>
                    <a:pt x="491" y="358"/>
                    <a:pt x="491" y="358"/>
                    <a:pt x="491" y="359"/>
                  </a:cubicBezTo>
                  <a:cubicBezTo>
                    <a:pt x="491" y="358"/>
                    <a:pt x="490" y="358"/>
                    <a:pt x="490" y="357"/>
                  </a:cubicBezTo>
                  <a:cubicBezTo>
                    <a:pt x="490" y="355"/>
                    <a:pt x="491" y="353"/>
                    <a:pt x="492" y="351"/>
                  </a:cubicBezTo>
                  <a:cubicBezTo>
                    <a:pt x="492" y="351"/>
                    <a:pt x="492" y="350"/>
                    <a:pt x="492" y="350"/>
                  </a:cubicBezTo>
                  <a:cubicBezTo>
                    <a:pt x="492" y="350"/>
                    <a:pt x="492" y="350"/>
                    <a:pt x="492" y="350"/>
                  </a:cubicBezTo>
                  <a:cubicBezTo>
                    <a:pt x="493" y="350"/>
                    <a:pt x="493" y="349"/>
                    <a:pt x="493" y="349"/>
                  </a:cubicBezTo>
                  <a:cubicBezTo>
                    <a:pt x="493" y="349"/>
                    <a:pt x="493" y="350"/>
                    <a:pt x="492" y="350"/>
                  </a:cubicBezTo>
                  <a:close/>
                  <a:moveTo>
                    <a:pt x="522" y="389"/>
                  </a:moveTo>
                  <a:cubicBezTo>
                    <a:pt x="523" y="387"/>
                    <a:pt x="524" y="386"/>
                    <a:pt x="525" y="385"/>
                  </a:cubicBezTo>
                  <a:cubicBezTo>
                    <a:pt x="525" y="385"/>
                    <a:pt x="525" y="385"/>
                    <a:pt x="525" y="385"/>
                  </a:cubicBezTo>
                  <a:cubicBezTo>
                    <a:pt x="526" y="384"/>
                    <a:pt x="526" y="384"/>
                    <a:pt x="526" y="384"/>
                  </a:cubicBezTo>
                  <a:cubicBezTo>
                    <a:pt x="525" y="385"/>
                    <a:pt x="525" y="385"/>
                    <a:pt x="525" y="385"/>
                  </a:cubicBezTo>
                  <a:cubicBezTo>
                    <a:pt x="525" y="385"/>
                    <a:pt x="525" y="385"/>
                    <a:pt x="525" y="385"/>
                  </a:cubicBezTo>
                  <a:cubicBezTo>
                    <a:pt x="526" y="386"/>
                    <a:pt x="526" y="388"/>
                    <a:pt x="527" y="389"/>
                  </a:cubicBezTo>
                  <a:cubicBezTo>
                    <a:pt x="527" y="390"/>
                    <a:pt x="525" y="391"/>
                    <a:pt x="525" y="391"/>
                  </a:cubicBezTo>
                  <a:cubicBezTo>
                    <a:pt x="524" y="391"/>
                    <a:pt x="523" y="391"/>
                    <a:pt x="523" y="391"/>
                  </a:cubicBezTo>
                  <a:cubicBezTo>
                    <a:pt x="523" y="390"/>
                    <a:pt x="522" y="389"/>
                    <a:pt x="522" y="389"/>
                  </a:cubicBezTo>
                  <a:close/>
                  <a:moveTo>
                    <a:pt x="553" y="618"/>
                  </a:moveTo>
                  <a:cubicBezTo>
                    <a:pt x="553" y="618"/>
                    <a:pt x="552" y="618"/>
                    <a:pt x="552" y="618"/>
                  </a:cubicBezTo>
                  <a:cubicBezTo>
                    <a:pt x="550" y="619"/>
                    <a:pt x="550" y="618"/>
                    <a:pt x="549" y="617"/>
                  </a:cubicBezTo>
                  <a:cubicBezTo>
                    <a:pt x="548" y="616"/>
                    <a:pt x="548" y="614"/>
                    <a:pt x="550" y="613"/>
                  </a:cubicBezTo>
                  <a:cubicBezTo>
                    <a:pt x="550" y="613"/>
                    <a:pt x="551" y="613"/>
                    <a:pt x="551" y="613"/>
                  </a:cubicBezTo>
                  <a:cubicBezTo>
                    <a:pt x="553" y="614"/>
                    <a:pt x="554" y="616"/>
                    <a:pt x="553" y="618"/>
                  </a:cubicBezTo>
                  <a:close/>
                  <a:moveTo>
                    <a:pt x="558" y="630"/>
                  </a:moveTo>
                  <a:cubicBezTo>
                    <a:pt x="558" y="629"/>
                    <a:pt x="558" y="629"/>
                    <a:pt x="558" y="629"/>
                  </a:cubicBezTo>
                  <a:cubicBezTo>
                    <a:pt x="559" y="629"/>
                    <a:pt x="559" y="629"/>
                    <a:pt x="559" y="629"/>
                  </a:cubicBezTo>
                  <a:cubicBezTo>
                    <a:pt x="559" y="630"/>
                    <a:pt x="559" y="630"/>
                    <a:pt x="559" y="630"/>
                  </a:cubicBezTo>
                  <a:lnTo>
                    <a:pt x="558" y="630"/>
                  </a:lnTo>
                  <a:close/>
                  <a:moveTo>
                    <a:pt x="628" y="541"/>
                  </a:moveTo>
                  <a:cubicBezTo>
                    <a:pt x="630" y="540"/>
                    <a:pt x="632" y="540"/>
                    <a:pt x="634" y="538"/>
                  </a:cubicBezTo>
                  <a:cubicBezTo>
                    <a:pt x="635" y="538"/>
                    <a:pt x="636" y="537"/>
                    <a:pt x="636" y="536"/>
                  </a:cubicBezTo>
                  <a:cubicBezTo>
                    <a:pt x="636" y="537"/>
                    <a:pt x="637" y="537"/>
                    <a:pt x="637" y="538"/>
                  </a:cubicBezTo>
                  <a:cubicBezTo>
                    <a:pt x="638" y="544"/>
                    <a:pt x="641" y="548"/>
                    <a:pt x="645" y="553"/>
                  </a:cubicBezTo>
                  <a:cubicBezTo>
                    <a:pt x="646" y="555"/>
                    <a:pt x="646" y="557"/>
                    <a:pt x="647" y="559"/>
                  </a:cubicBezTo>
                  <a:cubicBezTo>
                    <a:pt x="646" y="560"/>
                    <a:pt x="645" y="562"/>
                    <a:pt x="644" y="563"/>
                  </a:cubicBezTo>
                  <a:cubicBezTo>
                    <a:pt x="644" y="564"/>
                    <a:pt x="643" y="564"/>
                    <a:pt x="642" y="565"/>
                  </a:cubicBezTo>
                  <a:cubicBezTo>
                    <a:pt x="641" y="565"/>
                    <a:pt x="640" y="564"/>
                    <a:pt x="640" y="563"/>
                  </a:cubicBezTo>
                  <a:cubicBezTo>
                    <a:pt x="640" y="558"/>
                    <a:pt x="637" y="555"/>
                    <a:pt x="633" y="553"/>
                  </a:cubicBezTo>
                  <a:cubicBezTo>
                    <a:pt x="629" y="552"/>
                    <a:pt x="627" y="549"/>
                    <a:pt x="626" y="545"/>
                  </a:cubicBezTo>
                  <a:cubicBezTo>
                    <a:pt x="625" y="543"/>
                    <a:pt x="626" y="541"/>
                    <a:pt x="628" y="541"/>
                  </a:cubicBezTo>
                  <a:close/>
                  <a:moveTo>
                    <a:pt x="585" y="419"/>
                  </a:moveTo>
                  <a:cubicBezTo>
                    <a:pt x="585" y="418"/>
                    <a:pt x="586" y="417"/>
                    <a:pt x="586" y="417"/>
                  </a:cubicBezTo>
                  <a:cubicBezTo>
                    <a:pt x="586" y="418"/>
                    <a:pt x="585" y="418"/>
                    <a:pt x="585" y="419"/>
                  </a:cubicBezTo>
                  <a:cubicBezTo>
                    <a:pt x="585" y="420"/>
                    <a:pt x="585" y="420"/>
                    <a:pt x="584" y="419"/>
                  </a:cubicBezTo>
                  <a:cubicBezTo>
                    <a:pt x="584" y="419"/>
                    <a:pt x="584" y="419"/>
                    <a:pt x="585" y="419"/>
                  </a:cubicBezTo>
                  <a:close/>
                  <a:moveTo>
                    <a:pt x="579" y="565"/>
                  </a:moveTo>
                  <a:cubicBezTo>
                    <a:pt x="579" y="564"/>
                    <a:pt x="578" y="563"/>
                    <a:pt x="579" y="562"/>
                  </a:cubicBezTo>
                  <a:cubicBezTo>
                    <a:pt x="579" y="558"/>
                    <a:pt x="581" y="555"/>
                    <a:pt x="585" y="553"/>
                  </a:cubicBezTo>
                  <a:cubicBezTo>
                    <a:pt x="585" y="553"/>
                    <a:pt x="586" y="553"/>
                    <a:pt x="586" y="553"/>
                  </a:cubicBezTo>
                  <a:cubicBezTo>
                    <a:pt x="587" y="553"/>
                    <a:pt x="589" y="553"/>
                    <a:pt x="589" y="554"/>
                  </a:cubicBezTo>
                  <a:cubicBezTo>
                    <a:pt x="593" y="556"/>
                    <a:pt x="596" y="559"/>
                    <a:pt x="600" y="562"/>
                  </a:cubicBezTo>
                  <a:cubicBezTo>
                    <a:pt x="600" y="562"/>
                    <a:pt x="601" y="563"/>
                    <a:pt x="602" y="564"/>
                  </a:cubicBezTo>
                  <a:cubicBezTo>
                    <a:pt x="609" y="570"/>
                    <a:pt x="608" y="577"/>
                    <a:pt x="599" y="582"/>
                  </a:cubicBezTo>
                  <a:cubicBezTo>
                    <a:pt x="599" y="582"/>
                    <a:pt x="598" y="583"/>
                    <a:pt x="598" y="583"/>
                  </a:cubicBezTo>
                  <a:cubicBezTo>
                    <a:pt x="595" y="584"/>
                    <a:pt x="594" y="584"/>
                    <a:pt x="592" y="583"/>
                  </a:cubicBezTo>
                  <a:cubicBezTo>
                    <a:pt x="587" y="577"/>
                    <a:pt x="583" y="571"/>
                    <a:pt x="579" y="565"/>
                  </a:cubicBezTo>
                  <a:close/>
                  <a:moveTo>
                    <a:pt x="601" y="927"/>
                  </a:moveTo>
                  <a:cubicBezTo>
                    <a:pt x="600" y="928"/>
                    <a:pt x="598" y="929"/>
                    <a:pt x="597" y="929"/>
                  </a:cubicBezTo>
                  <a:cubicBezTo>
                    <a:pt x="596" y="930"/>
                    <a:pt x="595" y="929"/>
                    <a:pt x="594" y="929"/>
                  </a:cubicBezTo>
                  <a:cubicBezTo>
                    <a:pt x="593" y="929"/>
                    <a:pt x="592" y="929"/>
                    <a:pt x="591" y="929"/>
                  </a:cubicBezTo>
                  <a:cubicBezTo>
                    <a:pt x="589" y="929"/>
                    <a:pt x="587" y="929"/>
                    <a:pt x="586" y="929"/>
                  </a:cubicBezTo>
                  <a:cubicBezTo>
                    <a:pt x="584" y="929"/>
                    <a:pt x="582" y="928"/>
                    <a:pt x="582" y="927"/>
                  </a:cubicBezTo>
                  <a:cubicBezTo>
                    <a:pt x="583" y="925"/>
                    <a:pt x="584" y="924"/>
                    <a:pt x="585" y="923"/>
                  </a:cubicBezTo>
                  <a:cubicBezTo>
                    <a:pt x="589" y="920"/>
                    <a:pt x="594" y="921"/>
                    <a:pt x="599" y="921"/>
                  </a:cubicBezTo>
                  <a:cubicBezTo>
                    <a:pt x="602" y="922"/>
                    <a:pt x="603" y="924"/>
                    <a:pt x="601" y="927"/>
                  </a:cubicBezTo>
                  <a:close/>
                  <a:moveTo>
                    <a:pt x="759" y="911"/>
                  </a:moveTo>
                  <a:cubicBezTo>
                    <a:pt x="757" y="912"/>
                    <a:pt x="755" y="913"/>
                    <a:pt x="754" y="914"/>
                  </a:cubicBezTo>
                  <a:cubicBezTo>
                    <a:pt x="750" y="916"/>
                    <a:pt x="747" y="917"/>
                    <a:pt x="743" y="916"/>
                  </a:cubicBezTo>
                  <a:cubicBezTo>
                    <a:pt x="738" y="914"/>
                    <a:pt x="733" y="915"/>
                    <a:pt x="728" y="917"/>
                  </a:cubicBezTo>
                  <a:cubicBezTo>
                    <a:pt x="725" y="918"/>
                    <a:pt x="722" y="917"/>
                    <a:pt x="718" y="916"/>
                  </a:cubicBezTo>
                  <a:cubicBezTo>
                    <a:pt x="712" y="914"/>
                    <a:pt x="706" y="913"/>
                    <a:pt x="700" y="911"/>
                  </a:cubicBezTo>
                  <a:cubicBezTo>
                    <a:pt x="698" y="910"/>
                    <a:pt x="697" y="909"/>
                    <a:pt x="696" y="908"/>
                  </a:cubicBezTo>
                  <a:cubicBezTo>
                    <a:pt x="695" y="907"/>
                    <a:pt x="694" y="906"/>
                    <a:pt x="693" y="906"/>
                  </a:cubicBezTo>
                  <a:cubicBezTo>
                    <a:pt x="687" y="905"/>
                    <a:pt x="682" y="903"/>
                    <a:pt x="676" y="902"/>
                  </a:cubicBezTo>
                  <a:cubicBezTo>
                    <a:pt x="665" y="900"/>
                    <a:pt x="654" y="902"/>
                    <a:pt x="644" y="906"/>
                  </a:cubicBezTo>
                  <a:cubicBezTo>
                    <a:pt x="639" y="907"/>
                    <a:pt x="636" y="910"/>
                    <a:pt x="633" y="913"/>
                  </a:cubicBezTo>
                  <a:cubicBezTo>
                    <a:pt x="631" y="916"/>
                    <a:pt x="629" y="917"/>
                    <a:pt x="626" y="916"/>
                  </a:cubicBezTo>
                  <a:cubicBezTo>
                    <a:pt x="620" y="914"/>
                    <a:pt x="614" y="915"/>
                    <a:pt x="608" y="915"/>
                  </a:cubicBezTo>
                  <a:cubicBezTo>
                    <a:pt x="599" y="915"/>
                    <a:pt x="593" y="912"/>
                    <a:pt x="589" y="904"/>
                  </a:cubicBezTo>
                  <a:cubicBezTo>
                    <a:pt x="588" y="902"/>
                    <a:pt x="587" y="899"/>
                    <a:pt x="586" y="897"/>
                  </a:cubicBezTo>
                  <a:cubicBezTo>
                    <a:pt x="585" y="896"/>
                    <a:pt x="585" y="894"/>
                    <a:pt x="586" y="892"/>
                  </a:cubicBezTo>
                  <a:cubicBezTo>
                    <a:pt x="587" y="889"/>
                    <a:pt x="587" y="885"/>
                    <a:pt x="590" y="883"/>
                  </a:cubicBezTo>
                  <a:cubicBezTo>
                    <a:pt x="593" y="880"/>
                    <a:pt x="595" y="877"/>
                    <a:pt x="595" y="873"/>
                  </a:cubicBezTo>
                  <a:cubicBezTo>
                    <a:pt x="595" y="870"/>
                    <a:pt x="595" y="867"/>
                    <a:pt x="596" y="864"/>
                  </a:cubicBezTo>
                  <a:cubicBezTo>
                    <a:pt x="596" y="861"/>
                    <a:pt x="597" y="860"/>
                    <a:pt x="600" y="859"/>
                  </a:cubicBezTo>
                  <a:cubicBezTo>
                    <a:pt x="604" y="858"/>
                    <a:pt x="605" y="855"/>
                    <a:pt x="606" y="851"/>
                  </a:cubicBezTo>
                  <a:cubicBezTo>
                    <a:pt x="606" y="849"/>
                    <a:pt x="607" y="847"/>
                    <a:pt x="608" y="845"/>
                  </a:cubicBezTo>
                  <a:cubicBezTo>
                    <a:pt x="612" y="840"/>
                    <a:pt x="615" y="836"/>
                    <a:pt x="619" y="831"/>
                  </a:cubicBezTo>
                  <a:cubicBezTo>
                    <a:pt x="620" y="829"/>
                    <a:pt x="624" y="829"/>
                    <a:pt x="626" y="830"/>
                  </a:cubicBezTo>
                  <a:cubicBezTo>
                    <a:pt x="627" y="830"/>
                    <a:pt x="627" y="830"/>
                    <a:pt x="628" y="830"/>
                  </a:cubicBezTo>
                  <a:cubicBezTo>
                    <a:pt x="633" y="835"/>
                    <a:pt x="640" y="837"/>
                    <a:pt x="647" y="837"/>
                  </a:cubicBezTo>
                  <a:cubicBezTo>
                    <a:pt x="649" y="837"/>
                    <a:pt x="650" y="840"/>
                    <a:pt x="649" y="841"/>
                  </a:cubicBezTo>
                  <a:cubicBezTo>
                    <a:pt x="647" y="842"/>
                    <a:pt x="646" y="844"/>
                    <a:pt x="644" y="845"/>
                  </a:cubicBezTo>
                  <a:cubicBezTo>
                    <a:pt x="643" y="847"/>
                    <a:pt x="644" y="848"/>
                    <a:pt x="645" y="849"/>
                  </a:cubicBezTo>
                  <a:cubicBezTo>
                    <a:pt x="646" y="850"/>
                    <a:pt x="647" y="850"/>
                    <a:pt x="648" y="850"/>
                  </a:cubicBezTo>
                  <a:cubicBezTo>
                    <a:pt x="651" y="852"/>
                    <a:pt x="653" y="854"/>
                    <a:pt x="654" y="858"/>
                  </a:cubicBezTo>
                  <a:cubicBezTo>
                    <a:pt x="655" y="862"/>
                    <a:pt x="658" y="863"/>
                    <a:pt x="662" y="862"/>
                  </a:cubicBezTo>
                  <a:cubicBezTo>
                    <a:pt x="664" y="861"/>
                    <a:pt x="665" y="861"/>
                    <a:pt x="667" y="860"/>
                  </a:cubicBezTo>
                  <a:cubicBezTo>
                    <a:pt x="670" y="859"/>
                    <a:pt x="673" y="857"/>
                    <a:pt x="676" y="856"/>
                  </a:cubicBezTo>
                  <a:cubicBezTo>
                    <a:pt x="679" y="853"/>
                    <a:pt x="684" y="853"/>
                    <a:pt x="688" y="852"/>
                  </a:cubicBezTo>
                  <a:cubicBezTo>
                    <a:pt x="689" y="852"/>
                    <a:pt x="690" y="852"/>
                    <a:pt x="691" y="851"/>
                  </a:cubicBezTo>
                  <a:cubicBezTo>
                    <a:pt x="692" y="851"/>
                    <a:pt x="693" y="849"/>
                    <a:pt x="693" y="847"/>
                  </a:cubicBezTo>
                  <a:cubicBezTo>
                    <a:pt x="692" y="845"/>
                    <a:pt x="691" y="844"/>
                    <a:pt x="689" y="844"/>
                  </a:cubicBezTo>
                  <a:cubicBezTo>
                    <a:pt x="689" y="844"/>
                    <a:pt x="688" y="844"/>
                    <a:pt x="687" y="845"/>
                  </a:cubicBezTo>
                  <a:cubicBezTo>
                    <a:pt x="675" y="846"/>
                    <a:pt x="675" y="846"/>
                    <a:pt x="668" y="837"/>
                  </a:cubicBezTo>
                  <a:cubicBezTo>
                    <a:pt x="667" y="837"/>
                    <a:pt x="667" y="837"/>
                    <a:pt x="667" y="837"/>
                  </a:cubicBezTo>
                  <a:cubicBezTo>
                    <a:pt x="667" y="836"/>
                    <a:pt x="667" y="836"/>
                    <a:pt x="667" y="836"/>
                  </a:cubicBezTo>
                  <a:cubicBezTo>
                    <a:pt x="668" y="836"/>
                    <a:pt x="668" y="836"/>
                    <a:pt x="668" y="837"/>
                  </a:cubicBezTo>
                  <a:cubicBezTo>
                    <a:pt x="668" y="837"/>
                    <a:pt x="668" y="837"/>
                    <a:pt x="668" y="837"/>
                  </a:cubicBezTo>
                  <a:cubicBezTo>
                    <a:pt x="672" y="832"/>
                    <a:pt x="677" y="828"/>
                    <a:pt x="684" y="827"/>
                  </a:cubicBezTo>
                  <a:cubicBezTo>
                    <a:pt x="688" y="827"/>
                    <a:pt x="691" y="825"/>
                    <a:pt x="694" y="823"/>
                  </a:cubicBezTo>
                  <a:cubicBezTo>
                    <a:pt x="700" y="818"/>
                    <a:pt x="707" y="817"/>
                    <a:pt x="714" y="818"/>
                  </a:cubicBezTo>
                  <a:cubicBezTo>
                    <a:pt x="715" y="818"/>
                    <a:pt x="716" y="818"/>
                    <a:pt x="716" y="818"/>
                  </a:cubicBezTo>
                  <a:cubicBezTo>
                    <a:pt x="717" y="818"/>
                    <a:pt x="717" y="818"/>
                    <a:pt x="717" y="818"/>
                  </a:cubicBezTo>
                  <a:cubicBezTo>
                    <a:pt x="718" y="817"/>
                    <a:pt x="718" y="817"/>
                    <a:pt x="718" y="817"/>
                  </a:cubicBezTo>
                  <a:cubicBezTo>
                    <a:pt x="717" y="818"/>
                    <a:pt x="717" y="818"/>
                    <a:pt x="717" y="818"/>
                  </a:cubicBezTo>
                  <a:cubicBezTo>
                    <a:pt x="717" y="818"/>
                    <a:pt x="717" y="818"/>
                    <a:pt x="716" y="818"/>
                  </a:cubicBezTo>
                  <a:cubicBezTo>
                    <a:pt x="714" y="820"/>
                    <a:pt x="711" y="823"/>
                    <a:pt x="709" y="825"/>
                  </a:cubicBezTo>
                  <a:cubicBezTo>
                    <a:pt x="707" y="827"/>
                    <a:pt x="707" y="829"/>
                    <a:pt x="708" y="831"/>
                  </a:cubicBezTo>
                  <a:cubicBezTo>
                    <a:pt x="709" y="832"/>
                    <a:pt x="709" y="834"/>
                    <a:pt x="708" y="835"/>
                  </a:cubicBezTo>
                  <a:cubicBezTo>
                    <a:pt x="705" y="840"/>
                    <a:pt x="703" y="845"/>
                    <a:pt x="698" y="848"/>
                  </a:cubicBezTo>
                  <a:cubicBezTo>
                    <a:pt x="698" y="848"/>
                    <a:pt x="698" y="850"/>
                    <a:pt x="698" y="850"/>
                  </a:cubicBezTo>
                  <a:cubicBezTo>
                    <a:pt x="701" y="855"/>
                    <a:pt x="705" y="858"/>
                    <a:pt x="710" y="860"/>
                  </a:cubicBezTo>
                  <a:cubicBezTo>
                    <a:pt x="717" y="861"/>
                    <a:pt x="724" y="865"/>
                    <a:pt x="729" y="870"/>
                  </a:cubicBezTo>
                  <a:cubicBezTo>
                    <a:pt x="735" y="876"/>
                    <a:pt x="743" y="880"/>
                    <a:pt x="750" y="884"/>
                  </a:cubicBezTo>
                  <a:cubicBezTo>
                    <a:pt x="759" y="888"/>
                    <a:pt x="762" y="894"/>
                    <a:pt x="763" y="903"/>
                  </a:cubicBezTo>
                  <a:cubicBezTo>
                    <a:pt x="763" y="906"/>
                    <a:pt x="762" y="909"/>
                    <a:pt x="759" y="911"/>
                  </a:cubicBezTo>
                  <a:close/>
                  <a:moveTo>
                    <a:pt x="936" y="978"/>
                  </a:moveTo>
                  <a:cubicBezTo>
                    <a:pt x="929" y="979"/>
                    <a:pt x="922" y="980"/>
                    <a:pt x="915" y="981"/>
                  </a:cubicBezTo>
                  <a:cubicBezTo>
                    <a:pt x="913" y="981"/>
                    <a:pt x="911" y="981"/>
                    <a:pt x="910" y="981"/>
                  </a:cubicBezTo>
                  <a:cubicBezTo>
                    <a:pt x="902" y="980"/>
                    <a:pt x="894" y="980"/>
                    <a:pt x="889" y="974"/>
                  </a:cubicBezTo>
                  <a:cubicBezTo>
                    <a:pt x="887" y="972"/>
                    <a:pt x="884" y="971"/>
                    <a:pt x="881" y="970"/>
                  </a:cubicBezTo>
                  <a:cubicBezTo>
                    <a:pt x="879" y="970"/>
                    <a:pt x="877" y="970"/>
                    <a:pt x="875" y="969"/>
                  </a:cubicBezTo>
                  <a:cubicBezTo>
                    <a:pt x="873" y="969"/>
                    <a:pt x="872" y="968"/>
                    <a:pt x="871" y="966"/>
                  </a:cubicBezTo>
                  <a:cubicBezTo>
                    <a:pt x="868" y="960"/>
                    <a:pt x="865" y="953"/>
                    <a:pt x="868" y="945"/>
                  </a:cubicBezTo>
                  <a:cubicBezTo>
                    <a:pt x="870" y="942"/>
                    <a:pt x="871" y="938"/>
                    <a:pt x="872" y="935"/>
                  </a:cubicBezTo>
                  <a:cubicBezTo>
                    <a:pt x="872" y="930"/>
                    <a:pt x="875" y="926"/>
                    <a:pt x="879" y="924"/>
                  </a:cubicBezTo>
                  <a:cubicBezTo>
                    <a:pt x="880" y="923"/>
                    <a:pt x="880" y="922"/>
                    <a:pt x="879" y="921"/>
                  </a:cubicBezTo>
                  <a:cubicBezTo>
                    <a:pt x="879" y="920"/>
                    <a:pt x="878" y="920"/>
                    <a:pt x="877" y="919"/>
                  </a:cubicBezTo>
                  <a:cubicBezTo>
                    <a:pt x="871" y="917"/>
                    <a:pt x="867" y="914"/>
                    <a:pt x="865" y="909"/>
                  </a:cubicBezTo>
                  <a:cubicBezTo>
                    <a:pt x="862" y="903"/>
                    <a:pt x="858" y="899"/>
                    <a:pt x="853" y="896"/>
                  </a:cubicBezTo>
                  <a:cubicBezTo>
                    <a:pt x="846" y="891"/>
                    <a:pt x="842" y="885"/>
                    <a:pt x="840" y="877"/>
                  </a:cubicBezTo>
                  <a:cubicBezTo>
                    <a:pt x="839" y="870"/>
                    <a:pt x="835" y="864"/>
                    <a:pt x="829" y="860"/>
                  </a:cubicBezTo>
                  <a:cubicBezTo>
                    <a:pt x="826" y="858"/>
                    <a:pt x="826" y="855"/>
                    <a:pt x="827" y="851"/>
                  </a:cubicBezTo>
                  <a:cubicBezTo>
                    <a:pt x="828" y="848"/>
                    <a:pt x="829" y="845"/>
                    <a:pt x="830" y="843"/>
                  </a:cubicBezTo>
                  <a:cubicBezTo>
                    <a:pt x="831" y="840"/>
                    <a:pt x="833" y="838"/>
                    <a:pt x="836" y="837"/>
                  </a:cubicBezTo>
                  <a:cubicBezTo>
                    <a:pt x="841" y="835"/>
                    <a:pt x="846" y="832"/>
                    <a:pt x="850" y="827"/>
                  </a:cubicBezTo>
                  <a:cubicBezTo>
                    <a:pt x="851" y="826"/>
                    <a:pt x="852" y="825"/>
                    <a:pt x="854" y="824"/>
                  </a:cubicBezTo>
                  <a:cubicBezTo>
                    <a:pt x="860" y="820"/>
                    <a:pt x="866" y="817"/>
                    <a:pt x="872" y="814"/>
                  </a:cubicBezTo>
                  <a:cubicBezTo>
                    <a:pt x="873" y="813"/>
                    <a:pt x="875" y="813"/>
                    <a:pt x="877" y="813"/>
                  </a:cubicBezTo>
                  <a:cubicBezTo>
                    <a:pt x="882" y="815"/>
                    <a:pt x="887" y="816"/>
                    <a:pt x="893" y="815"/>
                  </a:cubicBezTo>
                  <a:cubicBezTo>
                    <a:pt x="896" y="814"/>
                    <a:pt x="898" y="816"/>
                    <a:pt x="899" y="819"/>
                  </a:cubicBezTo>
                  <a:cubicBezTo>
                    <a:pt x="900" y="821"/>
                    <a:pt x="901" y="824"/>
                    <a:pt x="901" y="826"/>
                  </a:cubicBezTo>
                  <a:cubicBezTo>
                    <a:pt x="900" y="829"/>
                    <a:pt x="900" y="833"/>
                    <a:pt x="899" y="836"/>
                  </a:cubicBezTo>
                  <a:cubicBezTo>
                    <a:pt x="899" y="838"/>
                    <a:pt x="898" y="838"/>
                    <a:pt x="896" y="839"/>
                  </a:cubicBezTo>
                  <a:cubicBezTo>
                    <a:pt x="894" y="839"/>
                    <a:pt x="891" y="839"/>
                    <a:pt x="888" y="839"/>
                  </a:cubicBezTo>
                  <a:cubicBezTo>
                    <a:pt x="881" y="840"/>
                    <a:pt x="879" y="842"/>
                    <a:pt x="880" y="849"/>
                  </a:cubicBezTo>
                  <a:cubicBezTo>
                    <a:pt x="880" y="853"/>
                    <a:pt x="880" y="853"/>
                    <a:pt x="877" y="854"/>
                  </a:cubicBezTo>
                  <a:cubicBezTo>
                    <a:pt x="877" y="854"/>
                    <a:pt x="876" y="854"/>
                    <a:pt x="876" y="854"/>
                  </a:cubicBezTo>
                  <a:cubicBezTo>
                    <a:pt x="871" y="856"/>
                    <a:pt x="870" y="857"/>
                    <a:pt x="873" y="859"/>
                  </a:cubicBezTo>
                  <a:cubicBezTo>
                    <a:pt x="877" y="862"/>
                    <a:pt x="880" y="866"/>
                    <a:pt x="882" y="870"/>
                  </a:cubicBezTo>
                  <a:cubicBezTo>
                    <a:pt x="886" y="877"/>
                    <a:pt x="892" y="882"/>
                    <a:pt x="901" y="884"/>
                  </a:cubicBezTo>
                  <a:cubicBezTo>
                    <a:pt x="903" y="885"/>
                    <a:pt x="904" y="886"/>
                    <a:pt x="904" y="889"/>
                  </a:cubicBezTo>
                  <a:cubicBezTo>
                    <a:pt x="904" y="890"/>
                    <a:pt x="904" y="891"/>
                    <a:pt x="904" y="892"/>
                  </a:cubicBezTo>
                  <a:cubicBezTo>
                    <a:pt x="903" y="897"/>
                    <a:pt x="904" y="901"/>
                    <a:pt x="908" y="905"/>
                  </a:cubicBezTo>
                  <a:cubicBezTo>
                    <a:pt x="911" y="909"/>
                    <a:pt x="912" y="914"/>
                    <a:pt x="912" y="920"/>
                  </a:cubicBezTo>
                  <a:cubicBezTo>
                    <a:pt x="911" y="922"/>
                    <a:pt x="912" y="924"/>
                    <a:pt x="912" y="926"/>
                  </a:cubicBezTo>
                  <a:cubicBezTo>
                    <a:pt x="913" y="929"/>
                    <a:pt x="915" y="932"/>
                    <a:pt x="919" y="932"/>
                  </a:cubicBezTo>
                  <a:cubicBezTo>
                    <a:pt x="921" y="932"/>
                    <a:pt x="922" y="932"/>
                    <a:pt x="923" y="933"/>
                  </a:cubicBezTo>
                  <a:cubicBezTo>
                    <a:pt x="924" y="935"/>
                    <a:pt x="924" y="936"/>
                    <a:pt x="923" y="937"/>
                  </a:cubicBezTo>
                  <a:cubicBezTo>
                    <a:pt x="923" y="938"/>
                    <a:pt x="923" y="939"/>
                    <a:pt x="923" y="939"/>
                  </a:cubicBezTo>
                  <a:cubicBezTo>
                    <a:pt x="924" y="940"/>
                    <a:pt x="925" y="942"/>
                    <a:pt x="926" y="942"/>
                  </a:cubicBezTo>
                  <a:cubicBezTo>
                    <a:pt x="930" y="945"/>
                    <a:pt x="932" y="949"/>
                    <a:pt x="932" y="953"/>
                  </a:cubicBezTo>
                  <a:cubicBezTo>
                    <a:pt x="931" y="961"/>
                    <a:pt x="935" y="968"/>
                    <a:pt x="937" y="976"/>
                  </a:cubicBezTo>
                  <a:cubicBezTo>
                    <a:pt x="938" y="977"/>
                    <a:pt x="937" y="978"/>
                    <a:pt x="936" y="978"/>
                  </a:cubicBezTo>
                  <a:close/>
                  <a:moveTo>
                    <a:pt x="972" y="315"/>
                  </a:moveTo>
                  <a:cubicBezTo>
                    <a:pt x="971" y="314"/>
                    <a:pt x="971" y="314"/>
                    <a:pt x="971" y="314"/>
                  </a:cubicBezTo>
                  <a:cubicBezTo>
                    <a:pt x="972" y="314"/>
                    <a:pt x="972" y="314"/>
                    <a:pt x="972" y="314"/>
                  </a:cubicBezTo>
                  <a:lnTo>
                    <a:pt x="972" y="315"/>
                  </a:lnTo>
                  <a:close/>
                  <a:moveTo>
                    <a:pt x="1070" y="355"/>
                  </a:moveTo>
                  <a:cubicBezTo>
                    <a:pt x="1069" y="355"/>
                    <a:pt x="1069" y="355"/>
                    <a:pt x="1069" y="355"/>
                  </a:cubicBezTo>
                  <a:cubicBezTo>
                    <a:pt x="1065" y="349"/>
                    <a:pt x="1060" y="345"/>
                    <a:pt x="1056" y="340"/>
                  </a:cubicBezTo>
                  <a:cubicBezTo>
                    <a:pt x="1056" y="339"/>
                    <a:pt x="1056" y="338"/>
                    <a:pt x="1056" y="338"/>
                  </a:cubicBezTo>
                  <a:cubicBezTo>
                    <a:pt x="1057" y="338"/>
                    <a:pt x="1058" y="337"/>
                    <a:pt x="1058" y="337"/>
                  </a:cubicBezTo>
                  <a:cubicBezTo>
                    <a:pt x="1061" y="337"/>
                    <a:pt x="1063" y="338"/>
                    <a:pt x="1064" y="339"/>
                  </a:cubicBezTo>
                  <a:cubicBezTo>
                    <a:pt x="1067" y="341"/>
                    <a:pt x="1069" y="344"/>
                    <a:pt x="1071" y="346"/>
                  </a:cubicBezTo>
                  <a:cubicBezTo>
                    <a:pt x="1072" y="348"/>
                    <a:pt x="1072" y="352"/>
                    <a:pt x="1070" y="355"/>
                  </a:cubicBezTo>
                  <a:close/>
                  <a:moveTo>
                    <a:pt x="1074" y="368"/>
                  </a:moveTo>
                  <a:cubicBezTo>
                    <a:pt x="1074" y="367"/>
                    <a:pt x="1073" y="367"/>
                    <a:pt x="1073" y="367"/>
                  </a:cubicBezTo>
                  <a:cubicBezTo>
                    <a:pt x="1073" y="366"/>
                    <a:pt x="1074" y="366"/>
                    <a:pt x="1075" y="367"/>
                  </a:cubicBezTo>
                  <a:cubicBezTo>
                    <a:pt x="1075" y="367"/>
                    <a:pt x="1075" y="367"/>
                    <a:pt x="1074" y="368"/>
                  </a:cubicBezTo>
                  <a:close/>
                  <a:moveTo>
                    <a:pt x="1107" y="291"/>
                  </a:moveTo>
                  <a:cubicBezTo>
                    <a:pt x="1106" y="292"/>
                    <a:pt x="1104" y="293"/>
                    <a:pt x="1104" y="292"/>
                  </a:cubicBezTo>
                  <a:cubicBezTo>
                    <a:pt x="1104" y="291"/>
                    <a:pt x="1103" y="291"/>
                    <a:pt x="1104" y="290"/>
                  </a:cubicBezTo>
                  <a:cubicBezTo>
                    <a:pt x="1104" y="289"/>
                    <a:pt x="1106" y="288"/>
                    <a:pt x="1107" y="288"/>
                  </a:cubicBezTo>
                  <a:cubicBezTo>
                    <a:pt x="1107" y="288"/>
                    <a:pt x="1107" y="289"/>
                    <a:pt x="1108" y="289"/>
                  </a:cubicBezTo>
                  <a:cubicBezTo>
                    <a:pt x="1107" y="290"/>
                    <a:pt x="1107" y="290"/>
                    <a:pt x="1107" y="291"/>
                  </a:cubicBezTo>
                  <a:close/>
                  <a:moveTo>
                    <a:pt x="1177" y="74"/>
                  </a:moveTo>
                  <a:cubicBezTo>
                    <a:pt x="1178" y="75"/>
                    <a:pt x="1179" y="76"/>
                    <a:pt x="1180" y="77"/>
                  </a:cubicBezTo>
                  <a:cubicBezTo>
                    <a:pt x="1181" y="78"/>
                    <a:pt x="1181" y="78"/>
                    <a:pt x="1181" y="78"/>
                  </a:cubicBezTo>
                  <a:cubicBezTo>
                    <a:pt x="1180" y="77"/>
                    <a:pt x="1180" y="77"/>
                    <a:pt x="1180" y="77"/>
                  </a:cubicBezTo>
                  <a:cubicBezTo>
                    <a:pt x="1179" y="76"/>
                    <a:pt x="1177" y="75"/>
                    <a:pt x="1176" y="74"/>
                  </a:cubicBezTo>
                  <a:cubicBezTo>
                    <a:pt x="1176" y="74"/>
                    <a:pt x="1176" y="74"/>
                    <a:pt x="1176" y="73"/>
                  </a:cubicBezTo>
                  <a:cubicBezTo>
                    <a:pt x="1176" y="73"/>
                    <a:pt x="1176" y="74"/>
                    <a:pt x="1177" y="74"/>
                  </a:cubicBezTo>
                  <a:close/>
                  <a:moveTo>
                    <a:pt x="1200" y="23"/>
                  </a:moveTo>
                  <a:cubicBezTo>
                    <a:pt x="1200" y="22"/>
                    <a:pt x="1200" y="22"/>
                    <a:pt x="1200" y="22"/>
                  </a:cubicBezTo>
                  <a:cubicBezTo>
                    <a:pt x="1201" y="22"/>
                    <a:pt x="1201" y="22"/>
                    <a:pt x="1201" y="22"/>
                  </a:cubicBezTo>
                  <a:lnTo>
                    <a:pt x="1200" y="23"/>
                  </a:lnTo>
                  <a:close/>
                  <a:moveTo>
                    <a:pt x="1236" y="112"/>
                  </a:moveTo>
                  <a:cubicBezTo>
                    <a:pt x="1236" y="112"/>
                    <a:pt x="1236" y="112"/>
                    <a:pt x="1236" y="112"/>
                  </a:cubicBezTo>
                  <a:cubicBezTo>
                    <a:pt x="1235" y="115"/>
                    <a:pt x="1235" y="119"/>
                    <a:pt x="1234" y="122"/>
                  </a:cubicBezTo>
                  <a:cubicBezTo>
                    <a:pt x="1234" y="124"/>
                    <a:pt x="1232" y="124"/>
                    <a:pt x="1231" y="124"/>
                  </a:cubicBezTo>
                  <a:cubicBezTo>
                    <a:pt x="1227" y="125"/>
                    <a:pt x="1226" y="127"/>
                    <a:pt x="1226" y="130"/>
                  </a:cubicBezTo>
                  <a:cubicBezTo>
                    <a:pt x="1226" y="130"/>
                    <a:pt x="1226" y="130"/>
                    <a:pt x="1226" y="130"/>
                  </a:cubicBezTo>
                  <a:cubicBezTo>
                    <a:pt x="1227" y="131"/>
                    <a:pt x="1229" y="132"/>
                    <a:pt x="1230" y="133"/>
                  </a:cubicBezTo>
                  <a:cubicBezTo>
                    <a:pt x="1231" y="134"/>
                    <a:pt x="1232" y="135"/>
                    <a:pt x="1233" y="136"/>
                  </a:cubicBezTo>
                  <a:cubicBezTo>
                    <a:pt x="1233" y="137"/>
                    <a:pt x="1233" y="137"/>
                    <a:pt x="1233" y="137"/>
                  </a:cubicBezTo>
                  <a:cubicBezTo>
                    <a:pt x="1233" y="137"/>
                    <a:pt x="1233" y="137"/>
                    <a:pt x="1233" y="137"/>
                  </a:cubicBezTo>
                  <a:cubicBezTo>
                    <a:pt x="1232" y="136"/>
                    <a:pt x="1230" y="135"/>
                    <a:pt x="1229" y="134"/>
                  </a:cubicBezTo>
                  <a:cubicBezTo>
                    <a:pt x="1228" y="133"/>
                    <a:pt x="1227" y="132"/>
                    <a:pt x="1226" y="131"/>
                  </a:cubicBezTo>
                  <a:cubicBezTo>
                    <a:pt x="1226" y="131"/>
                    <a:pt x="1226" y="130"/>
                    <a:pt x="1226" y="130"/>
                  </a:cubicBezTo>
                  <a:cubicBezTo>
                    <a:pt x="1223" y="128"/>
                    <a:pt x="1219" y="128"/>
                    <a:pt x="1217" y="125"/>
                  </a:cubicBezTo>
                  <a:cubicBezTo>
                    <a:pt x="1216" y="122"/>
                    <a:pt x="1215" y="119"/>
                    <a:pt x="1215" y="116"/>
                  </a:cubicBezTo>
                  <a:cubicBezTo>
                    <a:pt x="1214" y="115"/>
                    <a:pt x="1214" y="113"/>
                    <a:pt x="1214" y="112"/>
                  </a:cubicBezTo>
                  <a:cubicBezTo>
                    <a:pt x="1214" y="112"/>
                    <a:pt x="1214" y="112"/>
                    <a:pt x="1214" y="112"/>
                  </a:cubicBezTo>
                  <a:cubicBezTo>
                    <a:pt x="1213" y="111"/>
                    <a:pt x="1213" y="111"/>
                    <a:pt x="1213" y="111"/>
                  </a:cubicBezTo>
                  <a:cubicBezTo>
                    <a:pt x="1214" y="112"/>
                    <a:pt x="1214" y="112"/>
                    <a:pt x="1214" y="112"/>
                  </a:cubicBezTo>
                  <a:cubicBezTo>
                    <a:pt x="1214" y="112"/>
                    <a:pt x="1214" y="112"/>
                    <a:pt x="1214" y="112"/>
                  </a:cubicBezTo>
                  <a:cubicBezTo>
                    <a:pt x="1216" y="113"/>
                    <a:pt x="1217" y="114"/>
                    <a:pt x="1219" y="115"/>
                  </a:cubicBezTo>
                  <a:cubicBezTo>
                    <a:pt x="1222" y="116"/>
                    <a:pt x="1226" y="117"/>
                    <a:pt x="1229" y="115"/>
                  </a:cubicBezTo>
                  <a:cubicBezTo>
                    <a:pt x="1231" y="113"/>
                    <a:pt x="1233" y="112"/>
                    <a:pt x="1236" y="112"/>
                  </a:cubicBezTo>
                  <a:cubicBezTo>
                    <a:pt x="1236" y="112"/>
                    <a:pt x="1236" y="112"/>
                    <a:pt x="1236" y="112"/>
                  </a:cubicBezTo>
                  <a:cubicBezTo>
                    <a:pt x="1236" y="112"/>
                    <a:pt x="1237" y="111"/>
                    <a:pt x="1237" y="111"/>
                  </a:cubicBezTo>
                  <a:cubicBezTo>
                    <a:pt x="1237" y="112"/>
                    <a:pt x="1237" y="112"/>
                    <a:pt x="1236" y="112"/>
                  </a:cubicBezTo>
                  <a:close/>
                  <a:moveTo>
                    <a:pt x="1256" y="100"/>
                  </a:moveTo>
                  <a:cubicBezTo>
                    <a:pt x="1252" y="102"/>
                    <a:pt x="1248" y="105"/>
                    <a:pt x="1244" y="108"/>
                  </a:cubicBezTo>
                  <a:cubicBezTo>
                    <a:pt x="1243" y="108"/>
                    <a:pt x="1242" y="108"/>
                    <a:pt x="1240" y="108"/>
                  </a:cubicBezTo>
                  <a:cubicBezTo>
                    <a:pt x="1240" y="108"/>
                    <a:pt x="1240" y="108"/>
                    <a:pt x="1240" y="109"/>
                  </a:cubicBezTo>
                  <a:cubicBezTo>
                    <a:pt x="1240" y="109"/>
                    <a:pt x="1239" y="109"/>
                    <a:pt x="1239" y="109"/>
                  </a:cubicBezTo>
                  <a:cubicBezTo>
                    <a:pt x="1239" y="109"/>
                    <a:pt x="1239" y="109"/>
                    <a:pt x="1239" y="108"/>
                  </a:cubicBezTo>
                  <a:cubicBezTo>
                    <a:pt x="1240" y="108"/>
                    <a:pt x="1240" y="108"/>
                    <a:pt x="1240" y="108"/>
                  </a:cubicBezTo>
                  <a:cubicBezTo>
                    <a:pt x="1241" y="107"/>
                    <a:pt x="1242" y="105"/>
                    <a:pt x="1243" y="104"/>
                  </a:cubicBezTo>
                  <a:cubicBezTo>
                    <a:pt x="1245" y="101"/>
                    <a:pt x="1248" y="99"/>
                    <a:pt x="1250" y="96"/>
                  </a:cubicBezTo>
                  <a:cubicBezTo>
                    <a:pt x="1250" y="96"/>
                    <a:pt x="1250" y="96"/>
                    <a:pt x="1250" y="96"/>
                  </a:cubicBezTo>
                  <a:cubicBezTo>
                    <a:pt x="1250" y="96"/>
                    <a:pt x="1250" y="96"/>
                    <a:pt x="1250" y="96"/>
                  </a:cubicBezTo>
                  <a:cubicBezTo>
                    <a:pt x="1246" y="96"/>
                    <a:pt x="1243" y="95"/>
                    <a:pt x="1242" y="91"/>
                  </a:cubicBezTo>
                  <a:cubicBezTo>
                    <a:pt x="1241" y="90"/>
                    <a:pt x="1242" y="89"/>
                    <a:pt x="1243" y="89"/>
                  </a:cubicBezTo>
                  <a:cubicBezTo>
                    <a:pt x="1243" y="89"/>
                    <a:pt x="1244" y="89"/>
                    <a:pt x="1244" y="89"/>
                  </a:cubicBezTo>
                  <a:cubicBezTo>
                    <a:pt x="1245" y="90"/>
                    <a:pt x="1246" y="90"/>
                    <a:pt x="1247" y="91"/>
                  </a:cubicBezTo>
                  <a:cubicBezTo>
                    <a:pt x="1248" y="92"/>
                    <a:pt x="1249" y="94"/>
                    <a:pt x="1250" y="96"/>
                  </a:cubicBezTo>
                  <a:cubicBezTo>
                    <a:pt x="1250" y="96"/>
                    <a:pt x="1250" y="96"/>
                    <a:pt x="1250" y="96"/>
                  </a:cubicBezTo>
                  <a:cubicBezTo>
                    <a:pt x="1250" y="96"/>
                    <a:pt x="1250" y="96"/>
                    <a:pt x="1250" y="96"/>
                  </a:cubicBezTo>
                  <a:cubicBezTo>
                    <a:pt x="1251" y="96"/>
                    <a:pt x="1253" y="97"/>
                    <a:pt x="1255" y="97"/>
                  </a:cubicBezTo>
                  <a:cubicBezTo>
                    <a:pt x="1255" y="97"/>
                    <a:pt x="1256" y="98"/>
                    <a:pt x="1257" y="99"/>
                  </a:cubicBezTo>
                  <a:cubicBezTo>
                    <a:pt x="1257" y="99"/>
                    <a:pt x="1256" y="100"/>
                    <a:pt x="1256" y="100"/>
                  </a:cubicBezTo>
                  <a:close/>
                  <a:moveTo>
                    <a:pt x="1279" y="98"/>
                  </a:moveTo>
                  <a:cubicBezTo>
                    <a:pt x="1278" y="98"/>
                    <a:pt x="1278" y="98"/>
                    <a:pt x="1278" y="98"/>
                  </a:cubicBezTo>
                  <a:cubicBezTo>
                    <a:pt x="1279" y="97"/>
                    <a:pt x="1279" y="97"/>
                    <a:pt x="1279" y="97"/>
                  </a:cubicBezTo>
                  <a:lnTo>
                    <a:pt x="1279" y="98"/>
                  </a:lnTo>
                  <a:close/>
                  <a:moveTo>
                    <a:pt x="1303" y="159"/>
                  </a:moveTo>
                  <a:cubicBezTo>
                    <a:pt x="1303" y="159"/>
                    <a:pt x="1303" y="159"/>
                    <a:pt x="1302" y="159"/>
                  </a:cubicBezTo>
                  <a:cubicBezTo>
                    <a:pt x="1302" y="158"/>
                    <a:pt x="1302" y="158"/>
                    <a:pt x="1302" y="158"/>
                  </a:cubicBezTo>
                  <a:cubicBezTo>
                    <a:pt x="1303" y="158"/>
                    <a:pt x="1303" y="158"/>
                    <a:pt x="1303" y="158"/>
                  </a:cubicBezTo>
                  <a:cubicBezTo>
                    <a:pt x="1303" y="159"/>
                    <a:pt x="1303" y="159"/>
                    <a:pt x="1303" y="159"/>
                  </a:cubicBezTo>
                  <a:cubicBezTo>
                    <a:pt x="1303" y="159"/>
                    <a:pt x="1303" y="159"/>
                    <a:pt x="1304" y="159"/>
                  </a:cubicBezTo>
                  <a:cubicBezTo>
                    <a:pt x="1303" y="160"/>
                    <a:pt x="1303" y="160"/>
                    <a:pt x="1303" y="159"/>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3"/>
            <p:cNvSpPr>
              <a:spLocks noEditPoints="1"/>
            </p:cNvSpPr>
            <p:nvPr/>
          </p:nvSpPr>
          <p:spPr bwMode="auto">
            <a:xfrm>
              <a:off x="6394739" y="1377804"/>
              <a:ext cx="3355299" cy="4882576"/>
            </a:xfrm>
            <a:custGeom>
              <a:avLst/>
              <a:gdLst>
                <a:gd name="T0" fmla="*/ 1350 w 1567"/>
                <a:gd name="T1" fmla="*/ 1442 h 2279"/>
                <a:gd name="T2" fmla="*/ 1177 w 1567"/>
                <a:gd name="T3" fmla="*/ 1295 h 2279"/>
                <a:gd name="T4" fmla="*/ 1009 w 1567"/>
                <a:gd name="T5" fmla="*/ 1305 h 2279"/>
                <a:gd name="T6" fmla="*/ 891 w 1567"/>
                <a:gd name="T7" fmla="*/ 1227 h 2279"/>
                <a:gd name="T8" fmla="*/ 725 w 1567"/>
                <a:gd name="T9" fmla="*/ 1155 h 2279"/>
                <a:gd name="T10" fmla="*/ 941 w 1567"/>
                <a:gd name="T11" fmla="*/ 1085 h 2279"/>
                <a:gd name="T12" fmla="*/ 1043 w 1567"/>
                <a:gd name="T13" fmla="*/ 909 h 2279"/>
                <a:gd name="T14" fmla="*/ 1183 w 1567"/>
                <a:gd name="T15" fmla="*/ 792 h 2279"/>
                <a:gd name="T16" fmla="*/ 1224 w 1567"/>
                <a:gd name="T17" fmla="*/ 771 h 2279"/>
                <a:gd name="T18" fmla="*/ 1183 w 1567"/>
                <a:gd name="T19" fmla="*/ 717 h 2279"/>
                <a:gd name="T20" fmla="*/ 1328 w 1567"/>
                <a:gd name="T21" fmla="*/ 629 h 2279"/>
                <a:gd name="T22" fmla="*/ 1212 w 1567"/>
                <a:gd name="T23" fmla="*/ 529 h 2279"/>
                <a:gd name="T24" fmla="*/ 1105 w 1567"/>
                <a:gd name="T25" fmla="*/ 541 h 2279"/>
                <a:gd name="T26" fmla="*/ 968 w 1567"/>
                <a:gd name="T27" fmla="*/ 562 h 2279"/>
                <a:gd name="T28" fmla="*/ 987 w 1567"/>
                <a:gd name="T29" fmla="*/ 398 h 2279"/>
                <a:gd name="T30" fmla="*/ 1134 w 1567"/>
                <a:gd name="T31" fmla="*/ 288 h 2279"/>
                <a:gd name="T32" fmla="*/ 1077 w 1567"/>
                <a:gd name="T33" fmla="*/ 292 h 2279"/>
                <a:gd name="T34" fmla="*/ 1064 w 1567"/>
                <a:gd name="T35" fmla="*/ 154 h 2279"/>
                <a:gd name="T36" fmla="*/ 1029 w 1567"/>
                <a:gd name="T37" fmla="*/ 175 h 2279"/>
                <a:gd name="T38" fmla="*/ 976 w 1567"/>
                <a:gd name="T39" fmla="*/ 295 h 2279"/>
                <a:gd name="T40" fmla="*/ 970 w 1567"/>
                <a:gd name="T41" fmla="*/ 257 h 2279"/>
                <a:gd name="T42" fmla="*/ 876 w 1567"/>
                <a:gd name="T43" fmla="*/ 239 h 2279"/>
                <a:gd name="T44" fmla="*/ 698 w 1567"/>
                <a:gd name="T45" fmla="*/ 168 h 2279"/>
                <a:gd name="T46" fmla="*/ 648 w 1567"/>
                <a:gd name="T47" fmla="*/ 126 h 2279"/>
                <a:gd name="T48" fmla="*/ 456 w 1567"/>
                <a:gd name="T49" fmla="*/ 63 h 2279"/>
                <a:gd name="T50" fmla="*/ 405 w 1567"/>
                <a:gd name="T51" fmla="*/ 13 h 2279"/>
                <a:gd name="T52" fmla="*/ 231 w 1567"/>
                <a:gd name="T53" fmla="*/ 141 h 2279"/>
                <a:gd name="T54" fmla="*/ 145 w 1567"/>
                <a:gd name="T55" fmla="*/ 158 h 2279"/>
                <a:gd name="T56" fmla="*/ 89 w 1567"/>
                <a:gd name="T57" fmla="*/ 262 h 2279"/>
                <a:gd name="T58" fmla="*/ 127 w 1567"/>
                <a:gd name="T59" fmla="*/ 369 h 2279"/>
                <a:gd name="T60" fmla="*/ 53 w 1567"/>
                <a:gd name="T61" fmla="*/ 445 h 2279"/>
                <a:gd name="T62" fmla="*/ 266 w 1567"/>
                <a:gd name="T63" fmla="*/ 328 h 2279"/>
                <a:gd name="T64" fmla="*/ 301 w 1567"/>
                <a:gd name="T65" fmla="*/ 342 h 2279"/>
                <a:gd name="T66" fmla="*/ 397 w 1567"/>
                <a:gd name="T67" fmla="*/ 425 h 2279"/>
                <a:gd name="T68" fmla="*/ 419 w 1567"/>
                <a:gd name="T69" fmla="*/ 466 h 2279"/>
                <a:gd name="T70" fmla="*/ 404 w 1567"/>
                <a:gd name="T71" fmla="*/ 493 h 2279"/>
                <a:gd name="T72" fmla="*/ 424 w 1567"/>
                <a:gd name="T73" fmla="*/ 518 h 2279"/>
                <a:gd name="T74" fmla="*/ 440 w 1567"/>
                <a:gd name="T75" fmla="*/ 594 h 2279"/>
                <a:gd name="T76" fmla="*/ 460 w 1567"/>
                <a:gd name="T77" fmla="*/ 677 h 2279"/>
                <a:gd name="T78" fmla="*/ 413 w 1567"/>
                <a:gd name="T79" fmla="*/ 833 h 2279"/>
                <a:gd name="T80" fmla="*/ 528 w 1567"/>
                <a:gd name="T81" fmla="*/ 1091 h 2279"/>
                <a:gd name="T82" fmla="*/ 588 w 1567"/>
                <a:gd name="T83" fmla="*/ 1104 h 2279"/>
                <a:gd name="T84" fmla="*/ 908 w 1567"/>
                <a:gd name="T85" fmla="*/ 1330 h 2279"/>
                <a:gd name="T86" fmla="*/ 949 w 1567"/>
                <a:gd name="T87" fmla="*/ 1477 h 2279"/>
                <a:gd name="T88" fmla="*/ 1090 w 1567"/>
                <a:gd name="T89" fmla="*/ 1814 h 2279"/>
                <a:gd name="T90" fmla="*/ 1099 w 1567"/>
                <a:gd name="T91" fmla="*/ 2036 h 2279"/>
                <a:gd name="T92" fmla="*/ 1089 w 1567"/>
                <a:gd name="T93" fmla="*/ 2163 h 2279"/>
                <a:gd name="T94" fmla="*/ 1109 w 1567"/>
                <a:gd name="T95" fmla="*/ 2209 h 2279"/>
                <a:gd name="T96" fmla="*/ 1155 w 1567"/>
                <a:gd name="T97" fmla="*/ 2255 h 2279"/>
                <a:gd name="T98" fmla="*/ 1213 w 1567"/>
                <a:gd name="T99" fmla="*/ 2248 h 2279"/>
                <a:gd name="T100" fmla="*/ 1205 w 1567"/>
                <a:gd name="T101" fmla="*/ 2140 h 2279"/>
                <a:gd name="T102" fmla="*/ 1199 w 1567"/>
                <a:gd name="T103" fmla="*/ 2030 h 2279"/>
                <a:gd name="T104" fmla="*/ 1273 w 1567"/>
                <a:gd name="T105" fmla="*/ 1913 h 2279"/>
                <a:gd name="T106" fmla="*/ 1442 w 1567"/>
                <a:gd name="T107" fmla="*/ 1744 h 2279"/>
                <a:gd name="T108" fmla="*/ 1053 w 1567"/>
                <a:gd name="T109" fmla="*/ 798 h 2279"/>
                <a:gd name="T110" fmla="*/ 994 w 1567"/>
                <a:gd name="T111" fmla="*/ 780 h 2279"/>
                <a:gd name="T112" fmla="*/ 913 w 1567"/>
                <a:gd name="T113" fmla="*/ 777 h 2279"/>
                <a:gd name="T114" fmla="*/ 914 w 1567"/>
                <a:gd name="T115" fmla="*/ 734 h 2279"/>
                <a:gd name="T116" fmla="*/ 649 w 1567"/>
                <a:gd name="T117" fmla="*/ 398 h 2279"/>
                <a:gd name="T118" fmla="*/ 687 w 1567"/>
                <a:gd name="T119" fmla="*/ 261 h 2279"/>
                <a:gd name="T120" fmla="*/ 667 w 1567"/>
                <a:gd name="T121" fmla="*/ 283 h 2279"/>
                <a:gd name="T122" fmla="*/ 758 w 1567"/>
                <a:gd name="T123" fmla="*/ 380 h 2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7" h="2279">
                  <a:moveTo>
                    <a:pt x="1558" y="1509"/>
                  </a:moveTo>
                  <a:cubicBezTo>
                    <a:pt x="1558" y="1508"/>
                    <a:pt x="1556" y="1506"/>
                    <a:pt x="1555" y="1506"/>
                  </a:cubicBezTo>
                  <a:cubicBezTo>
                    <a:pt x="1552" y="1505"/>
                    <a:pt x="1549" y="1504"/>
                    <a:pt x="1547" y="1504"/>
                  </a:cubicBezTo>
                  <a:cubicBezTo>
                    <a:pt x="1542" y="1504"/>
                    <a:pt x="1538" y="1503"/>
                    <a:pt x="1535" y="1500"/>
                  </a:cubicBezTo>
                  <a:cubicBezTo>
                    <a:pt x="1531" y="1497"/>
                    <a:pt x="1525" y="1495"/>
                    <a:pt x="1521" y="1491"/>
                  </a:cubicBezTo>
                  <a:cubicBezTo>
                    <a:pt x="1516" y="1483"/>
                    <a:pt x="1508" y="1480"/>
                    <a:pt x="1501" y="1476"/>
                  </a:cubicBezTo>
                  <a:cubicBezTo>
                    <a:pt x="1497" y="1474"/>
                    <a:pt x="1493" y="1473"/>
                    <a:pt x="1489" y="1473"/>
                  </a:cubicBezTo>
                  <a:cubicBezTo>
                    <a:pt x="1476" y="1474"/>
                    <a:pt x="1463" y="1472"/>
                    <a:pt x="1450" y="1468"/>
                  </a:cubicBezTo>
                  <a:cubicBezTo>
                    <a:pt x="1449" y="1468"/>
                    <a:pt x="1447" y="1468"/>
                    <a:pt x="1446" y="1469"/>
                  </a:cubicBezTo>
                  <a:cubicBezTo>
                    <a:pt x="1444" y="1470"/>
                    <a:pt x="1442" y="1471"/>
                    <a:pt x="1440" y="1472"/>
                  </a:cubicBezTo>
                  <a:cubicBezTo>
                    <a:pt x="1438" y="1472"/>
                    <a:pt x="1437" y="1472"/>
                    <a:pt x="1436" y="1470"/>
                  </a:cubicBezTo>
                  <a:cubicBezTo>
                    <a:pt x="1435" y="1467"/>
                    <a:pt x="1434" y="1465"/>
                    <a:pt x="1433" y="1462"/>
                  </a:cubicBezTo>
                  <a:cubicBezTo>
                    <a:pt x="1432" y="1461"/>
                    <a:pt x="1430" y="1459"/>
                    <a:pt x="1428" y="1459"/>
                  </a:cubicBezTo>
                  <a:cubicBezTo>
                    <a:pt x="1421" y="1458"/>
                    <a:pt x="1415" y="1454"/>
                    <a:pt x="1408" y="1451"/>
                  </a:cubicBezTo>
                  <a:cubicBezTo>
                    <a:pt x="1403" y="1449"/>
                    <a:pt x="1398" y="1448"/>
                    <a:pt x="1393" y="1447"/>
                  </a:cubicBezTo>
                  <a:cubicBezTo>
                    <a:pt x="1388" y="1447"/>
                    <a:pt x="1384" y="1448"/>
                    <a:pt x="1381" y="1452"/>
                  </a:cubicBezTo>
                  <a:cubicBezTo>
                    <a:pt x="1381" y="1453"/>
                    <a:pt x="1381" y="1453"/>
                    <a:pt x="1380" y="1453"/>
                  </a:cubicBezTo>
                  <a:cubicBezTo>
                    <a:pt x="1379" y="1453"/>
                    <a:pt x="1379" y="1452"/>
                    <a:pt x="1379" y="1451"/>
                  </a:cubicBezTo>
                  <a:cubicBezTo>
                    <a:pt x="1379" y="1450"/>
                    <a:pt x="1380" y="1449"/>
                    <a:pt x="1380" y="1448"/>
                  </a:cubicBezTo>
                  <a:cubicBezTo>
                    <a:pt x="1381" y="1444"/>
                    <a:pt x="1378" y="1441"/>
                    <a:pt x="1376" y="1440"/>
                  </a:cubicBezTo>
                  <a:cubicBezTo>
                    <a:pt x="1372" y="1439"/>
                    <a:pt x="1367" y="1438"/>
                    <a:pt x="1363" y="1437"/>
                  </a:cubicBezTo>
                  <a:cubicBezTo>
                    <a:pt x="1363" y="1438"/>
                    <a:pt x="1363" y="1438"/>
                    <a:pt x="1363" y="1439"/>
                  </a:cubicBezTo>
                  <a:cubicBezTo>
                    <a:pt x="1363" y="1439"/>
                    <a:pt x="1363" y="1439"/>
                    <a:pt x="1363" y="1439"/>
                  </a:cubicBezTo>
                  <a:cubicBezTo>
                    <a:pt x="1363" y="1440"/>
                    <a:pt x="1363" y="1440"/>
                    <a:pt x="1363" y="1440"/>
                  </a:cubicBezTo>
                  <a:cubicBezTo>
                    <a:pt x="1363" y="1440"/>
                    <a:pt x="1363" y="1440"/>
                    <a:pt x="1363" y="1440"/>
                  </a:cubicBezTo>
                  <a:cubicBezTo>
                    <a:pt x="1363" y="1440"/>
                    <a:pt x="1363" y="1439"/>
                    <a:pt x="1363" y="1439"/>
                  </a:cubicBezTo>
                  <a:cubicBezTo>
                    <a:pt x="1358" y="1439"/>
                    <a:pt x="1354" y="1439"/>
                    <a:pt x="1350" y="1442"/>
                  </a:cubicBezTo>
                  <a:cubicBezTo>
                    <a:pt x="1349" y="1440"/>
                    <a:pt x="1346" y="1440"/>
                    <a:pt x="1344" y="1439"/>
                  </a:cubicBezTo>
                  <a:cubicBezTo>
                    <a:pt x="1347" y="1436"/>
                    <a:pt x="1352" y="1434"/>
                    <a:pt x="1356" y="1433"/>
                  </a:cubicBezTo>
                  <a:cubicBezTo>
                    <a:pt x="1357" y="1429"/>
                    <a:pt x="1359" y="1425"/>
                    <a:pt x="1360" y="1421"/>
                  </a:cubicBezTo>
                  <a:cubicBezTo>
                    <a:pt x="1360" y="1419"/>
                    <a:pt x="1360" y="1416"/>
                    <a:pt x="1358" y="1414"/>
                  </a:cubicBezTo>
                  <a:cubicBezTo>
                    <a:pt x="1356" y="1412"/>
                    <a:pt x="1355" y="1409"/>
                    <a:pt x="1353" y="1406"/>
                  </a:cubicBezTo>
                  <a:cubicBezTo>
                    <a:pt x="1348" y="1402"/>
                    <a:pt x="1345" y="1396"/>
                    <a:pt x="1344" y="1390"/>
                  </a:cubicBezTo>
                  <a:cubicBezTo>
                    <a:pt x="1343" y="1387"/>
                    <a:pt x="1342" y="1384"/>
                    <a:pt x="1339" y="1382"/>
                  </a:cubicBezTo>
                  <a:cubicBezTo>
                    <a:pt x="1330" y="1373"/>
                    <a:pt x="1321" y="1364"/>
                    <a:pt x="1308" y="1362"/>
                  </a:cubicBezTo>
                  <a:cubicBezTo>
                    <a:pt x="1307" y="1362"/>
                    <a:pt x="1305" y="1361"/>
                    <a:pt x="1304" y="1360"/>
                  </a:cubicBezTo>
                  <a:cubicBezTo>
                    <a:pt x="1298" y="1357"/>
                    <a:pt x="1292" y="1357"/>
                    <a:pt x="1286" y="1357"/>
                  </a:cubicBezTo>
                  <a:cubicBezTo>
                    <a:pt x="1280" y="1357"/>
                    <a:pt x="1274" y="1357"/>
                    <a:pt x="1268" y="1357"/>
                  </a:cubicBezTo>
                  <a:cubicBezTo>
                    <a:pt x="1266" y="1357"/>
                    <a:pt x="1265" y="1356"/>
                    <a:pt x="1263" y="1356"/>
                  </a:cubicBezTo>
                  <a:cubicBezTo>
                    <a:pt x="1258" y="1352"/>
                    <a:pt x="1253" y="1347"/>
                    <a:pt x="1246" y="1346"/>
                  </a:cubicBezTo>
                  <a:cubicBezTo>
                    <a:pt x="1245" y="1346"/>
                    <a:pt x="1245" y="1345"/>
                    <a:pt x="1244" y="1344"/>
                  </a:cubicBezTo>
                  <a:cubicBezTo>
                    <a:pt x="1244" y="1341"/>
                    <a:pt x="1242" y="1339"/>
                    <a:pt x="1240" y="1337"/>
                  </a:cubicBezTo>
                  <a:cubicBezTo>
                    <a:pt x="1237" y="1334"/>
                    <a:pt x="1234" y="1330"/>
                    <a:pt x="1230" y="1327"/>
                  </a:cubicBezTo>
                  <a:cubicBezTo>
                    <a:pt x="1227" y="1326"/>
                    <a:pt x="1224" y="1324"/>
                    <a:pt x="1221" y="1323"/>
                  </a:cubicBezTo>
                  <a:cubicBezTo>
                    <a:pt x="1219" y="1322"/>
                    <a:pt x="1216" y="1322"/>
                    <a:pt x="1213" y="1322"/>
                  </a:cubicBezTo>
                  <a:cubicBezTo>
                    <a:pt x="1211" y="1322"/>
                    <a:pt x="1210" y="1321"/>
                    <a:pt x="1210" y="1319"/>
                  </a:cubicBezTo>
                  <a:cubicBezTo>
                    <a:pt x="1210" y="1314"/>
                    <a:pt x="1207" y="1312"/>
                    <a:pt x="1203" y="1310"/>
                  </a:cubicBezTo>
                  <a:cubicBezTo>
                    <a:pt x="1199" y="1308"/>
                    <a:pt x="1195" y="1306"/>
                    <a:pt x="1191" y="1304"/>
                  </a:cubicBezTo>
                  <a:cubicBezTo>
                    <a:pt x="1190" y="1304"/>
                    <a:pt x="1188" y="1303"/>
                    <a:pt x="1188" y="1301"/>
                  </a:cubicBezTo>
                  <a:cubicBezTo>
                    <a:pt x="1187" y="1300"/>
                    <a:pt x="1189" y="1299"/>
                    <a:pt x="1191" y="1299"/>
                  </a:cubicBezTo>
                  <a:cubicBezTo>
                    <a:pt x="1191" y="1299"/>
                    <a:pt x="1192" y="1299"/>
                    <a:pt x="1192" y="1298"/>
                  </a:cubicBezTo>
                  <a:cubicBezTo>
                    <a:pt x="1194" y="1298"/>
                    <a:pt x="1194" y="1297"/>
                    <a:pt x="1193" y="1296"/>
                  </a:cubicBezTo>
                  <a:cubicBezTo>
                    <a:pt x="1193" y="1296"/>
                    <a:pt x="1193" y="1295"/>
                    <a:pt x="1192" y="1295"/>
                  </a:cubicBezTo>
                  <a:cubicBezTo>
                    <a:pt x="1187" y="1294"/>
                    <a:pt x="1182" y="1294"/>
                    <a:pt x="1177" y="1295"/>
                  </a:cubicBezTo>
                  <a:cubicBezTo>
                    <a:pt x="1174" y="1295"/>
                    <a:pt x="1172" y="1294"/>
                    <a:pt x="1170" y="1292"/>
                  </a:cubicBezTo>
                  <a:cubicBezTo>
                    <a:pt x="1169" y="1291"/>
                    <a:pt x="1168" y="1291"/>
                    <a:pt x="1167" y="1292"/>
                  </a:cubicBezTo>
                  <a:cubicBezTo>
                    <a:pt x="1167" y="1294"/>
                    <a:pt x="1167" y="1296"/>
                    <a:pt x="1166" y="1297"/>
                  </a:cubicBezTo>
                  <a:cubicBezTo>
                    <a:pt x="1161" y="1301"/>
                    <a:pt x="1152" y="1304"/>
                    <a:pt x="1146" y="1300"/>
                  </a:cubicBezTo>
                  <a:cubicBezTo>
                    <a:pt x="1142" y="1297"/>
                    <a:pt x="1138" y="1297"/>
                    <a:pt x="1133" y="1297"/>
                  </a:cubicBezTo>
                  <a:cubicBezTo>
                    <a:pt x="1129" y="1298"/>
                    <a:pt x="1124" y="1298"/>
                    <a:pt x="1119" y="1298"/>
                  </a:cubicBezTo>
                  <a:cubicBezTo>
                    <a:pt x="1116" y="1298"/>
                    <a:pt x="1115" y="1297"/>
                    <a:pt x="1114" y="1295"/>
                  </a:cubicBezTo>
                  <a:cubicBezTo>
                    <a:pt x="1114" y="1294"/>
                    <a:pt x="1113" y="1294"/>
                    <a:pt x="1113" y="1293"/>
                  </a:cubicBezTo>
                  <a:cubicBezTo>
                    <a:pt x="1113" y="1290"/>
                    <a:pt x="1110" y="1288"/>
                    <a:pt x="1107" y="1287"/>
                  </a:cubicBezTo>
                  <a:cubicBezTo>
                    <a:pt x="1105" y="1287"/>
                    <a:pt x="1103" y="1286"/>
                    <a:pt x="1100" y="1286"/>
                  </a:cubicBezTo>
                  <a:cubicBezTo>
                    <a:pt x="1096" y="1285"/>
                    <a:pt x="1093" y="1283"/>
                    <a:pt x="1092" y="1279"/>
                  </a:cubicBezTo>
                  <a:cubicBezTo>
                    <a:pt x="1092" y="1278"/>
                    <a:pt x="1091" y="1277"/>
                    <a:pt x="1089" y="1277"/>
                  </a:cubicBezTo>
                  <a:cubicBezTo>
                    <a:pt x="1087" y="1276"/>
                    <a:pt x="1084" y="1278"/>
                    <a:pt x="1083" y="1280"/>
                  </a:cubicBezTo>
                  <a:cubicBezTo>
                    <a:pt x="1083" y="1281"/>
                    <a:pt x="1082" y="1282"/>
                    <a:pt x="1082" y="1283"/>
                  </a:cubicBezTo>
                  <a:cubicBezTo>
                    <a:pt x="1082" y="1286"/>
                    <a:pt x="1080" y="1288"/>
                    <a:pt x="1077" y="1289"/>
                  </a:cubicBezTo>
                  <a:cubicBezTo>
                    <a:pt x="1074" y="1290"/>
                    <a:pt x="1071" y="1291"/>
                    <a:pt x="1069" y="1292"/>
                  </a:cubicBezTo>
                  <a:cubicBezTo>
                    <a:pt x="1067" y="1293"/>
                    <a:pt x="1066" y="1292"/>
                    <a:pt x="1065" y="1290"/>
                  </a:cubicBezTo>
                  <a:cubicBezTo>
                    <a:pt x="1064" y="1289"/>
                    <a:pt x="1063" y="1287"/>
                    <a:pt x="1065" y="1286"/>
                  </a:cubicBezTo>
                  <a:cubicBezTo>
                    <a:pt x="1067" y="1284"/>
                    <a:pt x="1069" y="1282"/>
                    <a:pt x="1072" y="1280"/>
                  </a:cubicBezTo>
                  <a:cubicBezTo>
                    <a:pt x="1073" y="1278"/>
                    <a:pt x="1072" y="1275"/>
                    <a:pt x="1070" y="1274"/>
                  </a:cubicBezTo>
                  <a:cubicBezTo>
                    <a:pt x="1069" y="1274"/>
                    <a:pt x="1067" y="1273"/>
                    <a:pt x="1065" y="1273"/>
                  </a:cubicBezTo>
                  <a:cubicBezTo>
                    <a:pt x="1062" y="1274"/>
                    <a:pt x="1058" y="1275"/>
                    <a:pt x="1055" y="1278"/>
                  </a:cubicBezTo>
                  <a:cubicBezTo>
                    <a:pt x="1052" y="1281"/>
                    <a:pt x="1048" y="1284"/>
                    <a:pt x="1043" y="1285"/>
                  </a:cubicBezTo>
                  <a:cubicBezTo>
                    <a:pt x="1037" y="1287"/>
                    <a:pt x="1032" y="1286"/>
                    <a:pt x="1027" y="1290"/>
                  </a:cubicBezTo>
                  <a:cubicBezTo>
                    <a:pt x="1027" y="1291"/>
                    <a:pt x="1025" y="1290"/>
                    <a:pt x="1024" y="1290"/>
                  </a:cubicBezTo>
                  <a:cubicBezTo>
                    <a:pt x="1021" y="1290"/>
                    <a:pt x="1018" y="1291"/>
                    <a:pt x="1016" y="1294"/>
                  </a:cubicBezTo>
                  <a:cubicBezTo>
                    <a:pt x="1013" y="1297"/>
                    <a:pt x="1010" y="1300"/>
                    <a:pt x="1009" y="1305"/>
                  </a:cubicBezTo>
                  <a:cubicBezTo>
                    <a:pt x="1009" y="1308"/>
                    <a:pt x="1007" y="1311"/>
                    <a:pt x="1003" y="1313"/>
                  </a:cubicBezTo>
                  <a:cubicBezTo>
                    <a:pt x="1000" y="1315"/>
                    <a:pt x="997" y="1318"/>
                    <a:pt x="995" y="1321"/>
                  </a:cubicBezTo>
                  <a:cubicBezTo>
                    <a:pt x="994" y="1322"/>
                    <a:pt x="993" y="1324"/>
                    <a:pt x="993" y="1326"/>
                  </a:cubicBezTo>
                  <a:cubicBezTo>
                    <a:pt x="993" y="1326"/>
                    <a:pt x="993" y="1326"/>
                    <a:pt x="993" y="1326"/>
                  </a:cubicBezTo>
                  <a:cubicBezTo>
                    <a:pt x="993" y="1327"/>
                    <a:pt x="993" y="1327"/>
                    <a:pt x="993" y="1327"/>
                  </a:cubicBezTo>
                  <a:cubicBezTo>
                    <a:pt x="993" y="1326"/>
                    <a:pt x="993" y="1326"/>
                    <a:pt x="993" y="1326"/>
                  </a:cubicBezTo>
                  <a:cubicBezTo>
                    <a:pt x="993" y="1326"/>
                    <a:pt x="993" y="1326"/>
                    <a:pt x="993" y="1326"/>
                  </a:cubicBezTo>
                  <a:cubicBezTo>
                    <a:pt x="992" y="1326"/>
                    <a:pt x="991" y="1326"/>
                    <a:pt x="990" y="1325"/>
                  </a:cubicBezTo>
                  <a:cubicBezTo>
                    <a:pt x="987" y="1323"/>
                    <a:pt x="984" y="1320"/>
                    <a:pt x="982" y="1318"/>
                  </a:cubicBezTo>
                  <a:cubicBezTo>
                    <a:pt x="978" y="1314"/>
                    <a:pt x="973" y="1312"/>
                    <a:pt x="969" y="1311"/>
                  </a:cubicBezTo>
                  <a:cubicBezTo>
                    <a:pt x="962" y="1310"/>
                    <a:pt x="956" y="1310"/>
                    <a:pt x="949" y="1313"/>
                  </a:cubicBezTo>
                  <a:cubicBezTo>
                    <a:pt x="948" y="1314"/>
                    <a:pt x="945" y="1315"/>
                    <a:pt x="944" y="1316"/>
                  </a:cubicBezTo>
                  <a:cubicBezTo>
                    <a:pt x="939" y="1319"/>
                    <a:pt x="935" y="1320"/>
                    <a:pt x="930" y="1317"/>
                  </a:cubicBezTo>
                  <a:cubicBezTo>
                    <a:pt x="921" y="1316"/>
                    <a:pt x="915" y="1311"/>
                    <a:pt x="910" y="1304"/>
                  </a:cubicBezTo>
                  <a:cubicBezTo>
                    <a:pt x="907" y="1301"/>
                    <a:pt x="905" y="1297"/>
                    <a:pt x="902" y="1293"/>
                  </a:cubicBezTo>
                  <a:cubicBezTo>
                    <a:pt x="902" y="1291"/>
                    <a:pt x="901" y="1290"/>
                    <a:pt x="901" y="1288"/>
                  </a:cubicBezTo>
                  <a:cubicBezTo>
                    <a:pt x="901" y="1283"/>
                    <a:pt x="901" y="1278"/>
                    <a:pt x="905" y="1273"/>
                  </a:cubicBezTo>
                  <a:cubicBezTo>
                    <a:pt x="906" y="1272"/>
                    <a:pt x="906" y="1269"/>
                    <a:pt x="906" y="1267"/>
                  </a:cubicBezTo>
                  <a:cubicBezTo>
                    <a:pt x="907" y="1262"/>
                    <a:pt x="908" y="1257"/>
                    <a:pt x="910" y="1252"/>
                  </a:cubicBezTo>
                  <a:cubicBezTo>
                    <a:pt x="911" y="1248"/>
                    <a:pt x="911" y="1242"/>
                    <a:pt x="911" y="1237"/>
                  </a:cubicBezTo>
                  <a:cubicBezTo>
                    <a:pt x="911" y="1236"/>
                    <a:pt x="910" y="1235"/>
                    <a:pt x="909" y="1235"/>
                  </a:cubicBezTo>
                  <a:cubicBezTo>
                    <a:pt x="907" y="1234"/>
                    <a:pt x="905" y="1233"/>
                    <a:pt x="903" y="1232"/>
                  </a:cubicBezTo>
                  <a:cubicBezTo>
                    <a:pt x="903" y="1232"/>
                    <a:pt x="903" y="1232"/>
                    <a:pt x="903" y="1232"/>
                  </a:cubicBezTo>
                  <a:cubicBezTo>
                    <a:pt x="903" y="1232"/>
                    <a:pt x="904" y="1233"/>
                    <a:pt x="904" y="1233"/>
                  </a:cubicBezTo>
                  <a:cubicBezTo>
                    <a:pt x="903" y="1233"/>
                    <a:pt x="903" y="1233"/>
                    <a:pt x="903" y="1233"/>
                  </a:cubicBezTo>
                  <a:cubicBezTo>
                    <a:pt x="903" y="1232"/>
                    <a:pt x="903" y="1232"/>
                    <a:pt x="903" y="1232"/>
                  </a:cubicBezTo>
                  <a:cubicBezTo>
                    <a:pt x="900" y="1229"/>
                    <a:pt x="896" y="1227"/>
                    <a:pt x="891" y="1227"/>
                  </a:cubicBezTo>
                  <a:cubicBezTo>
                    <a:pt x="886" y="1227"/>
                    <a:pt x="881" y="1226"/>
                    <a:pt x="876" y="1225"/>
                  </a:cubicBezTo>
                  <a:cubicBezTo>
                    <a:pt x="870" y="1224"/>
                    <a:pt x="865" y="1227"/>
                    <a:pt x="860" y="1226"/>
                  </a:cubicBezTo>
                  <a:cubicBezTo>
                    <a:pt x="855" y="1226"/>
                    <a:pt x="851" y="1227"/>
                    <a:pt x="847" y="1227"/>
                  </a:cubicBezTo>
                  <a:cubicBezTo>
                    <a:pt x="844" y="1227"/>
                    <a:pt x="841" y="1226"/>
                    <a:pt x="839" y="1226"/>
                  </a:cubicBezTo>
                  <a:cubicBezTo>
                    <a:pt x="837" y="1226"/>
                    <a:pt x="837" y="1224"/>
                    <a:pt x="837" y="1224"/>
                  </a:cubicBezTo>
                  <a:cubicBezTo>
                    <a:pt x="843" y="1219"/>
                    <a:pt x="845" y="1213"/>
                    <a:pt x="844" y="1207"/>
                  </a:cubicBezTo>
                  <a:cubicBezTo>
                    <a:pt x="844" y="1204"/>
                    <a:pt x="845" y="1201"/>
                    <a:pt x="845" y="1197"/>
                  </a:cubicBezTo>
                  <a:cubicBezTo>
                    <a:pt x="845" y="1196"/>
                    <a:pt x="846" y="1194"/>
                    <a:pt x="848" y="1194"/>
                  </a:cubicBezTo>
                  <a:cubicBezTo>
                    <a:pt x="852" y="1194"/>
                    <a:pt x="854" y="1192"/>
                    <a:pt x="855" y="1189"/>
                  </a:cubicBezTo>
                  <a:cubicBezTo>
                    <a:pt x="855" y="1185"/>
                    <a:pt x="856" y="1181"/>
                    <a:pt x="856" y="1178"/>
                  </a:cubicBezTo>
                  <a:cubicBezTo>
                    <a:pt x="856" y="1173"/>
                    <a:pt x="858" y="1169"/>
                    <a:pt x="861" y="1165"/>
                  </a:cubicBezTo>
                  <a:cubicBezTo>
                    <a:pt x="863" y="1163"/>
                    <a:pt x="865" y="1160"/>
                    <a:pt x="867" y="1158"/>
                  </a:cubicBezTo>
                  <a:cubicBezTo>
                    <a:pt x="868" y="1156"/>
                    <a:pt x="868" y="1155"/>
                    <a:pt x="869" y="1153"/>
                  </a:cubicBezTo>
                  <a:cubicBezTo>
                    <a:pt x="870" y="1151"/>
                    <a:pt x="867" y="1147"/>
                    <a:pt x="864" y="1146"/>
                  </a:cubicBezTo>
                  <a:cubicBezTo>
                    <a:pt x="857" y="1146"/>
                    <a:pt x="851" y="1145"/>
                    <a:pt x="844" y="1148"/>
                  </a:cubicBezTo>
                  <a:cubicBezTo>
                    <a:pt x="839" y="1150"/>
                    <a:pt x="834" y="1150"/>
                    <a:pt x="828" y="1151"/>
                  </a:cubicBezTo>
                  <a:cubicBezTo>
                    <a:pt x="823" y="1151"/>
                    <a:pt x="820" y="1153"/>
                    <a:pt x="818" y="1157"/>
                  </a:cubicBezTo>
                  <a:cubicBezTo>
                    <a:pt x="817" y="1160"/>
                    <a:pt x="816" y="1162"/>
                    <a:pt x="815" y="1165"/>
                  </a:cubicBezTo>
                  <a:cubicBezTo>
                    <a:pt x="813" y="1172"/>
                    <a:pt x="810" y="1180"/>
                    <a:pt x="804" y="1185"/>
                  </a:cubicBezTo>
                  <a:cubicBezTo>
                    <a:pt x="802" y="1191"/>
                    <a:pt x="798" y="1191"/>
                    <a:pt x="792" y="1189"/>
                  </a:cubicBezTo>
                  <a:cubicBezTo>
                    <a:pt x="790" y="1188"/>
                    <a:pt x="787" y="1188"/>
                    <a:pt x="784" y="1189"/>
                  </a:cubicBezTo>
                  <a:cubicBezTo>
                    <a:pt x="779" y="1190"/>
                    <a:pt x="774" y="1193"/>
                    <a:pt x="768" y="1194"/>
                  </a:cubicBezTo>
                  <a:cubicBezTo>
                    <a:pt x="764" y="1195"/>
                    <a:pt x="760" y="1195"/>
                    <a:pt x="756" y="1191"/>
                  </a:cubicBezTo>
                  <a:cubicBezTo>
                    <a:pt x="754" y="1188"/>
                    <a:pt x="750" y="1187"/>
                    <a:pt x="746" y="1185"/>
                  </a:cubicBezTo>
                  <a:cubicBezTo>
                    <a:pt x="742" y="1184"/>
                    <a:pt x="739" y="1181"/>
                    <a:pt x="737" y="1177"/>
                  </a:cubicBezTo>
                  <a:cubicBezTo>
                    <a:pt x="735" y="1172"/>
                    <a:pt x="732" y="1167"/>
                    <a:pt x="728" y="1162"/>
                  </a:cubicBezTo>
                  <a:cubicBezTo>
                    <a:pt x="726" y="1160"/>
                    <a:pt x="725" y="1158"/>
                    <a:pt x="725" y="1155"/>
                  </a:cubicBezTo>
                  <a:cubicBezTo>
                    <a:pt x="724" y="1151"/>
                    <a:pt x="723" y="1146"/>
                    <a:pt x="722" y="1141"/>
                  </a:cubicBezTo>
                  <a:cubicBezTo>
                    <a:pt x="722" y="1138"/>
                    <a:pt x="721" y="1135"/>
                    <a:pt x="722" y="1132"/>
                  </a:cubicBezTo>
                  <a:cubicBezTo>
                    <a:pt x="722" y="1121"/>
                    <a:pt x="723" y="1110"/>
                    <a:pt x="726" y="1100"/>
                  </a:cubicBezTo>
                  <a:cubicBezTo>
                    <a:pt x="726" y="1098"/>
                    <a:pt x="727" y="1095"/>
                    <a:pt x="728" y="1094"/>
                  </a:cubicBezTo>
                  <a:cubicBezTo>
                    <a:pt x="732" y="1090"/>
                    <a:pt x="733" y="1085"/>
                    <a:pt x="732" y="1079"/>
                  </a:cubicBezTo>
                  <a:cubicBezTo>
                    <a:pt x="732" y="1072"/>
                    <a:pt x="733" y="1065"/>
                    <a:pt x="736" y="1058"/>
                  </a:cubicBezTo>
                  <a:cubicBezTo>
                    <a:pt x="738" y="1052"/>
                    <a:pt x="742" y="1046"/>
                    <a:pt x="749" y="1045"/>
                  </a:cubicBezTo>
                  <a:cubicBezTo>
                    <a:pt x="757" y="1044"/>
                    <a:pt x="764" y="1041"/>
                    <a:pt x="770" y="1036"/>
                  </a:cubicBezTo>
                  <a:cubicBezTo>
                    <a:pt x="774" y="1032"/>
                    <a:pt x="779" y="1032"/>
                    <a:pt x="784" y="1030"/>
                  </a:cubicBezTo>
                  <a:cubicBezTo>
                    <a:pt x="788" y="1028"/>
                    <a:pt x="793" y="1029"/>
                    <a:pt x="797" y="1031"/>
                  </a:cubicBezTo>
                  <a:cubicBezTo>
                    <a:pt x="800" y="1032"/>
                    <a:pt x="804" y="1032"/>
                    <a:pt x="807" y="1031"/>
                  </a:cubicBezTo>
                  <a:cubicBezTo>
                    <a:pt x="811" y="1029"/>
                    <a:pt x="814" y="1030"/>
                    <a:pt x="816" y="1033"/>
                  </a:cubicBezTo>
                  <a:cubicBezTo>
                    <a:pt x="820" y="1039"/>
                    <a:pt x="825" y="1039"/>
                    <a:pt x="832" y="1038"/>
                  </a:cubicBezTo>
                  <a:cubicBezTo>
                    <a:pt x="835" y="1038"/>
                    <a:pt x="837" y="1036"/>
                    <a:pt x="840" y="1035"/>
                  </a:cubicBezTo>
                  <a:cubicBezTo>
                    <a:pt x="841" y="1032"/>
                    <a:pt x="842" y="1029"/>
                    <a:pt x="843" y="1026"/>
                  </a:cubicBezTo>
                  <a:cubicBezTo>
                    <a:pt x="843" y="1023"/>
                    <a:pt x="845" y="1022"/>
                    <a:pt x="848" y="1021"/>
                  </a:cubicBezTo>
                  <a:cubicBezTo>
                    <a:pt x="850" y="1020"/>
                    <a:pt x="852" y="1020"/>
                    <a:pt x="854" y="1020"/>
                  </a:cubicBezTo>
                  <a:cubicBezTo>
                    <a:pt x="862" y="1018"/>
                    <a:pt x="870" y="1020"/>
                    <a:pt x="877" y="1020"/>
                  </a:cubicBezTo>
                  <a:cubicBezTo>
                    <a:pt x="886" y="1019"/>
                    <a:pt x="894" y="1021"/>
                    <a:pt x="900" y="1028"/>
                  </a:cubicBezTo>
                  <a:cubicBezTo>
                    <a:pt x="902" y="1030"/>
                    <a:pt x="905" y="1030"/>
                    <a:pt x="907" y="1029"/>
                  </a:cubicBezTo>
                  <a:cubicBezTo>
                    <a:pt x="909" y="1028"/>
                    <a:pt x="911" y="1027"/>
                    <a:pt x="913" y="1026"/>
                  </a:cubicBezTo>
                  <a:cubicBezTo>
                    <a:pt x="916" y="1025"/>
                    <a:pt x="918" y="1026"/>
                    <a:pt x="919" y="1028"/>
                  </a:cubicBezTo>
                  <a:cubicBezTo>
                    <a:pt x="923" y="1032"/>
                    <a:pt x="926" y="1036"/>
                    <a:pt x="930" y="1040"/>
                  </a:cubicBezTo>
                  <a:cubicBezTo>
                    <a:pt x="931" y="1042"/>
                    <a:pt x="932" y="1045"/>
                    <a:pt x="931" y="1047"/>
                  </a:cubicBezTo>
                  <a:cubicBezTo>
                    <a:pt x="930" y="1049"/>
                    <a:pt x="930" y="1050"/>
                    <a:pt x="929" y="1052"/>
                  </a:cubicBezTo>
                  <a:cubicBezTo>
                    <a:pt x="928" y="1055"/>
                    <a:pt x="928" y="1058"/>
                    <a:pt x="930" y="1060"/>
                  </a:cubicBezTo>
                  <a:cubicBezTo>
                    <a:pt x="932" y="1069"/>
                    <a:pt x="937" y="1076"/>
                    <a:pt x="941" y="1085"/>
                  </a:cubicBezTo>
                  <a:cubicBezTo>
                    <a:pt x="942" y="1088"/>
                    <a:pt x="946" y="1092"/>
                    <a:pt x="949" y="1095"/>
                  </a:cubicBezTo>
                  <a:cubicBezTo>
                    <a:pt x="951" y="1098"/>
                    <a:pt x="957" y="1097"/>
                    <a:pt x="959" y="1094"/>
                  </a:cubicBezTo>
                  <a:cubicBezTo>
                    <a:pt x="963" y="1087"/>
                    <a:pt x="965" y="1081"/>
                    <a:pt x="966" y="1073"/>
                  </a:cubicBezTo>
                  <a:cubicBezTo>
                    <a:pt x="966" y="1072"/>
                    <a:pt x="966" y="1071"/>
                    <a:pt x="966" y="1070"/>
                  </a:cubicBezTo>
                  <a:cubicBezTo>
                    <a:pt x="964" y="1066"/>
                    <a:pt x="963" y="1062"/>
                    <a:pt x="962" y="1058"/>
                  </a:cubicBezTo>
                  <a:cubicBezTo>
                    <a:pt x="961" y="1054"/>
                    <a:pt x="961" y="1050"/>
                    <a:pt x="960" y="1046"/>
                  </a:cubicBezTo>
                  <a:cubicBezTo>
                    <a:pt x="960" y="1045"/>
                    <a:pt x="960" y="1045"/>
                    <a:pt x="960" y="1044"/>
                  </a:cubicBezTo>
                  <a:cubicBezTo>
                    <a:pt x="955" y="1032"/>
                    <a:pt x="955" y="1020"/>
                    <a:pt x="957" y="1007"/>
                  </a:cubicBezTo>
                  <a:cubicBezTo>
                    <a:pt x="957" y="1005"/>
                    <a:pt x="957" y="1003"/>
                    <a:pt x="959" y="1001"/>
                  </a:cubicBezTo>
                  <a:cubicBezTo>
                    <a:pt x="965" y="995"/>
                    <a:pt x="970" y="988"/>
                    <a:pt x="979" y="986"/>
                  </a:cubicBezTo>
                  <a:cubicBezTo>
                    <a:pt x="980" y="986"/>
                    <a:pt x="981" y="985"/>
                    <a:pt x="982" y="985"/>
                  </a:cubicBezTo>
                  <a:cubicBezTo>
                    <a:pt x="986" y="984"/>
                    <a:pt x="988" y="982"/>
                    <a:pt x="990" y="980"/>
                  </a:cubicBezTo>
                  <a:cubicBezTo>
                    <a:pt x="992" y="978"/>
                    <a:pt x="993" y="975"/>
                    <a:pt x="995" y="974"/>
                  </a:cubicBezTo>
                  <a:cubicBezTo>
                    <a:pt x="997" y="972"/>
                    <a:pt x="998" y="970"/>
                    <a:pt x="1000" y="970"/>
                  </a:cubicBezTo>
                  <a:cubicBezTo>
                    <a:pt x="1004" y="969"/>
                    <a:pt x="1007" y="966"/>
                    <a:pt x="1010" y="964"/>
                  </a:cubicBezTo>
                  <a:cubicBezTo>
                    <a:pt x="1014" y="960"/>
                    <a:pt x="1019" y="957"/>
                    <a:pt x="1026" y="956"/>
                  </a:cubicBezTo>
                  <a:cubicBezTo>
                    <a:pt x="1029" y="955"/>
                    <a:pt x="1030" y="953"/>
                    <a:pt x="1030" y="950"/>
                  </a:cubicBezTo>
                  <a:cubicBezTo>
                    <a:pt x="1030" y="948"/>
                    <a:pt x="1032" y="948"/>
                    <a:pt x="1033" y="947"/>
                  </a:cubicBezTo>
                  <a:cubicBezTo>
                    <a:pt x="1035" y="946"/>
                    <a:pt x="1037" y="945"/>
                    <a:pt x="1039" y="943"/>
                  </a:cubicBezTo>
                  <a:cubicBezTo>
                    <a:pt x="1040" y="942"/>
                    <a:pt x="1041" y="940"/>
                    <a:pt x="1040" y="939"/>
                  </a:cubicBezTo>
                  <a:cubicBezTo>
                    <a:pt x="1038" y="937"/>
                    <a:pt x="1037" y="935"/>
                    <a:pt x="1039" y="932"/>
                  </a:cubicBezTo>
                  <a:cubicBezTo>
                    <a:pt x="1041" y="928"/>
                    <a:pt x="1041" y="924"/>
                    <a:pt x="1038" y="920"/>
                  </a:cubicBezTo>
                  <a:cubicBezTo>
                    <a:pt x="1038" y="919"/>
                    <a:pt x="1037" y="917"/>
                    <a:pt x="1037" y="916"/>
                  </a:cubicBezTo>
                  <a:cubicBezTo>
                    <a:pt x="1037" y="911"/>
                    <a:pt x="1038" y="906"/>
                    <a:pt x="1038" y="902"/>
                  </a:cubicBezTo>
                  <a:cubicBezTo>
                    <a:pt x="1038" y="901"/>
                    <a:pt x="1039" y="901"/>
                    <a:pt x="1040" y="901"/>
                  </a:cubicBezTo>
                  <a:cubicBezTo>
                    <a:pt x="1040" y="901"/>
                    <a:pt x="1041" y="901"/>
                    <a:pt x="1041" y="902"/>
                  </a:cubicBezTo>
                  <a:cubicBezTo>
                    <a:pt x="1044" y="904"/>
                    <a:pt x="1043" y="906"/>
                    <a:pt x="1043" y="909"/>
                  </a:cubicBezTo>
                  <a:cubicBezTo>
                    <a:pt x="1043" y="910"/>
                    <a:pt x="1044" y="910"/>
                    <a:pt x="1045" y="911"/>
                  </a:cubicBezTo>
                  <a:cubicBezTo>
                    <a:pt x="1045" y="911"/>
                    <a:pt x="1046" y="911"/>
                    <a:pt x="1046" y="910"/>
                  </a:cubicBezTo>
                  <a:cubicBezTo>
                    <a:pt x="1049" y="906"/>
                    <a:pt x="1052" y="903"/>
                    <a:pt x="1055" y="899"/>
                  </a:cubicBezTo>
                  <a:cubicBezTo>
                    <a:pt x="1056" y="897"/>
                    <a:pt x="1056" y="895"/>
                    <a:pt x="1056" y="893"/>
                  </a:cubicBezTo>
                  <a:cubicBezTo>
                    <a:pt x="1057" y="891"/>
                    <a:pt x="1056" y="890"/>
                    <a:pt x="1056" y="888"/>
                  </a:cubicBezTo>
                  <a:cubicBezTo>
                    <a:pt x="1057" y="887"/>
                    <a:pt x="1057" y="886"/>
                    <a:pt x="1059" y="886"/>
                  </a:cubicBezTo>
                  <a:cubicBezTo>
                    <a:pt x="1062" y="887"/>
                    <a:pt x="1064" y="885"/>
                    <a:pt x="1066" y="883"/>
                  </a:cubicBezTo>
                  <a:cubicBezTo>
                    <a:pt x="1070" y="878"/>
                    <a:pt x="1074" y="873"/>
                    <a:pt x="1075" y="867"/>
                  </a:cubicBezTo>
                  <a:cubicBezTo>
                    <a:pt x="1076" y="861"/>
                    <a:pt x="1079" y="860"/>
                    <a:pt x="1084" y="860"/>
                  </a:cubicBezTo>
                  <a:cubicBezTo>
                    <a:pt x="1087" y="859"/>
                    <a:pt x="1091" y="859"/>
                    <a:pt x="1094" y="858"/>
                  </a:cubicBezTo>
                  <a:cubicBezTo>
                    <a:pt x="1095" y="858"/>
                    <a:pt x="1097" y="857"/>
                    <a:pt x="1098" y="856"/>
                  </a:cubicBezTo>
                  <a:cubicBezTo>
                    <a:pt x="1099" y="856"/>
                    <a:pt x="1099" y="855"/>
                    <a:pt x="1099" y="855"/>
                  </a:cubicBezTo>
                  <a:cubicBezTo>
                    <a:pt x="1099" y="854"/>
                    <a:pt x="1099" y="854"/>
                    <a:pt x="1098" y="853"/>
                  </a:cubicBezTo>
                  <a:cubicBezTo>
                    <a:pt x="1097" y="853"/>
                    <a:pt x="1096" y="853"/>
                    <a:pt x="1095" y="853"/>
                  </a:cubicBezTo>
                  <a:cubicBezTo>
                    <a:pt x="1094" y="853"/>
                    <a:pt x="1093" y="852"/>
                    <a:pt x="1093" y="851"/>
                  </a:cubicBezTo>
                  <a:cubicBezTo>
                    <a:pt x="1093" y="851"/>
                    <a:pt x="1094" y="851"/>
                    <a:pt x="1095" y="851"/>
                  </a:cubicBezTo>
                  <a:cubicBezTo>
                    <a:pt x="1095" y="851"/>
                    <a:pt x="1096" y="851"/>
                    <a:pt x="1097" y="851"/>
                  </a:cubicBezTo>
                  <a:cubicBezTo>
                    <a:pt x="1106" y="852"/>
                    <a:pt x="1115" y="847"/>
                    <a:pt x="1124" y="848"/>
                  </a:cubicBezTo>
                  <a:cubicBezTo>
                    <a:pt x="1126" y="848"/>
                    <a:pt x="1127" y="846"/>
                    <a:pt x="1128" y="845"/>
                  </a:cubicBezTo>
                  <a:cubicBezTo>
                    <a:pt x="1132" y="843"/>
                    <a:pt x="1132" y="841"/>
                    <a:pt x="1128" y="839"/>
                  </a:cubicBezTo>
                  <a:cubicBezTo>
                    <a:pt x="1124" y="837"/>
                    <a:pt x="1123" y="834"/>
                    <a:pt x="1123" y="831"/>
                  </a:cubicBezTo>
                  <a:cubicBezTo>
                    <a:pt x="1125" y="828"/>
                    <a:pt x="1126" y="824"/>
                    <a:pt x="1127" y="821"/>
                  </a:cubicBezTo>
                  <a:cubicBezTo>
                    <a:pt x="1130" y="815"/>
                    <a:pt x="1134" y="810"/>
                    <a:pt x="1141" y="808"/>
                  </a:cubicBezTo>
                  <a:cubicBezTo>
                    <a:pt x="1144" y="807"/>
                    <a:pt x="1148" y="805"/>
                    <a:pt x="1151" y="803"/>
                  </a:cubicBezTo>
                  <a:cubicBezTo>
                    <a:pt x="1153" y="801"/>
                    <a:pt x="1156" y="800"/>
                    <a:pt x="1159" y="800"/>
                  </a:cubicBezTo>
                  <a:cubicBezTo>
                    <a:pt x="1166" y="801"/>
                    <a:pt x="1172" y="797"/>
                    <a:pt x="1179" y="796"/>
                  </a:cubicBezTo>
                  <a:cubicBezTo>
                    <a:pt x="1182" y="796"/>
                    <a:pt x="1182" y="794"/>
                    <a:pt x="1183" y="792"/>
                  </a:cubicBezTo>
                  <a:cubicBezTo>
                    <a:pt x="1184" y="790"/>
                    <a:pt x="1185" y="789"/>
                    <a:pt x="1187" y="789"/>
                  </a:cubicBezTo>
                  <a:cubicBezTo>
                    <a:pt x="1192" y="787"/>
                    <a:pt x="1197" y="786"/>
                    <a:pt x="1203" y="785"/>
                  </a:cubicBezTo>
                  <a:cubicBezTo>
                    <a:pt x="1203" y="785"/>
                    <a:pt x="1204" y="786"/>
                    <a:pt x="1204" y="786"/>
                  </a:cubicBezTo>
                  <a:cubicBezTo>
                    <a:pt x="1204" y="787"/>
                    <a:pt x="1204" y="788"/>
                    <a:pt x="1203" y="788"/>
                  </a:cubicBezTo>
                  <a:cubicBezTo>
                    <a:pt x="1201" y="789"/>
                    <a:pt x="1199" y="790"/>
                    <a:pt x="1197" y="791"/>
                  </a:cubicBezTo>
                  <a:cubicBezTo>
                    <a:pt x="1192" y="793"/>
                    <a:pt x="1189" y="796"/>
                    <a:pt x="1187" y="801"/>
                  </a:cubicBezTo>
                  <a:cubicBezTo>
                    <a:pt x="1186" y="803"/>
                    <a:pt x="1186" y="805"/>
                    <a:pt x="1186" y="807"/>
                  </a:cubicBezTo>
                  <a:cubicBezTo>
                    <a:pt x="1187" y="810"/>
                    <a:pt x="1189" y="812"/>
                    <a:pt x="1192" y="814"/>
                  </a:cubicBezTo>
                  <a:cubicBezTo>
                    <a:pt x="1193" y="815"/>
                    <a:pt x="1194" y="815"/>
                    <a:pt x="1195" y="815"/>
                  </a:cubicBezTo>
                  <a:cubicBezTo>
                    <a:pt x="1201" y="812"/>
                    <a:pt x="1208" y="808"/>
                    <a:pt x="1212" y="803"/>
                  </a:cubicBezTo>
                  <a:cubicBezTo>
                    <a:pt x="1214" y="799"/>
                    <a:pt x="1217" y="798"/>
                    <a:pt x="1222" y="799"/>
                  </a:cubicBezTo>
                  <a:cubicBezTo>
                    <a:pt x="1230" y="796"/>
                    <a:pt x="1238" y="794"/>
                    <a:pt x="1247" y="791"/>
                  </a:cubicBezTo>
                  <a:cubicBezTo>
                    <a:pt x="1249" y="790"/>
                    <a:pt x="1252" y="789"/>
                    <a:pt x="1254" y="789"/>
                  </a:cubicBezTo>
                  <a:cubicBezTo>
                    <a:pt x="1256" y="783"/>
                    <a:pt x="1262" y="785"/>
                    <a:pt x="1265" y="783"/>
                  </a:cubicBezTo>
                  <a:cubicBezTo>
                    <a:pt x="1266" y="782"/>
                    <a:pt x="1268" y="781"/>
                    <a:pt x="1270" y="781"/>
                  </a:cubicBezTo>
                  <a:cubicBezTo>
                    <a:pt x="1271" y="780"/>
                    <a:pt x="1271" y="780"/>
                    <a:pt x="1272" y="779"/>
                  </a:cubicBezTo>
                  <a:cubicBezTo>
                    <a:pt x="1273" y="778"/>
                    <a:pt x="1274" y="775"/>
                    <a:pt x="1273" y="775"/>
                  </a:cubicBezTo>
                  <a:cubicBezTo>
                    <a:pt x="1270" y="772"/>
                    <a:pt x="1267" y="769"/>
                    <a:pt x="1269" y="764"/>
                  </a:cubicBezTo>
                  <a:cubicBezTo>
                    <a:pt x="1269" y="764"/>
                    <a:pt x="1269" y="763"/>
                    <a:pt x="1269" y="763"/>
                  </a:cubicBezTo>
                  <a:cubicBezTo>
                    <a:pt x="1268" y="761"/>
                    <a:pt x="1265" y="760"/>
                    <a:pt x="1264" y="761"/>
                  </a:cubicBezTo>
                  <a:cubicBezTo>
                    <a:pt x="1259" y="766"/>
                    <a:pt x="1255" y="771"/>
                    <a:pt x="1251" y="777"/>
                  </a:cubicBezTo>
                  <a:cubicBezTo>
                    <a:pt x="1249" y="779"/>
                    <a:pt x="1248" y="779"/>
                    <a:pt x="1245" y="779"/>
                  </a:cubicBezTo>
                  <a:cubicBezTo>
                    <a:pt x="1244" y="778"/>
                    <a:pt x="1242" y="778"/>
                    <a:pt x="1241" y="778"/>
                  </a:cubicBezTo>
                  <a:cubicBezTo>
                    <a:pt x="1240" y="779"/>
                    <a:pt x="1239" y="780"/>
                    <a:pt x="1238" y="779"/>
                  </a:cubicBezTo>
                  <a:cubicBezTo>
                    <a:pt x="1236" y="779"/>
                    <a:pt x="1235" y="778"/>
                    <a:pt x="1234" y="778"/>
                  </a:cubicBezTo>
                  <a:cubicBezTo>
                    <a:pt x="1233" y="778"/>
                    <a:pt x="1231" y="777"/>
                    <a:pt x="1230" y="777"/>
                  </a:cubicBezTo>
                  <a:cubicBezTo>
                    <a:pt x="1226" y="777"/>
                    <a:pt x="1224" y="775"/>
                    <a:pt x="1224" y="771"/>
                  </a:cubicBezTo>
                  <a:cubicBezTo>
                    <a:pt x="1218" y="771"/>
                    <a:pt x="1215" y="768"/>
                    <a:pt x="1214" y="762"/>
                  </a:cubicBezTo>
                  <a:cubicBezTo>
                    <a:pt x="1213" y="757"/>
                    <a:pt x="1213" y="752"/>
                    <a:pt x="1216" y="747"/>
                  </a:cubicBezTo>
                  <a:cubicBezTo>
                    <a:pt x="1217" y="745"/>
                    <a:pt x="1215" y="743"/>
                    <a:pt x="1213" y="743"/>
                  </a:cubicBezTo>
                  <a:cubicBezTo>
                    <a:pt x="1212" y="742"/>
                    <a:pt x="1210" y="742"/>
                    <a:pt x="1209" y="742"/>
                  </a:cubicBezTo>
                  <a:cubicBezTo>
                    <a:pt x="1209" y="742"/>
                    <a:pt x="1208" y="742"/>
                    <a:pt x="1208" y="742"/>
                  </a:cubicBezTo>
                  <a:cubicBezTo>
                    <a:pt x="1209" y="741"/>
                    <a:pt x="1210" y="741"/>
                    <a:pt x="1211" y="741"/>
                  </a:cubicBezTo>
                  <a:cubicBezTo>
                    <a:pt x="1215" y="739"/>
                    <a:pt x="1219" y="737"/>
                    <a:pt x="1222" y="734"/>
                  </a:cubicBezTo>
                  <a:cubicBezTo>
                    <a:pt x="1224" y="733"/>
                    <a:pt x="1225" y="729"/>
                    <a:pt x="1224" y="727"/>
                  </a:cubicBezTo>
                  <a:cubicBezTo>
                    <a:pt x="1222" y="726"/>
                    <a:pt x="1221" y="724"/>
                    <a:pt x="1220" y="722"/>
                  </a:cubicBezTo>
                  <a:cubicBezTo>
                    <a:pt x="1215" y="719"/>
                    <a:pt x="1210" y="717"/>
                    <a:pt x="1204" y="719"/>
                  </a:cubicBezTo>
                  <a:cubicBezTo>
                    <a:pt x="1190" y="722"/>
                    <a:pt x="1175" y="725"/>
                    <a:pt x="1162" y="734"/>
                  </a:cubicBezTo>
                  <a:cubicBezTo>
                    <a:pt x="1162" y="734"/>
                    <a:pt x="1162" y="734"/>
                    <a:pt x="1162" y="734"/>
                  </a:cubicBezTo>
                  <a:cubicBezTo>
                    <a:pt x="1162" y="734"/>
                    <a:pt x="1161" y="734"/>
                    <a:pt x="1161" y="734"/>
                  </a:cubicBezTo>
                  <a:cubicBezTo>
                    <a:pt x="1159" y="736"/>
                    <a:pt x="1158" y="738"/>
                    <a:pt x="1156" y="740"/>
                  </a:cubicBezTo>
                  <a:cubicBezTo>
                    <a:pt x="1156" y="740"/>
                    <a:pt x="1156" y="740"/>
                    <a:pt x="1156" y="740"/>
                  </a:cubicBezTo>
                  <a:cubicBezTo>
                    <a:pt x="1153" y="741"/>
                    <a:pt x="1151" y="742"/>
                    <a:pt x="1148" y="743"/>
                  </a:cubicBezTo>
                  <a:cubicBezTo>
                    <a:pt x="1147" y="744"/>
                    <a:pt x="1146" y="745"/>
                    <a:pt x="1145" y="746"/>
                  </a:cubicBezTo>
                  <a:cubicBezTo>
                    <a:pt x="1144" y="747"/>
                    <a:pt x="1144" y="747"/>
                    <a:pt x="1144" y="747"/>
                  </a:cubicBezTo>
                  <a:cubicBezTo>
                    <a:pt x="1145" y="745"/>
                    <a:pt x="1145" y="745"/>
                    <a:pt x="1145" y="745"/>
                  </a:cubicBezTo>
                  <a:cubicBezTo>
                    <a:pt x="1146" y="744"/>
                    <a:pt x="1147" y="744"/>
                    <a:pt x="1148" y="743"/>
                  </a:cubicBezTo>
                  <a:cubicBezTo>
                    <a:pt x="1150" y="742"/>
                    <a:pt x="1153" y="741"/>
                    <a:pt x="1155" y="740"/>
                  </a:cubicBezTo>
                  <a:cubicBezTo>
                    <a:pt x="1155" y="740"/>
                    <a:pt x="1156" y="740"/>
                    <a:pt x="1156" y="740"/>
                  </a:cubicBezTo>
                  <a:cubicBezTo>
                    <a:pt x="1156" y="735"/>
                    <a:pt x="1157" y="735"/>
                    <a:pt x="1161" y="734"/>
                  </a:cubicBezTo>
                  <a:cubicBezTo>
                    <a:pt x="1161" y="734"/>
                    <a:pt x="1161" y="734"/>
                    <a:pt x="1162" y="734"/>
                  </a:cubicBezTo>
                  <a:cubicBezTo>
                    <a:pt x="1162" y="734"/>
                    <a:pt x="1162" y="734"/>
                    <a:pt x="1162" y="734"/>
                  </a:cubicBezTo>
                  <a:cubicBezTo>
                    <a:pt x="1162" y="731"/>
                    <a:pt x="1163" y="729"/>
                    <a:pt x="1165" y="727"/>
                  </a:cubicBezTo>
                  <a:cubicBezTo>
                    <a:pt x="1170" y="723"/>
                    <a:pt x="1177" y="719"/>
                    <a:pt x="1183" y="717"/>
                  </a:cubicBezTo>
                  <a:cubicBezTo>
                    <a:pt x="1188" y="716"/>
                    <a:pt x="1192" y="714"/>
                    <a:pt x="1193" y="710"/>
                  </a:cubicBezTo>
                  <a:cubicBezTo>
                    <a:pt x="1194" y="709"/>
                    <a:pt x="1195" y="708"/>
                    <a:pt x="1195" y="708"/>
                  </a:cubicBezTo>
                  <a:cubicBezTo>
                    <a:pt x="1199" y="705"/>
                    <a:pt x="1202" y="702"/>
                    <a:pt x="1205" y="700"/>
                  </a:cubicBezTo>
                  <a:cubicBezTo>
                    <a:pt x="1209" y="698"/>
                    <a:pt x="1213" y="700"/>
                    <a:pt x="1217" y="700"/>
                  </a:cubicBezTo>
                  <a:cubicBezTo>
                    <a:pt x="1232" y="700"/>
                    <a:pt x="1247" y="702"/>
                    <a:pt x="1262" y="704"/>
                  </a:cubicBezTo>
                  <a:cubicBezTo>
                    <a:pt x="1269" y="705"/>
                    <a:pt x="1275" y="702"/>
                    <a:pt x="1282" y="703"/>
                  </a:cubicBezTo>
                  <a:cubicBezTo>
                    <a:pt x="1284" y="703"/>
                    <a:pt x="1285" y="703"/>
                    <a:pt x="1287" y="702"/>
                  </a:cubicBezTo>
                  <a:cubicBezTo>
                    <a:pt x="1288" y="702"/>
                    <a:pt x="1290" y="701"/>
                    <a:pt x="1291" y="701"/>
                  </a:cubicBezTo>
                  <a:cubicBezTo>
                    <a:pt x="1296" y="698"/>
                    <a:pt x="1300" y="695"/>
                    <a:pt x="1302" y="691"/>
                  </a:cubicBezTo>
                  <a:cubicBezTo>
                    <a:pt x="1305" y="688"/>
                    <a:pt x="1308" y="687"/>
                    <a:pt x="1312" y="686"/>
                  </a:cubicBezTo>
                  <a:cubicBezTo>
                    <a:pt x="1315" y="686"/>
                    <a:pt x="1317" y="685"/>
                    <a:pt x="1320" y="685"/>
                  </a:cubicBezTo>
                  <a:cubicBezTo>
                    <a:pt x="1328" y="685"/>
                    <a:pt x="1335" y="681"/>
                    <a:pt x="1341" y="676"/>
                  </a:cubicBezTo>
                  <a:cubicBezTo>
                    <a:pt x="1344" y="674"/>
                    <a:pt x="1346" y="671"/>
                    <a:pt x="1344" y="667"/>
                  </a:cubicBezTo>
                  <a:cubicBezTo>
                    <a:pt x="1343" y="664"/>
                    <a:pt x="1343" y="662"/>
                    <a:pt x="1344" y="659"/>
                  </a:cubicBezTo>
                  <a:cubicBezTo>
                    <a:pt x="1345" y="658"/>
                    <a:pt x="1346" y="656"/>
                    <a:pt x="1346" y="654"/>
                  </a:cubicBezTo>
                  <a:cubicBezTo>
                    <a:pt x="1346" y="652"/>
                    <a:pt x="1346" y="650"/>
                    <a:pt x="1345" y="649"/>
                  </a:cubicBezTo>
                  <a:cubicBezTo>
                    <a:pt x="1343" y="645"/>
                    <a:pt x="1339" y="642"/>
                    <a:pt x="1334" y="643"/>
                  </a:cubicBezTo>
                  <a:cubicBezTo>
                    <a:pt x="1334" y="643"/>
                    <a:pt x="1334" y="643"/>
                    <a:pt x="1334" y="643"/>
                  </a:cubicBezTo>
                  <a:cubicBezTo>
                    <a:pt x="1333" y="643"/>
                    <a:pt x="1333" y="643"/>
                    <a:pt x="1333" y="643"/>
                  </a:cubicBezTo>
                  <a:cubicBezTo>
                    <a:pt x="1334" y="643"/>
                    <a:pt x="1334" y="643"/>
                    <a:pt x="1334" y="643"/>
                  </a:cubicBezTo>
                  <a:cubicBezTo>
                    <a:pt x="1334" y="643"/>
                    <a:pt x="1334" y="643"/>
                    <a:pt x="1334" y="643"/>
                  </a:cubicBezTo>
                  <a:cubicBezTo>
                    <a:pt x="1334" y="641"/>
                    <a:pt x="1334" y="640"/>
                    <a:pt x="1333" y="638"/>
                  </a:cubicBezTo>
                  <a:cubicBezTo>
                    <a:pt x="1332" y="635"/>
                    <a:pt x="1330" y="634"/>
                    <a:pt x="1327" y="633"/>
                  </a:cubicBezTo>
                  <a:cubicBezTo>
                    <a:pt x="1326" y="633"/>
                    <a:pt x="1324" y="633"/>
                    <a:pt x="1323" y="633"/>
                  </a:cubicBezTo>
                  <a:cubicBezTo>
                    <a:pt x="1322" y="633"/>
                    <a:pt x="1322" y="632"/>
                    <a:pt x="1321" y="632"/>
                  </a:cubicBezTo>
                  <a:cubicBezTo>
                    <a:pt x="1322" y="632"/>
                    <a:pt x="1322" y="631"/>
                    <a:pt x="1323" y="631"/>
                  </a:cubicBezTo>
                  <a:cubicBezTo>
                    <a:pt x="1324" y="630"/>
                    <a:pt x="1326" y="630"/>
                    <a:pt x="1328" y="629"/>
                  </a:cubicBezTo>
                  <a:cubicBezTo>
                    <a:pt x="1329" y="628"/>
                    <a:pt x="1330" y="626"/>
                    <a:pt x="1328" y="624"/>
                  </a:cubicBezTo>
                  <a:cubicBezTo>
                    <a:pt x="1327" y="622"/>
                    <a:pt x="1325" y="619"/>
                    <a:pt x="1322" y="620"/>
                  </a:cubicBezTo>
                  <a:cubicBezTo>
                    <a:pt x="1321" y="620"/>
                    <a:pt x="1319" y="620"/>
                    <a:pt x="1319" y="620"/>
                  </a:cubicBezTo>
                  <a:cubicBezTo>
                    <a:pt x="1315" y="615"/>
                    <a:pt x="1309" y="613"/>
                    <a:pt x="1304" y="611"/>
                  </a:cubicBezTo>
                  <a:cubicBezTo>
                    <a:pt x="1303" y="610"/>
                    <a:pt x="1302" y="609"/>
                    <a:pt x="1301" y="609"/>
                  </a:cubicBezTo>
                  <a:cubicBezTo>
                    <a:pt x="1300" y="603"/>
                    <a:pt x="1296" y="600"/>
                    <a:pt x="1292" y="596"/>
                  </a:cubicBezTo>
                  <a:cubicBezTo>
                    <a:pt x="1290" y="594"/>
                    <a:pt x="1288" y="592"/>
                    <a:pt x="1286" y="590"/>
                  </a:cubicBezTo>
                  <a:cubicBezTo>
                    <a:pt x="1285" y="588"/>
                    <a:pt x="1285" y="586"/>
                    <a:pt x="1286" y="585"/>
                  </a:cubicBezTo>
                  <a:cubicBezTo>
                    <a:pt x="1288" y="583"/>
                    <a:pt x="1290" y="581"/>
                    <a:pt x="1292" y="579"/>
                  </a:cubicBezTo>
                  <a:cubicBezTo>
                    <a:pt x="1294" y="577"/>
                    <a:pt x="1294" y="575"/>
                    <a:pt x="1293" y="573"/>
                  </a:cubicBezTo>
                  <a:cubicBezTo>
                    <a:pt x="1290" y="570"/>
                    <a:pt x="1289" y="566"/>
                    <a:pt x="1290" y="562"/>
                  </a:cubicBezTo>
                  <a:cubicBezTo>
                    <a:pt x="1290" y="561"/>
                    <a:pt x="1288" y="559"/>
                    <a:pt x="1287" y="558"/>
                  </a:cubicBezTo>
                  <a:cubicBezTo>
                    <a:pt x="1285" y="556"/>
                    <a:pt x="1287" y="553"/>
                    <a:pt x="1284" y="551"/>
                  </a:cubicBezTo>
                  <a:cubicBezTo>
                    <a:pt x="1282" y="550"/>
                    <a:pt x="1284" y="547"/>
                    <a:pt x="1283" y="545"/>
                  </a:cubicBezTo>
                  <a:cubicBezTo>
                    <a:pt x="1282" y="543"/>
                    <a:pt x="1283" y="540"/>
                    <a:pt x="1282" y="538"/>
                  </a:cubicBezTo>
                  <a:cubicBezTo>
                    <a:pt x="1282" y="535"/>
                    <a:pt x="1281" y="532"/>
                    <a:pt x="1280" y="529"/>
                  </a:cubicBezTo>
                  <a:cubicBezTo>
                    <a:pt x="1277" y="522"/>
                    <a:pt x="1276" y="515"/>
                    <a:pt x="1275" y="507"/>
                  </a:cubicBezTo>
                  <a:cubicBezTo>
                    <a:pt x="1274" y="505"/>
                    <a:pt x="1274" y="503"/>
                    <a:pt x="1274" y="501"/>
                  </a:cubicBezTo>
                  <a:cubicBezTo>
                    <a:pt x="1273" y="501"/>
                    <a:pt x="1272" y="500"/>
                    <a:pt x="1271" y="500"/>
                  </a:cubicBezTo>
                  <a:cubicBezTo>
                    <a:pt x="1271" y="500"/>
                    <a:pt x="1270" y="500"/>
                    <a:pt x="1270" y="500"/>
                  </a:cubicBezTo>
                  <a:cubicBezTo>
                    <a:pt x="1266" y="506"/>
                    <a:pt x="1260" y="512"/>
                    <a:pt x="1257" y="518"/>
                  </a:cubicBezTo>
                  <a:cubicBezTo>
                    <a:pt x="1254" y="525"/>
                    <a:pt x="1250" y="531"/>
                    <a:pt x="1242" y="534"/>
                  </a:cubicBezTo>
                  <a:cubicBezTo>
                    <a:pt x="1240" y="535"/>
                    <a:pt x="1239" y="537"/>
                    <a:pt x="1237" y="538"/>
                  </a:cubicBezTo>
                  <a:cubicBezTo>
                    <a:pt x="1234" y="539"/>
                    <a:pt x="1232" y="540"/>
                    <a:pt x="1229" y="541"/>
                  </a:cubicBezTo>
                  <a:cubicBezTo>
                    <a:pt x="1226" y="542"/>
                    <a:pt x="1224" y="541"/>
                    <a:pt x="1222" y="539"/>
                  </a:cubicBezTo>
                  <a:cubicBezTo>
                    <a:pt x="1220" y="538"/>
                    <a:pt x="1219" y="537"/>
                    <a:pt x="1218" y="535"/>
                  </a:cubicBezTo>
                  <a:cubicBezTo>
                    <a:pt x="1217" y="532"/>
                    <a:pt x="1215" y="530"/>
                    <a:pt x="1212" y="529"/>
                  </a:cubicBezTo>
                  <a:cubicBezTo>
                    <a:pt x="1209" y="527"/>
                    <a:pt x="1209" y="524"/>
                    <a:pt x="1209" y="521"/>
                  </a:cubicBezTo>
                  <a:cubicBezTo>
                    <a:pt x="1209" y="516"/>
                    <a:pt x="1213" y="511"/>
                    <a:pt x="1210" y="506"/>
                  </a:cubicBezTo>
                  <a:cubicBezTo>
                    <a:pt x="1210" y="505"/>
                    <a:pt x="1211" y="503"/>
                    <a:pt x="1212" y="501"/>
                  </a:cubicBezTo>
                  <a:cubicBezTo>
                    <a:pt x="1214" y="496"/>
                    <a:pt x="1215" y="492"/>
                    <a:pt x="1219" y="487"/>
                  </a:cubicBezTo>
                  <a:cubicBezTo>
                    <a:pt x="1219" y="486"/>
                    <a:pt x="1218" y="484"/>
                    <a:pt x="1217" y="483"/>
                  </a:cubicBezTo>
                  <a:cubicBezTo>
                    <a:pt x="1212" y="483"/>
                    <a:pt x="1209" y="478"/>
                    <a:pt x="1203" y="478"/>
                  </a:cubicBezTo>
                  <a:cubicBezTo>
                    <a:pt x="1201" y="478"/>
                    <a:pt x="1200" y="476"/>
                    <a:pt x="1198" y="476"/>
                  </a:cubicBezTo>
                  <a:cubicBezTo>
                    <a:pt x="1196" y="475"/>
                    <a:pt x="1195" y="473"/>
                    <a:pt x="1195" y="472"/>
                  </a:cubicBezTo>
                  <a:cubicBezTo>
                    <a:pt x="1196" y="470"/>
                    <a:pt x="1196" y="469"/>
                    <a:pt x="1195" y="467"/>
                  </a:cubicBezTo>
                  <a:cubicBezTo>
                    <a:pt x="1192" y="464"/>
                    <a:pt x="1190" y="461"/>
                    <a:pt x="1188" y="457"/>
                  </a:cubicBezTo>
                  <a:cubicBezTo>
                    <a:pt x="1187" y="454"/>
                    <a:pt x="1185" y="452"/>
                    <a:pt x="1184" y="450"/>
                  </a:cubicBezTo>
                  <a:cubicBezTo>
                    <a:pt x="1181" y="446"/>
                    <a:pt x="1178" y="444"/>
                    <a:pt x="1172" y="446"/>
                  </a:cubicBezTo>
                  <a:cubicBezTo>
                    <a:pt x="1171" y="447"/>
                    <a:pt x="1168" y="447"/>
                    <a:pt x="1166" y="447"/>
                  </a:cubicBezTo>
                  <a:cubicBezTo>
                    <a:pt x="1160" y="446"/>
                    <a:pt x="1153" y="446"/>
                    <a:pt x="1147" y="442"/>
                  </a:cubicBezTo>
                  <a:cubicBezTo>
                    <a:pt x="1145" y="440"/>
                    <a:pt x="1142" y="439"/>
                    <a:pt x="1140" y="439"/>
                  </a:cubicBezTo>
                  <a:cubicBezTo>
                    <a:pt x="1133" y="437"/>
                    <a:pt x="1126" y="441"/>
                    <a:pt x="1124" y="447"/>
                  </a:cubicBezTo>
                  <a:cubicBezTo>
                    <a:pt x="1123" y="450"/>
                    <a:pt x="1122" y="454"/>
                    <a:pt x="1124" y="457"/>
                  </a:cubicBezTo>
                  <a:cubicBezTo>
                    <a:pt x="1126" y="460"/>
                    <a:pt x="1126" y="462"/>
                    <a:pt x="1124" y="465"/>
                  </a:cubicBezTo>
                  <a:cubicBezTo>
                    <a:pt x="1122" y="468"/>
                    <a:pt x="1118" y="471"/>
                    <a:pt x="1117" y="475"/>
                  </a:cubicBezTo>
                  <a:cubicBezTo>
                    <a:pt x="1115" y="479"/>
                    <a:pt x="1119" y="484"/>
                    <a:pt x="1118" y="488"/>
                  </a:cubicBezTo>
                  <a:cubicBezTo>
                    <a:pt x="1117" y="490"/>
                    <a:pt x="1118" y="493"/>
                    <a:pt x="1119" y="495"/>
                  </a:cubicBezTo>
                  <a:cubicBezTo>
                    <a:pt x="1120" y="498"/>
                    <a:pt x="1118" y="500"/>
                    <a:pt x="1115" y="502"/>
                  </a:cubicBezTo>
                  <a:cubicBezTo>
                    <a:pt x="1113" y="503"/>
                    <a:pt x="1111" y="504"/>
                    <a:pt x="1111" y="505"/>
                  </a:cubicBezTo>
                  <a:cubicBezTo>
                    <a:pt x="1108" y="511"/>
                    <a:pt x="1102" y="515"/>
                    <a:pt x="1097" y="520"/>
                  </a:cubicBezTo>
                  <a:cubicBezTo>
                    <a:pt x="1095" y="523"/>
                    <a:pt x="1095" y="526"/>
                    <a:pt x="1097" y="529"/>
                  </a:cubicBezTo>
                  <a:cubicBezTo>
                    <a:pt x="1099" y="531"/>
                    <a:pt x="1101" y="533"/>
                    <a:pt x="1102" y="535"/>
                  </a:cubicBezTo>
                  <a:cubicBezTo>
                    <a:pt x="1103" y="537"/>
                    <a:pt x="1104" y="539"/>
                    <a:pt x="1105" y="541"/>
                  </a:cubicBezTo>
                  <a:cubicBezTo>
                    <a:pt x="1106" y="546"/>
                    <a:pt x="1106" y="552"/>
                    <a:pt x="1107" y="558"/>
                  </a:cubicBezTo>
                  <a:cubicBezTo>
                    <a:pt x="1109" y="564"/>
                    <a:pt x="1104" y="570"/>
                    <a:pt x="1106" y="576"/>
                  </a:cubicBezTo>
                  <a:cubicBezTo>
                    <a:pt x="1107" y="577"/>
                    <a:pt x="1106" y="578"/>
                    <a:pt x="1105" y="578"/>
                  </a:cubicBezTo>
                  <a:cubicBezTo>
                    <a:pt x="1103" y="580"/>
                    <a:pt x="1100" y="581"/>
                    <a:pt x="1098" y="583"/>
                  </a:cubicBezTo>
                  <a:cubicBezTo>
                    <a:pt x="1091" y="589"/>
                    <a:pt x="1083" y="593"/>
                    <a:pt x="1075" y="597"/>
                  </a:cubicBezTo>
                  <a:cubicBezTo>
                    <a:pt x="1070" y="598"/>
                    <a:pt x="1066" y="600"/>
                    <a:pt x="1062" y="602"/>
                  </a:cubicBezTo>
                  <a:cubicBezTo>
                    <a:pt x="1059" y="603"/>
                    <a:pt x="1058" y="605"/>
                    <a:pt x="1058" y="608"/>
                  </a:cubicBezTo>
                  <a:cubicBezTo>
                    <a:pt x="1058" y="614"/>
                    <a:pt x="1059" y="620"/>
                    <a:pt x="1058" y="626"/>
                  </a:cubicBezTo>
                  <a:cubicBezTo>
                    <a:pt x="1057" y="630"/>
                    <a:pt x="1057" y="635"/>
                    <a:pt x="1056" y="639"/>
                  </a:cubicBezTo>
                  <a:cubicBezTo>
                    <a:pt x="1056" y="643"/>
                    <a:pt x="1057" y="647"/>
                    <a:pt x="1057" y="651"/>
                  </a:cubicBezTo>
                  <a:cubicBezTo>
                    <a:pt x="1057" y="653"/>
                    <a:pt x="1057" y="654"/>
                    <a:pt x="1056" y="656"/>
                  </a:cubicBezTo>
                  <a:cubicBezTo>
                    <a:pt x="1055" y="658"/>
                    <a:pt x="1053" y="661"/>
                    <a:pt x="1052" y="664"/>
                  </a:cubicBezTo>
                  <a:cubicBezTo>
                    <a:pt x="1051" y="665"/>
                    <a:pt x="1050" y="665"/>
                    <a:pt x="1049" y="665"/>
                  </a:cubicBezTo>
                  <a:cubicBezTo>
                    <a:pt x="1045" y="664"/>
                    <a:pt x="1043" y="667"/>
                    <a:pt x="1041" y="669"/>
                  </a:cubicBezTo>
                  <a:cubicBezTo>
                    <a:pt x="1039" y="670"/>
                    <a:pt x="1036" y="669"/>
                    <a:pt x="1035" y="668"/>
                  </a:cubicBezTo>
                  <a:cubicBezTo>
                    <a:pt x="1034" y="666"/>
                    <a:pt x="1034" y="665"/>
                    <a:pt x="1033" y="664"/>
                  </a:cubicBezTo>
                  <a:cubicBezTo>
                    <a:pt x="1032" y="661"/>
                    <a:pt x="1031" y="658"/>
                    <a:pt x="1029" y="657"/>
                  </a:cubicBezTo>
                  <a:cubicBezTo>
                    <a:pt x="1024" y="652"/>
                    <a:pt x="1022" y="645"/>
                    <a:pt x="1018" y="639"/>
                  </a:cubicBezTo>
                  <a:cubicBezTo>
                    <a:pt x="1017" y="637"/>
                    <a:pt x="1018" y="635"/>
                    <a:pt x="1019" y="634"/>
                  </a:cubicBezTo>
                  <a:cubicBezTo>
                    <a:pt x="1022" y="626"/>
                    <a:pt x="1026" y="620"/>
                    <a:pt x="1025" y="611"/>
                  </a:cubicBezTo>
                  <a:cubicBezTo>
                    <a:pt x="1025" y="609"/>
                    <a:pt x="1027" y="606"/>
                    <a:pt x="1028" y="604"/>
                  </a:cubicBezTo>
                  <a:cubicBezTo>
                    <a:pt x="1028" y="601"/>
                    <a:pt x="1029" y="599"/>
                    <a:pt x="1030" y="596"/>
                  </a:cubicBezTo>
                  <a:cubicBezTo>
                    <a:pt x="1030" y="595"/>
                    <a:pt x="1029" y="593"/>
                    <a:pt x="1028" y="592"/>
                  </a:cubicBezTo>
                  <a:cubicBezTo>
                    <a:pt x="1019" y="592"/>
                    <a:pt x="1011" y="588"/>
                    <a:pt x="1002" y="589"/>
                  </a:cubicBezTo>
                  <a:cubicBezTo>
                    <a:pt x="1000" y="589"/>
                    <a:pt x="998" y="588"/>
                    <a:pt x="996" y="586"/>
                  </a:cubicBezTo>
                  <a:cubicBezTo>
                    <a:pt x="992" y="581"/>
                    <a:pt x="987" y="577"/>
                    <a:pt x="981" y="574"/>
                  </a:cubicBezTo>
                  <a:cubicBezTo>
                    <a:pt x="975" y="571"/>
                    <a:pt x="971" y="568"/>
                    <a:pt x="968" y="562"/>
                  </a:cubicBezTo>
                  <a:cubicBezTo>
                    <a:pt x="965" y="557"/>
                    <a:pt x="960" y="552"/>
                    <a:pt x="955" y="549"/>
                  </a:cubicBezTo>
                  <a:cubicBezTo>
                    <a:pt x="949" y="546"/>
                    <a:pt x="944" y="543"/>
                    <a:pt x="939" y="541"/>
                  </a:cubicBezTo>
                  <a:cubicBezTo>
                    <a:pt x="936" y="539"/>
                    <a:pt x="934" y="539"/>
                    <a:pt x="931" y="539"/>
                  </a:cubicBezTo>
                  <a:cubicBezTo>
                    <a:pt x="926" y="541"/>
                    <a:pt x="922" y="542"/>
                    <a:pt x="917" y="542"/>
                  </a:cubicBezTo>
                  <a:cubicBezTo>
                    <a:pt x="917" y="542"/>
                    <a:pt x="917" y="542"/>
                    <a:pt x="917" y="542"/>
                  </a:cubicBezTo>
                  <a:cubicBezTo>
                    <a:pt x="916" y="543"/>
                    <a:pt x="916" y="543"/>
                    <a:pt x="916" y="543"/>
                  </a:cubicBezTo>
                  <a:cubicBezTo>
                    <a:pt x="916" y="542"/>
                    <a:pt x="916" y="542"/>
                    <a:pt x="916" y="542"/>
                  </a:cubicBezTo>
                  <a:cubicBezTo>
                    <a:pt x="917" y="542"/>
                    <a:pt x="917" y="542"/>
                    <a:pt x="917" y="542"/>
                  </a:cubicBezTo>
                  <a:cubicBezTo>
                    <a:pt x="920" y="538"/>
                    <a:pt x="921" y="534"/>
                    <a:pt x="921" y="529"/>
                  </a:cubicBezTo>
                  <a:cubicBezTo>
                    <a:pt x="920" y="523"/>
                    <a:pt x="921" y="518"/>
                    <a:pt x="920" y="512"/>
                  </a:cubicBezTo>
                  <a:cubicBezTo>
                    <a:pt x="920" y="510"/>
                    <a:pt x="920" y="508"/>
                    <a:pt x="919" y="506"/>
                  </a:cubicBezTo>
                  <a:cubicBezTo>
                    <a:pt x="919" y="505"/>
                    <a:pt x="918" y="504"/>
                    <a:pt x="917" y="504"/>
                  </a:cubicBezTo>
                  <a:cubicBezTo>
                    <a:pt x="915" y="504"/>
                    <a:pt x="913" y="504"/>
                    <a:pt x="911" y="503"/>
                  </a:cubicBezTo>
                  <a:cubicBezTo>
                    <a:pt x="908" y="503"/>
                    <a:pt x="907" y="502"/>
                    <a:pt x="906" y="500"/>
                  </a:cubicBezTo>
                  <a:cubicBezTo>
                    <a:pt x="906" y="498"/>
                    <a:pt x="905" y="497"/>
                    <a:pt x="906" y="495"/>
                  </a:cubicBezTo>
                  <a:cubicBezTo>
                    <a:pt x="906" y="492"/>
                    <a:pt x="908" y="490"/>
                    <a:pt x="909" y="487"/>
                  </a:cubicBezTo>
                  <a:cubicBezTo>
                    <a:pt x="912" y="474"/>
                    <a:pt x="917" y="462"/>
                    <a:pt x="928" y="453"/>
                  </a:cubicBezTo>
                  <a:cubicBezTo>
                    <a:pt x="931" y="451"/>
                    <a:pt x="932" y="449"/>
                    <a:pt x="934" y="446"/>
                  </a:cubicBezTo>
                  <a:cubicBezTo>
                    <a:pt x="940" y="439"/>
                    <a:pt x="946" y="431"/>
                    <a:pt x="956" y="428"/>
                  </a:cubicBezTo>
                  <a:cubicBezTo>
                    <a:pt x="960" y="424"/>
                    <a:pt x="966" y="421"/>
                    <a:pt x="967" y="415"/>
                  </a:cubicBezTo>
                  <a:cubicBezTo>
                    <a:pt x="968" y="413"/>
                    <a:pt x="969" y="412"/>
                    <a:pt x="971" y="413"/>
                  </a:cubicBezTo>
                  <a:cubicBezTo>
                    <a:pt x="973" y="413"/>
                    <a:pt x="975" y="414"/>
                    <a:pt x="977" y="414"/>
                  </a:cubicBezTo>
                  <a:cubicBezTo>
                    <a:pt x="982" y="414"/>
                    <a:pt x="987" y="410"/>
                    <a:pt x="987" y="406"/>
                  </a:cubicBezTo>
                  <a:cubicBezTo>
                    <a:pt x="987" y="403"/>
                    <a:pt x="987" y="401"/>
                    <a:pt x="987" y="398"/>
                  </a:cubicBezTo>
                  <a:cubicBezTo>
                    <a:pt x="986" y="398"/>
                    <a:pt x="986" y="398"/>
                    <a:pt x="986" y="398"/>
                  </a:cubicBezTo>
                  <a:cubicBezTo>
                    <a:pt x="986" y="398"/>
                    <a:pt x="986" y="398"/>
                    <a:pt x="985" y="398"/>
                  </a:cubicBezTo>
                  <a:cubicBezTo>
                    <a:pt x="986" y="398"/>
                    <a:pt x="986" y="398"/>
                    <a:pt x="987" y="398"/>
                  </a:cubicBezTo>
                  <a:cubicBezTo>
                    <a:pt x="987" y="398"/>
                    <a:pt x="987" y="398"/>
                    <a:pt x="987" y="398"/>
                  </a:cubicBezTo>
                  <a:cubicBezTo>
                    <a:pt x="994" y="399"/>
                    <a:pt x="1000" y="397"/>
                    <a:pt x="1003" y="390"/>
                  </a:cubicBezTo>
                  <a:cubicBezTo>
                    <a:pt x="1004" y="388"/>
                    <a:pt x="1006" y="388"/>
                    <a:pt x="1007" y="388"/>
                  </a:cubicBezTo>
                  <a:cubicBezTo>
                    <a:pt x="1010" y="389"/>
                    <a:pt x="1012" y="390"/>
                    <a:pt x="1015" y="391"/>
                  </a:cubicBezTo>
                  <a:cubicBezTo>
                    <a:pt x="1018" y="392"/>
                    <a:pt x="1020" y="392"/>
                    <a:pt x="1023" y="390"/>
                  </a:cubicBezTo>
                  <a:cubicBezTo>
                    <a:pt x="1031" y="383"/>
                    <a:pt x="1039" y="375"/>
                    <a:pt x="1048" y="368"/>
                  </a:cubicBezTo>
                  <a:cubicBezTo>
                    <a:pt x="1048" y="367"/>
                    <a:pt x="1049" y="366"/>
                    <a:pt x="1048" y="365"/>
                  </a:cubicBezTo>
                  <a:cubicBezTo>
                    <a:pt x="1048" y="363"/>
                    <a:pt x="1049" y="361"/>
                    <a:pt x="1051" y="360"/>
                  </a:cubicBezTo>
                  <a:cubicBezTo>
                    <a:pt x="1055" y="357"/>
                    <a:pt x="1058" y="354"/>
                    <a:pt x="1062" y="351"/>
                  </a:cubicBezTo>
                  <a:cubicBezTo>
                    <a:pt x="1063" y="350"/>
                    <a:pt x="1064" y="349"/>
                    <a:pt x="1065" y="348"/>
                  </a:cubicBezTo>
                  <a:cubicBezTo>
                    <a:pt x="1065" y="348"/>
                    <a:pt x="1065" y="348"/>
                    <a:pt x="1065" y="348"/>
                  </a:cubicBezTo>
                  <a:cubicBezTo>
                    <a:pt x="1066" y="347"/>
                    <a:pt x="1067" y="346"/>
                    <a:pt x="1068" y="346"/>
                  </a:cubicBezTo>
                  <a:cubicBezTo>
                    <a:pt x="1072" y="342"/>
                    <a:pt x="1072" y="342"/>
                    <a:pt x="1069" y="337"/>
                  </a:cubicBezTo>
                  <a:cubicBezTo>
                    <a:pt x="1069" y="336"/>
                    <a:pt x="1068" y="336"/>
                    <a:pt x="1068" y="335"/>
                  </a:cubicBezTo>
                  <a:cubicBezTo>
                    <a:pt x="1068" y="334"/>
                    <a:pt x="1068" y="333"/>
                    <a:pt x="1069" y="333"/>
                  </a:cubicBezTo>
                  <a:cubicBezTo>
                    <a:pt x="1074" y="332"/>
                    <a:pt x="1079" y="332"/>
                    <a:pt x="1081" y="338"/>
                  </a:cubicBezTo>
                  <a:cubicBezTo>
                    <a:pt x="1082" y="338"/>
                    <a:pt x="1082" y="339"/>
                    <a:pt x="1083" y="339"/>
                  </a:cubicBezTo>
                  <a:cubicBezTo>
                    <a:pt x="1090" y="342"/>
                    <a:pt x="1098" y="343"/>
                    <a:pt x="1106" y="339"/>
                  </a:cubicBezTo>
                  <a:cubicBezTo>
                    <a:pt x="1112" y="337"/>
                    <a:pt x="1117" y="334"/>
                    <a:pt x="1121" y="330"/>
                  </a:cubicBezTo>
                  <a:cubicBezTo>
                    <a:pt x="1123" y="329"/>
                    <a:pt x="1125" y="327"/>
                    <a:pt x="1127" y="327"/>
                  </a:cubicBezTo>
                  <a:cubicBezTo>
                    <a:pt x="1131" y="326"/>
                    <a:pt x="1133" y="323"/>
                    <a:pt x="1135" y="319"/>
                  </a:cubicBezTo>
                  <a:cubicBezTo>
                    <a:pt x="1136" y="317"/>
                    <a:pt x="1137" y="315"/>
                    <a:pt x="1136" y="312"/>
                  </a:cubicBezTo>
                  <a:cubicBezTo>
                    <a:pt x="1136" y="310"/>
                    <a:pt x="1135" y="308"/>
                    <a:pt x="1134" y="306"/>
                  </a:cubicBezTo>
                  <a:cubicBezTo>
                    <a:pt x="1133" y="303"/>
                    <a:pt x="1133" y="300"/>
                    <a:pt x="1134" y="297"/>
                  </a:cubicBezTo>
                  <a:cubicBezTo>
                    <a:pt x="1134" y="294"/>
                    <a:pt x="1135" y="291"/>
                    <a:pt x="1136" y="288"/>
                  </a:cubicBezTo>
                  <a:cubicBezTo>
                    <a:pt x="1136" y="288"/>
                    <a:pt x="1135" y="288"/>
                    <a:pt x="1135" y="288"/>
                  </a:cubicBezTo>
                  <a:cubicBezTo>
                    <a:pt x="1134" y="288"/>
                    <a:pt x="1134" y="288"/>
                    <a:pt x="1134" y="288"/>
                  </a:cubicBezTo>
                  <a:cubicBezTo>
                    <a:pt x="1136" y="288"/>
                    <a:pt x="1136" y="288"/>
                    <a:pt x="1136" y="288"/>
                  </a:cubicBezTo>
                  <a:cubicBezTo>
                    <a:pt x="1136" y="288"/>
                    <a:pt x="1136" y="288"/>
                    <a:pt x="1136" y="288"/>
                  </a:cubicBezTo>
                  <a:cubicBezTo>
                    <a:pt x="1138" y="288"/>
                    <a:pt x="1140" y="289"/>
                    <a:pt x="1142" y="289"/>
                  </a:cubicBezTo>
                  <a:cubicBezTo>
                    <a:pt x="1148" y="288"/>
                    <a:pt x="1150" y="286"/>
                    <a:pt x="1150" y="280"/>
                  </a:cubicBezTo>
                  <a:cubicBezTo>
                    <a:pt x="1150" y="278"/>
                    <a:pt x="1151" y="276"/>
                    <a:pt x="1152" y="275"/>
                  </a:cubicBezTo>
                  <a:cubicBezTo>
                    <a:pt x="1155" y="272"/>
                    <a:pt x="1153" y="269"/>
                    <a:pt x="1151" y="267"/>
                  </a:cubicBezTo>
                  <a:cubicBezTo>
                    <a:pt x="1147" y="265"/>
                    <a:pt x="1145" y="262"/>
                    <a:pt x="1145" y="258"/>
                  </a:cubicBezTo>
                  <a:cubicBezTo>
                    <a:pt x="1145" y="254"/>
                    <a:pt x="1143" y="252"/>
                    <a:pt x="1139" y="252"/>
                  </a:cubicBezTo>
                  <a:cubicBezTo>
                    <a:pt x="1136" y="252"/>
                    <a:pt x="1135" y="250"/>
                    <a:pt x="1135" y="248"/>
                  </a:cubicBezTo>
                  <a:cubicBezTo>
                    <a:pt x="1131" y="248"/>
                    <a:pt x="1128" y="247"/>
                    <a:pt x="1125" y="244"/>
                  </a:cubicBezTo>
                  <a:cubicBezTo>
                    <a:pt x="1125" y="244"/>
                    <a:pt x="1125" y="244"/>
                    <a:pt x="1125" y="244"/>
                  </a:cubicBezTo>
                  <a:cubicBezTo>
                    <a:pt x="1125" y="244"/>
                    <a:pt x="1125" y="244"/>
                    <a:pt x="1125" y="244"/>
                  </a:cubicBezTo>
                  <a:cubicBezTo>
                    <a:pt x="1125" y="245"/>
                    <a:pt x="1125" y="245"/>
                    <a:pt x="1125" y="245"/>
                  </a:cubicBezTo>
                  <a:cubicBezTo>
                    <a:pt x="1124" y="245"/>
                    <a:pt x="1123" y="245"/>
                    <a:pt x="1122" y="245"/>
                  </a:cubicBezTo>
                  <a:cubicBezTo>
                    <a:pt x="1117" y="245"/>
                    <a:pt x="1114" y="248"/>
                    <a:pt x="1112" y="252"/>
                  </a:cubicBezTo>
                  <a:cubicBezTo>
                    <a:pt x="1111" y="257"/>
                    <a:pt x="1108" y="261"/>
                    <a:pt x="1110" y="266"/>
                  </a:cubicBezTo>
                  <a:cubicBezTo>
                    <a:pt x="1110" y="267"/>
                    <a:pt x="1110" y="268"/>
                    <a:pt x="1109" y="268"/>
                  </a:cubicBezTo>
                  <a:cubicBezTo>
                    <a:pt x="1107" y="270"/>
                    <a:pt x="1105" y="272"/>
                    <a:pt x="1104" y="274"/>
                  </a:cubicBezTo>
                  <a:cubicBezTo>
                    <a:pt x="1098" y="274"/>
                    <a:pt x="1096" y="278"/>
                    <a:pt x="1095" y="282"/>
                  </a:cubicBezTo>
                  <a:cubicBezTo>
                    <a:pt x="1093" y="284"/>
                    <a:pt x="1092" y="286"/>
                    <a:pt x="1091" y="288"/>
                  </a:cubicBezTo>
                  <a:cubicBezTo>
                    <a:pt x="1089" y="290"/>
                    <a:pt x="1088" y="291"/>
                    <a:pt x="1085" y="291"/>
                  </a:cubicBezTo>
                  <a:cubicBezTo>
                    <a:pt x="1085" y="291"/>
                    <a:pt x="1085" y="291"/>
                    <a:pt x="1085" y="291"/>
                  </a:cubicBezTo>
                  <a:cubicBezTo>
                    <a:pt x="1085" y="292"/>
                    <a:pt x="1085" y="292"/>
                    <a:pt x="1085" y="292"/>
                  </a:cubicBezTo>
                  <a:cubicBezTo>
                    <a:pt x="1085" y="292"/>
                    <a:pt x="1085" y="291"/>
                    <a:pt x="1085" y="291"/>
                  </a:cubicBezTo>
                  <a:cubicBezTo>
                    <a:pt x="1085" y="291"/>
                    <a:pt x="1085" y="291"/>
                    <a:pt x="1085" y="291"/>
                  </a:cubicBezTo>
                  <a:cubicBezTo>
                    <a:pt x="1084" y="289"/>
                    <a:pt x="1084" y="287"/>
                    <a:pt x="1082" y="287"/>
                  </a:cubicBezTo>
                  <a:cubicBezTo>
                    <a:pt x="1080" y="286"/>
                    <a:pt x="1078" y="289"/>
                    <a:pt x="1077" y="292"/>
                  </a:cubicBezTo>
                  <a:cubicBezTo>
                    <a:pt x="1077" y="295"/>
                    <a:pt x="1077" y="296"/>
                    <a:pt x="1077" y="298"/>
                  </a:cubicBezTo>
                  <a:cubicBezTo>
                    <a:pt x="1078" y="301"/>
                    <a:pt x="1077" y="303"/>
                    <a:pt x="1076" y="304"/>
                  </a:cubicBezTo>
                  <a:cubicBezTo>
                    <a:pt x="1075" y="306"/>
                    <a:pt x="1072" y="307"/>
                    <a:pt x="1070" y="306"/>
                  </a:cubicBezTo>
                  <a:cubicBezTo>
                    <a:pt x="1069" y="306"/>
                    <a:pt x="1067" y="305"/>
                    <a:pt x="1067" y="303"/>
                  </a:cubicBezTo>
                  <a:cubicBezTo>
                    <a:pt x="1066" y="300"/>
                    <a:pt x="1065" y="297"/>
                    <a:pt x="1065" y="294"/>
                  </a:cubicBezTo>
                  <a:cubicBezTo>
                    <a:pt x="1064" y="288"/>
                    <a:pt x="1065" y="283"/>
                    <a:pt x="1070" y="279"/>
                  </a:cubicBezTo>
                  <a:cubicBezTo>
                    <a:pt x="1072" y="277"/>
                    <a:pt x="1073" y="275"/>
                    <a:pt x="1073" y="273"/>
                  </a:cubicBezTo>
                  <a:cubicBezTo>
                    <a:pt x="1074" y="266"/>
                    <a:pt x="1071" y="260"/>
                    <a:pt x="1068" y="254"/>
                  </a:cubicBezTo>
                  <a:cubicBezTo>
                    <a:pt x="1067" y="253"/>
                    <a:pt x="1065" y="253"/>
                    <a:pt x="1064" y="254"/>
                  </a:cubicBezTo>
                  <a:cubicBezTo>
                    <a:pt x="1060" y="258"/>
                    <a:pt x="1057" y="261"/>
                    <a:pt x="1055" y="266"/>
                  </a:cubicBezTo>
                  <a:cubicBezTo>
                    <a:pt x="1054" y="268"/>
                    <a:pt x="1053" y="270"/>
                    <a:pt x="1050" y="272"/>
                  </a:cubicBezTo>
                  <a:cubicBezTo>
                    <a:pt x="1050" y="272"/>
                    <a:pt x="1049" y="272"/>
                    <a:pt x="1049" y="272"/>
                  </a:cubicBezTo>
                  <a:cubicBezTo>
                    <a:pt x="1048" y="272"/>
                    <a:pt x="1047" y="272"/>
                    <a:pt x="1047" y="270"/>
                  </a:cubicBezTo>
                  <a:cubicBezTo>
                    <a:pt x="1049" y="265"/>
                    <a:pt x="1051" y="261"/>
                    <a:pt x="1050" y="255"/>
                  </a:cubicBezTo>
                  <a:cubicBezTo>
                    <a:pt x="1050" y="252"/>
                    <a:pt x="1052" y="252"/>
                    <a:pt x="1054" y="251"/>
                  </a:cubicBezTo>
                  <a:cubicBezTo>
                    <a:pt x="1057" y="250"/>
                    <a:pt x="1057" y="247"/>
                    <a:pt x="1055" y="245"/>
                  </a:cubicBezTo>
                  <a:cubicBezTo>
                    <a:pt x="1052" y="243"/>
                    <a:pt x="1050" y="241"/>
                    <a:pt x="1046" y="241"/>
                  </a:cubicBezTo>
                  <a:cubicBezTo>
                    <a:pt x="1044" y="240"/>
                    <a:pt x="1041" y="239"/>
                    <a:pt x="1039" y="238"/>
                  </a:cubicBezTo>
                  <a:cubicBezTo>
                    <a:pt x="1038" y="237"/>
                    <a:pt x="1037" y="236"/>
                    <a:pt x="1038" y="235"/>
                  </a:cubicBezTo>
                  <a:cubicBezTo>
                    <a:pt x="1041" y="232"/>
                    <a:pt x="1044" y="229"/>
                    <a:pt x="1047" y="226"/>
                  </a:cubicBezTo>
                  <a:cubicBezTo>
                    <a:pt x="1048" y="225"/>
                    <a:pt x="1049" y="225"/>
                    <a:pt x="1050" y="225"/>
                  </a:cubicBezTo>
                  <a:cubicBezTo>
                    <a:pt x="1054" y="223"/>
                    <a:pt x="1055" y="223"/>
                    <a:pt x="1055" y="220"/>
                  </a:cubicBezTo>
                  <a:cubicBezTo>
                    <a:pt x="1052" y="210"/>
                    <a:pt x="1051" y="200"/>
                    <a:pt x="1055" y="191"/>
                  </a:cubicBezTo>
                  <a:cubicBezTo>
                    <a:pt x="1055" y="189"/>
                    <a:pt x="1055" y="187"/>
                    <a:pt x="1055" y="186"/>
                  </a:cubicBezTo>
                  <a:cubicBezTo>
                    <a:pt x="1053" y="180"/>
                    <a:pt x="1054" y="174"/>
                    <a:pt x="1051" y="168"/>
                  </a:cubicBezTo>
                  <a:cubicBezTo>
                    <a:pt x="1049" y="166"/>
                    <a:pt x="1051" y="164"/>
                    <a:pt x="1053" y="163"/>
                  </a:cubicBezTo>
                  <a:cubicBezTo>
                    <a:pt x="1057" y="160"/>
                    <a:pt x="1061" y="157"/>
                    <a:pt x="1064" y="154"/>
                  </a:cubicBezTo>
                  <a:cubicBezTo>
                    <a:pt x="1067" y="152"/>
                    <a:pt x="1069" y="150"/>
                    <a:pt x="1069" y="146"/>
                  </a:cubicBezTo>
                  <a:cubicBezTo>
                    <a:pt x="1069" y="145"/>
                    <a:pt x="1070" y="144"/>
                    <a:pt x="1070" y="143"/>
                  </a:cubicBezTo>
                  <a:cubicBezTo>
                    <a:pt x="1071" y="143"/>
                    <a:pt x="1072" y="142"/>
                    <a:pt x="1073" y="142"/>
                  </a:cubicBezTo>
                  <a:cubicBezTo>
                    <a:pt x="1075" y="143"/>
                    <a:pt x="1078" y="144"/>
                    <a:pt x="1080" y="145"/>
                  </a:cubicBezTo>
                  <a:cubicBezTo>
                    <a:pt x="1084" y="147"/>
                    <a:pt x="1087" y="146"/>
                    <a:pt x="1090" y="145"/>
                  </a:cubicBezTo>
                  <a:cubicBezTo>
                    <a:pt x="1091" y="143"/>
                    <a:pt x="1093" y="142"/>
                    <a:pt x="1095" y="141"/>
                  </a:cubicBezTo>
                  <a:cubicBezTo>
                    <a:pt x="1102" y="134"/>
                    <a:pt x="1110" y="127"/>
                    <a:pt x="1117" y="120"/>
                  </a:cubicBezTo>
                  <a:cubicBezTo>
                    <a:pt x="1119" y="119"/>
                    <a:pt x="1120" y="117"/>
                    <a:pt x="1121" y="115"/>
                  </a:cubicBezTo>
                  <a:cubicBezTo>
                    <a:pt x="1123" y="113"/>
                    <a:pt x="1121" y="108"/>
                    <a:pt x="1119" y="107"/>
                  </a:cubicBezTo>
                  <a:cubicBezTo>
                    <a:pt x="1118" y="107"/>
                    <a:pt x="1118" y="107"/>
                    <a:pt x="1117" y="106"/>
                  </a:cubicBezTo>
                  <a:cubicBezTo>
                    <a:pt x="1110" y="106"/>
                    <a:pt x="1105" y="103"/>
                    <a:pt x="1100" y="99"/>
                  </a:cubicBezTo>
                  <a:cubicBezTo>
                    <a:pt x="1098" y="98"/>
                    <a:pt x="1096" y="97"/>
                    <a:pt x="1094" y="97"/>
                  </a:cubicBezTo>
                  <a:cubicBezTo>
                    <a:pt x="1089" y="96"/>
                    <a:pt x="1084" y="95"/>
                    <a:pt x="1079" y="96"/>
                  </a:cubicBezTo>
                  <a:cubicBezTo>
                    <a:pt x="1078" y="97"/>
                    <a:pt x="1076" y="98"/>
                    <a:pt x="1075" y="99"/>
                  </a:cubicBezTo>
                  <a:cubicBezTo>
                    <a:pt x="1072" y="101"/>
                    <a:pt x="1071" y="105"/>
                    <a:pt x="1067" y="106"/>
                  </a:cubicBezTo>
                  <a:cubicBezTo>
                    <a:pt x="1065" y="109"/>
                    <a:pt x="1063" y="112"/>
                    <a:pt x="1061" y="115"/>
                  </a:cubicBezTo>
                  <a:cubicBezTo>
                    <a:pt x="1058" y="120"/>
                    <a:pt x="1055" y="125"/>
                    <a:pt x="1052" y="130"/>
                  </a:cubicBezTo>
                  <a:cubicBezTo>
                    <a:pt x="1051" y="133"/>
                    <a:pt x="1049" y="136"/>
                    <a:pt x="1049" y="139"/>
                  </a:cubicBezTo>
                  <a:cubicBezTo>
                    <a:pt x="1049" y="146"/>
                    <a:pt x="1046" y="152"/>
                    <a:pt x="1043" y="159"/>
                  </a:cubicBezTo>
                  <a:cubicBezTo>
                    <a:pt x="1043" y="160"/>
                    <a:pt x="1042" y="161"/>
                    <a:pt x="1040" y="162"/>
                  </a:cubicBezTo>
                  <a:cubicBezTo>
                    <a:pt x="1037" y="164"/>
                    <a:pt x="1034" y="166"/>
                    <a:pt x="1031" y="168"/>
                  </a:cubicBezTo>
                  <a:cubicBezTo>
                    <a:pt x="1028" y="170"/>
                    <a:pt x="1029" y="173"/>
                    <a:pt x="1029" y="175"/>
                  </a:cubicBezTo>
                  <a:cubicBezTo>
                    <a:pt x="1029" y="175"/>
                    <a:pt x="1029" y="175"/>
                    <a:pt x="1029" y="175"/>
                  </a:cubicBezTo>
                  <a:cubicBezTo>
                    <a:pt x="1029" y="175"/>
                    <a:pt x="1029" y="175"/>
                    <a:pt x="1029" y="176"/>
                  </a:cubicBezTo>
                  <a:cubicBezTo>
                    <a:pt x="1030" y="176"/>
                    <a:pt x="1030" y="176"/>
                    <a:pt x="1030" y="176"/>
                  </a:cubicBezTo>
                  <a:cubicBezTo>
                    <a:pt x="1030" y="176"/>
                    <a:pt x="1029" y="176"/>
                    <a:pt x="1029" y="176"/>
                  </a:cubicBezTo>
                  <a:cubicBezTo>
                    <a:pt x="1029" y="175"/>
                    <a:pt x="1029" y="175"/>
                    <a:pt x="1029" y="175"/>
                  </a:cubicBezTo>
                  <a:cubicBezTo>
                    <a:pt x="1029" y="175"/>
                    <a:pt x="1029" y="175"/>
                    <a:pt x="1029" y="175"/>
                  </a:cubicBezTo>
                  <a:cubicBezTo>
                    <a:pt x="1026" y="176"/>
                    <a:pt x="1024" y="176"/>
                    <a:pt x="1022" y="177"/>
                  </a:cubicBezTo>
                  <a:cubicBezTo>
                    <a:pt x="1014" y="181"/>
                    <a:pt x="1010" y="188"/>
                    <a:pt x="1009" y="196"/>
                  </a:cubicBezTo>
                  <a:cubicBezTo>
                    <a:pt x="1008" y="199"/>
                    <a:pt x="1008" y="202"/>
                    <a:pt x="1005" y="204"/>
                  </a:cubicBezTo>
                  <a:cubicBezTo>
                    <a:pt x="1004" y="205"/>
                    <a:pt x="1004" y="206"/>
                    <a:pt x="1003" y="206"/>
                  </a:cubicBezTo>
                  <a:cubicBezTo>
                    <a:pt x="1000" y="209"/>
                    <a:pt x="999" y="213"/>
                    <a:pt x="1000" y="216"/>
                  </a:cubicBezTo>
                  <a:cubicBezTo>
                    <a:pt x="1000" y="220"/>
                    <a:pt x="1001" y="223"/>
                    <a:pt x="1003" y="226"/>
                  </a:cubicBezTo>
                  <a:cubicBezTo>
                    <a:pt x="1005" y="228"/>
                    <a:pt x="1005" y="230"/>
                    <a:pt x="1006" y="232"/>
                  </a:cubicBezTo>
                  <a:cubicBezTo>
                    <a:pt x="1007" y="232"/>
                    <a:pt x="1009" y="232"/>
                    <a:pt x="1010" y="233"/>
                  </a:cubicBezTo>
                  <a:cubicBezTo>
                    <a:pt x="1013" y="235"/>
                    <a:pt x="1016" y="237"/>
                    <a:pt x="1020" y="239"/>
                  </a:cubicBezTo>
                  <a:cubicBezTo>
                    <a:pt x="1020" y="239"/>
                    <a:pt x="1021" y="240"/>
                    <a:pt x="1021" y="240"/>
                  </a:cubicBezTo>
                  <a:cubicBezTo>
                    <a:pt x="1021" y="241"/>
                    <a:pt x="1020" y="241"/>
                    <a:pt x="1018" y="241"/>
                  </a:cubicBezTo>
                  <a:cubicBezTo>
                    <a:pt x="1017" y="242"/>
                    <a:pt x="1015" y="242"/>
                    <a:pt x="1014" y="243"/>
                  </a:cubicBezTo>
                  <a:cubicBezTo>
                    <a:pt x="1012" y="246"/>
                    <a:pt x="1009" y="248"/>
                    <a:pt x="1007" y="251"/>
                  </a:cubicBezTo>
                  <a:cubicBezTo>
                    <a:pt x="1006" y="253"/>
                    <a:pt x="1007" y="255"/>
                    <a:pt x="1009" y="256"/>
                  </a:cubicBezTo>
                  <a:cubicBezTo>
                    <a:pt x="1010" y="257"/>
                    <a:pt x="1011" y="257"/>
                    <a:pt x="1012" y="257"/>
                  </a:cubicBezTo>
                  <a:cubicBezTo>
                    <a:pt x="1012" y="257"/>
                    <a:pt x="1012" y="257"/>
                    <a:pt x="1012" y="257"/>
                  </a:cubicBezTo>
                  <a:cubicBezTo>
                    <a:pt x="1013" y="256"/>
                    <a:pt x="1013" y="256"/>
                    <a:pt x="1013" y="256"/>
                  </a:cubicBezTo>
                  <a:cubicBezTo>
                    <a:pt x="1012" y="257"/>
                    <a:pt x="1012" y="257"/>
                    <a:pt x="1012" y="257"/>
                  </a:cubicBezTo>
                  <a:cubicBezTo>
                    <a:pt x="1012" y="257"/>
                    <a:pt x="1012" y="257"/>
                    <a:pt x="1012" y="257"/>
                  </a:cubicBezTo>
                  <a:cubicBezTo>
                    <a:pt x="1012" y="259"/>
                    <a:pt x="1013" y="261"/>
                    <a:pt x="1011" y="262"/>
                  </a:cubicBezTo>
                  <a:cubicBezTo>
                    <a:pt x="1008" y="265"/>
                    <a:pt x="1005" y="268"/>
                    <a:pt x="1002" y="270"/>
                  </a:cubicBezTo>
                  <a:cubicBezTo>
                    <a:pt x="999" y="273"/>
                    <a:pt x="995" y="275"/>
                    <a:pt x="991" y="275"/>
                  </a:cubicBezTo>
                  <a:cubicBezTo>
                    <a:pt x="985" y="275"/>
                    <a:pt x="982" y="279"/>
                    <a:pt x="981" y="284"/>
                  </a:cubicBezTo>
                  <a:cubicBezTo>
                    <a:pt x="980" y="287"/>
                    <a:pt x="980" y="291"/>
                    <a:pt x="979" y="294"/>
                  </a:cubicBezTo>
                  <a:cubicBezTo>
                    <a:pt x="979" y="295"/>
                    <a:pt x="978" y="296"/>
                    <a:pt x="977" y="296"/>
                  </a:cubicBezTo>
                  <a:cubicBezTo>
                    <a:pt x="977" y="296"/>
                    <a:pt x="977" y="296"/>
                    <a:pt x="976" y="295"/>
                  </a:cubicBezTo>
                  <a:cubicBezTo>
                    <a:pt x="975" y="294"/>
                    <a:pt x="974" y="292"/>
                    <a:pt x="973" y="290"/>
                  </a:cubicBezTo>
                  <a:cubicBezTo>
                    <a:pt x="971" y="287"/>
                    <a:pt x="971" y="286"/>
                    <a:pt x="973" y="283"/>
                  </a:cubicBezTo>
                  <a:cubicBezTo>
                    <a:pt x="976" y="279"/>
                    <a:pt x="979" y="276"/>
                    <a:pt x="982" y="272"/>
                  </a:cubicBezTo>
                  <a:cubicBezTo>
                    <a:pt x="983" y="271"/>
                    <a:pt x="982" y="268"/>
                    <a:pt x="980" y="268"/>
                  </a:cubicBezTo>
                  <a:cubicBezTo>
                    <a:pt x="975" y="268"/>
                    <a:pt x="973" y="264"/>
                    <a:pt x="973" y="260"/>
                  </a:cubicBezTo>
                  <a:cubicBezTo>
                    <a:pt x="972" y="259"/>
                    <a:pt x="972" y="259"/>
                    <a:pt x="971" y="258"/>
                  </a:cubicBezTo>
                  <a:cubicBezTo>
                    <a:pt x="972" y="259"/>
                    <a:pt x="972" y="259"/>
                    <a:pt x="973" y="260"/>
                  </a:cubicBezTo>
                  <a:cubicBezTo>
                    <a:pt x="973" y="260"/>
                    <a:pt x="973" y="260"/>
                    <a:pt x="973" y="260"/>
                  </a:cubicBezTo>
                  <a:cubicBezTo>
                    <a:pt x="973" y="260"/>
                    <a:pt x="973" y="260"/>
                    <a:pt x="973" y="260"/>
                  </a:cubicBezTo>
                  <a:cubicBezTo>
                    <a:pt x="973" y="260"/>
                    <a:pt x="973" y="260"/>
                    <a:pt x="973" y="260"/>
                  </a:cubicBezTo>
                  <a:cubicBezTo>
                    <a:pt x="975" y="260"/>
                    <a:pt x="977" y="261"/>
                    <a:pt x="979" y="261"/>
                  </a:cubicBezTo>
                  <a:cubicBezTo>
                    <a:pt x="981" y="262"/>
                    <a:pt x="983" y="262"/>
                    <a:pt x="985" y="261"/>
                  </a:cubicBezTo>
                  <a:cubicBezTo>
                    <a:pt x="989" y="260"/>
                    <a:pt x="992" y="258"/>
                    <a:pt x="996" y="257"/>
                  </a:cubicBezTo>
                  <a:cubicBezTo>
                    <a:pt x="996" y="256"/>
                    <a:pt x="997" y="255"/>
                    <a:pt x="997" y="254"/>
                  </a:cubicBezTo>
                  <a:cubicBezTo>
                    <a:pt x="997" y="251"/>
                    <a:pt x="997" y="247"/>
                    <a:pt x="997" y="243"/>
                  </a:cubicBezTo>
                  <a:cubicBezTo>
                    <a:pt x="996" y="241"/>
                    <a:pt x="996" y="240"/>
                    <a:pt x="1000" y="240"/>
                  </a:cubicBezTo>
                  <a:cubicBezTo>
                    <a:pt x="1005" y="239"/>
                    <a:pt x="1005" y="235"/>
                    <a:pt x="1006" y="232"/>
                  </a:cubicBezTo>
                  <a:cubicBezTo>
                    <a:pt x="1005" y="232"/>
                    <a:pt x="1004" y="232"/>
                    <a:pt x="1003" y="232"/>
                  </a:cubicBezTo>
                  <a:cubicBezTo>
                    <a:pt x="996" y="232"/>
                    <a:pt x="990" y="230"/>
                    <a:pt x="988" y="223"/>
                  </a:cubicBezTo>
                  <a:cubicBezTo>
                    <a:pt x="987" y="222"/>
                    <a:pt x="987" y="221"/>
                    <a:pt x="986" y="220"/>
                  </a:cubicBezTo>
                  <a:cubicBezTo>
                    <a:pt x="985" y="219"/>
                    <a:pt x="982" y="219"/>
                    <a:pt x="982" y="220"/>
                  </a:cubicBezTo>
                  <a:cubicBezTo>
                    <a:pt x="980" y="221"/>
                    <a:pt x="977" y="223"/>
                    <a:pt x="976" y="225"/>
                  </a:cubicBezTo>
                  <a:cubicBezTo>
                    <a:pt x="971" y="231"/>
                    <a:pt x="967" y="235"/>
                    <a:pt x="959" y="236"/>
                  </a:cubicBezTo>
                  <a:cubicBezTo>
                    <a:pt x="958" y="236"/>
                    <a:pt x="957" y="237"/>
                    <a:pt x="956" y="238"/>
                  </a:cubicBezTo>
                  <a:cubicBezTo>
                    <a:pt x="956" y="238"/>
                    <a:pt x="955" y="238"/>
                    <a:pt x="955" y="239"/>
                  </a:cubicBezTo>
                  <a:cubicBezTo>
                    <a:pt x="954" y="240"/>
                    <a:pt x="954" y="242"/>
                    <a:pt x="955" y="243"/>
                  </a:cubicBezTo>
                  <a:cubicBezTo>
                    <a:pt x="961" y="247"/>
                    <a:pt x="967" y="250"/>
                    <a:pt x="970" y="257"/>
                  </a:cubicBezTo>
                  <a:cubicBezTo>
                    <a:pt x="969" y="257"/>
                    <a:pt x="969" y="257"/>
                    <a:pt x="969" y="257"/>
                  </a:cubicBezTo>
                  <a:cubicBezTo>
                    <a:pt x="969" y="257"/>
                    <a:pt x="969" y="257"/>
                    <a:pt x="970" y="257"/>
                  </a:cubicBezTo>
                  <a:cubicBezTo>
                    <a:pt x="967" y="258"/>
                    <a:pt x="964" y="258"/>
                    <a:pt x="962" y="258"/>
                  </a:cubicBezTo>
                  <a:cubicBezTo>
                    <a:pt x="959" y="258"/>
                    <a:pt x="957" y="259"/>
                    <a:pt x="955" y="262"/>
                  </a:cubicBezTo>
                  <a:cubicBezTo>
                    <a:pt x="954" y="263"/>
                    <a:pt x="952" y="265"/>
                    <a:pt x="951" y="266"/>
                  </a:cubicBezTo>
                  <a:cubicBezTo>
                    <a:pt x="950" y="267"/>
                    <a:pt x="949" y="268"/>
                    <a:pt x="949" y="270"/>
                  </a:cubicBezTo>
                  <a:cubicBezTo>
                    <a:pt x="949" y="271"/>
                    <a:pt x="948" y="273"/>
                    <a:pt x="947" y="274"/>
                  </a:cubicBezTo>
                  <a:cubicBezTo>
                    <a:pt x="945" y="275"/>
                    <a:pt x="943" y="275"/>
                    <a:pt x="941" y="274"/>
                  </a:cubicBezTo>
                  <a:cubicBezTo>
                    <a:pt x="939" y="273"/>
                    <a:pt x="937" y="272"/>
                    <a:pt x="935" y="271"/>
                  </a:cubicBezTo>
                  <a:cubicBezTo>
                    <a:pt x="931" y="270"/>
                    <a:pt x="927" y="269"/>
                    <a:pt x="923" y="271"/>
                  </a:cubicBezTo>
                  <a:cubicBezTo>
                    <a:pt x="922" y="272"/>
                    <a:pt x="920" y="272"/>
                    <a:pt x="919" y="272"/>
                  </a:cubicBezTo>
                  <a:cubicBezTo>
                    <a:pt x="916" y="273"/>
                    <a:pt x="914" y="272"/>
                    <a:pt x="912" y="271"/>
                  </a:cubicBezTo>
                  <a:cubicBezTo>
                    <a:pt x="909" y="270"/>
                    <a:pt x="905" y="268"/>
                    <a:pt x="904" y="264"/>
                  </a:cubicBezTo>
                  <a:cubicBezTo>
                    <a:pt x="901" y="259"/>
                    <a:pt x="897" y="257"/>
                    <a:pt x="892" y="256"/>
                  </a:cubicBezTo>
                  <a:cubicBezTo>
                    <a:pt x="890" y="256"/>
                    <a:pt x="888" y="254"/>
                    <a:pt x="888" y="252"/>
                  </a:cubicBezTo>
                  <a:cubicBezTo>
                    <a:pt x="886" y="247"/>
                    <a:pt x="883" y="242"/>
                    <a:pt x="884" y="237"/>
                  </a:cubicBezTo>
                  <a:cubicBezTo>
                    <a:pt x="884" y="235"/>
                    <a:pt x="884" y="234"/>
                    <a:pt x="884" y="232"/>
                  </a:cubicBezTo>
                  <a:cubicBezTo>
                    <a:pt x="884" y="229"/>
                    <a:pt x="880" y="225"/>
                    <a:pt x="876" y="226"/>
                  </a:cubicBezTo>
                  <a:cubicBezTo>
                    <a:pt x="868" y="227"/>
                    <a:pt x="861" y="228"/>
                    <a:pt x="853" y="228"/>
                  </a:cubicBezTo>
                  <a:cubicBezTo>
                    <a:pt x="850" y="229"/>
                    <a:pt x="848" y="231"/>
                    <a:pt x="846" y="234"/>
                  </a:cubicBezTo>
                  <a:cubicBezTo>
                    <a:pt x="845" y="237"/>
                    <a:pt x="846" y="240"/>
                    <a:pt x="849" y="241"/>
                  </a:cubicBezTo>
                  <a:cubicBezTo>
                    <a:pt x="850" y="242"/>
                    <a:pt x="852" y="243"/>
                    <a:pt x="853" y="242"/>
                  </a:cubicBezTo>
                  <a:cubicBezTo>
                    <a:pt x="854" y="241"/>
                    <a:pt x="855" y="240"/>
                    <a:pt x="856" y="240"/>
                  </a:cubicBezTo>
                  <a:cubicBezTo>
                    <a:pt x="859" y="240"/>
                    <a:pt x="863" y="240"/>
                    <a:pt x="866" y="239"/>
                  </a:cubicBezTo>
                  <a:cubicBezTo>
                    <a:pt x="869" y="238"/>
                    <a:pt x="872" y="237"/>
                    <a:pt x="875" y="236"/>
                  </a:cubicBezTo>
                  <a:cubicBezTo>
                    <a:pt x="876" y="236"/>
                    <a:pt x="877" y="237"/>
                    <a:pt x="877" y="238"/>
                  </a:cubicBezTo>
                  <a:cubicBezTo>
                    <a:pt x="877" y="238"/>
                    <a:pt x="877" y="239"/>
                    <a:pt x="876" y="239"/>
                  </a:cubicBezTo>
                  <a:cubicBezTo>
                    <a:pt x="873" y="240"/>
                    <a:pt x="870" y="241"/>
                    <a:pt x="867" y="242"/>
                  </a:cubicBezTo>
                  <a:cubicBezTo>
                    <a:pt x="864" y="245"/>
                    <a:pt x="860" y="246"/>
                    <a:pt x="855" y="247"/>
                  </a:cubicBezTo>
                  <a:cubicBezTo>
                    <a:pt x="853" y="248"/>
                    <a:pt x="851" y="248"/>
                    <a:pt x="849" y="249"/>
                  </a:cubicBezTo>
                  <a:cubicBezTo>
                    <a:pt x="846" y="250"/>
                    <a:pt x="844" y="252"/>
                    <a:pt x="843" y="256"/>
                  </a:cubicBezTo>
                  <a:cubicBezTo>
                    <a:pt x="841" y="261"/>
                    <a:pt x="840" y="266"/>
                    <a:pt x="839" y="271"/>
                  </a:cubicBezTo>
                  <a:cubicBezTo>
                    <a:pt x="839" y="272"/>
                    <a:pt x="838" y="274"/>
                    <a:pt x="837" y="275"/>
                  </a:cubicBezTo>
                  <a:cubicBezTo>
                    <a:pt x="836" y="276"/>
                    <a:pt x="834" y="277"/>
                    <a:pt x="833" y="276"/>
                  </a:cubicBezTo>
                  <a:cubicBezTo>
                    <a:pt x="831" y="276"/>
                    <a:pt x="832" y="274"/>
                    <a:pt x="833" y="272"/>
                  </a:cubicBezTo>
                  <a:cubicBezTo>
                    <a:pt x="834" y="270"/>
                    <a:pt x="834" y="268"/>
                    <a:pt x="833" y="265"/>
                  </a:cubicBezTo>
                  <a:cubicBezTo>
                    <a:pt x="831" y="262"/>
                    <a:pt x="829" y="258"/>
                    <a:pt x="828" y="255"/>
                  </a:cubicBezTo>
                  <a:cubicBezTo>
                    <a:pt x="826" y="252"/>
                    <a:pt x="825" y="250"/>
                    <a:pt x="823" y="247"/>
                  </a:cubicBezTo>
                  <a:cubicBezTo>
                    <a:pt x="822" y="245"/>
                    <a:pt x="820" y="244"/>
                    <a:pt x="818" y="244"/>
                  </a:cubicBezTo>
                  <a:cubicBezTo>
                    <a:pt x="816" y="245"/>
                    <a:pt x="814" y="245"/>
                    <a:pt x="811" y="246"/>
                  </a:cubicBezTo>
                  <a:cubicBezTo>
                    <a:pt x="795" y="249"/>
                    <a:pt x="780" y="246"/>
                    <a:pt x="767" y="236"/>
                  </a:cubicBezTo>
                  <a:cubicBezTo>
                    <a:pt x="766" y="235"/>
                    <a:pt x="766" y="233"/>
                    <a:pt x="766" y="232"/>
                  </a:cubicBezTo>
                  <a:cubicBezTo>
                    <a:pt x="768" y="229"/>
                    <a:pt x="770" y="227"/>
                    <a:pt x="774" y="227"/>
                  </a:cubicBezTo>
                  <a:cubicBezTo>
                    <a:pt x="776" y="227"/>
                    <a:pt x="777" y="227"/>
                    <a:pt x="779" y="227"/>
                  </a:cubicBezTo>
                  <a:cubicBezTo>
                    <a:pt x="786" y="227"/>
                    <a:pt x="789" y="223"/>
                    <a:pt x="788" y="217"/>
                  </a:cubicBezTo>
                  <a:cubicBezTo>
                    <a:pt x="787" y="214"/>
                    <a:pt x="786" y="211"/>
                    <a:pt x="784" y="208"/>
                  </a:cubicBezTo>
                  <a:cubicBezTo>
                    <a:pt x="782" y="204"/>
                    <a:pt x="778" y="202"/>
                    <a:pt x="774" y="202"/>
                  </a:cubicBezTo>
                  <a:cubicBezTo>
                    <a:pt x="768" y="203"/>
                    <a:pt x="763" y="201"/>
                    <a:pt x="759" y="197"/>
                  </a:cubicBezTo>
                  <a:cubicBezTo>
                    <a:pt x="752" y="193"/>
                    <a:pt x="747" y="188"/>
                    <a:pt x="740" y="184"/>
                  </a:cubicBezTo>
                  <a:cubicBezTo>
                    <a:pt x="736" y="181"/>
                    <a:pt x="733" y="178"/>
                    <a:pt x="732" y="173"/>
                  </a:cubicBezTo>
                  <a:cubicBezTo>
                    <a:pt x="731" y="166"/>
                    <a:pt x="726" y="163"/>
                    <a:pt x="720" y="161"/>
                  </a:cubicBezTo>
                  <a:cubicBezTo>
                    <a:pt x="715" y="159"/>
                    <a:pt x="711" y="159"/>
                    <a:pt x="707" y="163"/>
                  </a:cubicBezTo>
                  <a:cubicBezTo>
                    <a:pt x="706" y="165"/>
                    <a:pt x="704" y="166"/>
                    <a:pt x="702" y="167"/>
                  </a:cubicBezTo>
                  <a:cubicBezTo>
                    <a:pt x="701" y="168"/>
                    <a:pt x="699" y="168"/>
                    <a:pt x="698" y="168"/>
                  </a:cubicBezTo>
                  <a:cubicBezTo>
                    <a:pt x="696" y="168"/>
                    <a:pt x="694" y="166"/>
                    <a:pt x="695" y="165"/>
                  </a:cubicBezTo>
                  <a:cubicBezTo>
                    <a:pt x="699" y="160"/>
                    <a:pt x="700" y="154"/>
                    <a:pt x="701" y="148"/>
                  </a:cubicBezTo>
                  <a:cubicBezTo>
                    <a:pt x="701" y="148"/>
                    <a:pt x="701" y="147"/>
                    <a:pt x="700" y="147"/>
                  </a:cubicBezTo>
                  <a:cubicBezTo>
                    <a:pt x="700" y="146"/>
                    <a:pt x="699" y="146"/>
                    <a:pt x="699" y="146"/>
                  </a:cubicBezTo>
                  <a:cubicBezTo>
                    <a:pt x="698" y="147"/>
                    <a:pt x="696" y="147"/>
                    <a:pt x="695" y="148"/>
                  </a:cubicBezTo>
                  <a:cubicBezTo>
                    <a:pt x="690" y="152"/>
                    <a:pt x="686" y="156"/>
                    <a:pt x="681" y="159"/>
                  </a:cubicBezTo>
                  <a:cubicBezTo>
                    <a:pt x="680" y="160"/>
                    <a:pt x="679" y="160"/>
                    <a:pt x="678" y="160"/>
                  </a:cubicBezTo>
                  <a:cubicBezTo>
                    <a:pt x="677" y="160"/>
                    <a:pt x="676" y="159"/>
                    <a:pt x="676" y="158"/>
                  </a:cubicBezTo>
                  <a:cubicBezTo>
                    <a:pt x="675" y="154"/>
                    <a:pt x="675" y="149"/>
                    <a:pt x="677" y="145"/>
                  </a:cubicBezTo>
                  <a:cubicBezTo>
                    <a:pt x="679" y="138"/>
                    <a:pt x="679" y="131"/>
                    <a:pt x="679" y="124"/>
                  </a:cubicBezTo>
                  <a:cubicBezTo>
                    <a:pt x="678" y="122"/>
                    <a:pt x="678" y="121"/>
                    <a:pt x="677" y="119"/>
                  </a:cubicBezTo>
                  <a:cubicBezTo>
                    <a:pt x="677" y="119"/>
                    <a:pt x="675" y="118"/>
                    <a:pt x="674" y="119"/>
                  </a:cubicBezTo>
                  <a:cubicBezTo>
                    <a:pt x="672" y="120"/>
                    <a:pt x="671" y="123"/>
                    <a:pt x="671" y="126"/>
                  </a:cubicBezTo>
                  <a:cubicBezTo>
                    <a:pt x="671" y="128"/>
                    <a:pt x="670" y="131"/>
                    <a:pt x="667" y="132"/>
                  </a:cubicBezTo>
                  <a:cubicBezTo>
                    <a:pt x="664" y="134"/>
                    <a:pt x="661" y="136"/>
                    <a:pt x="657" y="137"/>
                  </a:cubicBezTo>
                  <a:cubicBezTo>
                    <a:pt x="655" y="139"/>
                    <a:pt x="653" y="138"/>
                    <a:pt x="651" y="136"/>
                  </a:cubicBezTo>
                  <a:cubicBezTo>
                    <a:pt x="650" y="136"/>
                    <a:pt x="650" y="135"/>
                    <a:pt x="649" y="135"/>
                  </a:cubicBezTo>
                  <a:cubicBezTo>
                    <a:pt x="649" y="135"/>
                    <a:pt x="649" y="135"/>
                    <a:pt x="649" y="135"/>
                  </a:cubicBezTo>
                  <a:cubicBezTo>
                    <a:pt x="649" y="135"/>
                    <a:pt x="648" y="135"/>
                    <a:pt x="648" y="135"/>
                  </a:cubicBezTo>
                  <a:cubicBezTo>
                    <a:pt x="647" y="135"/>
                    <a:pt x="646" y="136"/>
                    <a:pt x="645" y="137"/>
                  </a:cubicBezTo>
                  <a:cubicBezTo>
                    <a:pt x="645" y="137"/>
                    <a:pt x="644" y="137"/>
                    <a:pt x="644" y="137"/>
                  </a:cubicBezTo>
                  <a:cubicBezTo>
                    <a:pt x="642" y="136"/>
                    <a:pt x="643" y="135"/>
                    <a:pt x="644" y="135"/>
                  </a:cubicBezTo>
                  <a:cubicBezTo>
                    <a:pt x="646" y="135"/>
                    <a:pt x="647" y="135"/>
                    <a:pt x="648" y="135"/>
                  </a:cubicBezTo>
                  <a:cubicBezTo>
                    <a:pt x="648" y="135"/>
                    <a:pt x="648" y="134"/>
                    <a:pt x="649" y="134"/>
                  </a:cubicBezTo>
                  <a:cubicBezTo>
                    <a:pt x="649" y="134"/>
                    <a:pt x="649" y="134"/>
                    <a:pt x="649" y="135"/>
                  </a:cubicBezTo>
                  <a:cubicBezTo>
                    <a:pt x="649" y="133"/>
                    <a:pt x="650" y="132"/>
                    <a:pt x="650" y="130"/>
                  </a:cubicBezTo>
                  <a:cubicBezTo>
                    <a:pt x="651" y="128"/>
                    <a:pt x="650" y="127"/>
                    <a:pt x="648" y="126"/>
                  </a:cubicBezTo>
                  <a:cubicBezTo>
                    <a:pt x="645" y="125"/>
                    <a:pt x="641" y="125"/>
                    <a:pt x="637" y="126"/>
                  </a:cubicBezTo>
                  <a:cubicBezTo>
                    <a:pt x="629" y="129"/>
                    <a:pt x="621" y="132"/>
                    <a:pt x="612" y="132"/>
                  </a:cubicBezTo>
                  <a:cubicBezTo>
                    <a:pt x="609" y="132"/>
                    <a:pt x="606" y="133"/>
                    <a:pt x="604" y="134"/>
                  </a:cubicBezTo>
                  <a:cubicBezTo>
                    <a:pt x="600" y="138"/>
                    <a:pt x="595" y="138"/>
                    <a:pt x="589" y="137"/>
                  </a:cubicBezTo>
                  <a:cubicBezTo>
                    <a:pt x="589" y="137"/>
                    <a:pt x="589" y="137"/>
                    <a:pt x="589" y="137"/>
                  </a:cubicBezTo>
                  <a:cubicBezTo>
                    <a:pt x="589" y="138"/>
                    <a:pt x="589" y="138"/>
                    <a:pt x="589" y="138"/>
                  </a:cubicBezTo>
                  <a:cubicBezTo>
                    <a:pt x="589" y="137"/>
                    <a:pt x="589" y="137"/>
                    <a:pt x="589" y="137"/>
                  </a:cubicBezTo>
                  <a:cubicBezTo>
                    <a:pt x="589" y="137"/>
                    <a:pt x="589" y="137"/>
                    <a:pt x="589" y="137"/>
                  </a:cubicBezTo>
                  <a:cubicBezTo>
                    <a:pt x="590" y="137"/>
                    <a:pt x="590" y="136"/>
                    <a:pt x="590" y="136"/>
                  </a:cubicBezTo>
                  <a:cubicBezTo>
                    <a:pt x="592" y="134"/>
                    <a:pt x="592" y="133"/>
                    <a:pt x="590" y="131"/>
                  </a:cubicBezTo>
                  <a:cubicBezTo>
                    <a:pt x="589" y="129"/>
                    <a:pt x="588" y="129"/>
                    <a:pt x="585" y="130"/>
                  </a:cubicBezTo>
                  <a:cubicBezTo>
                    <a:pt x="583" y="131"/>
                    <a:pt x="581" y="132"/>
                    <a:pt x="579" y="133"/>
                  </a:cubicBezTo>
                  <a:cubicBezTo>
                    <a:pt x="575" y="133"/>
                    <a:pt x="571" y="134"/>
                    <a:pt x="568" y="135"/>
                  </a:cubicBezTo>
                  <a:cubicBezTo>
                    <a:pt x="564" y="137"/>
                    <a:pt x="560" y="139"/>
                    <a:pt x="560" y="144"/>
                  </a:cubicBezTo>
                  <a:cubicBezTo>
                    <a:pt x="559" y="146"/>
                    <a:pt x="558" y="147"/>
                    <a:pt x="556" y="146"/>
                  </a:cubicBezTo>
                  <a:cubicBezTo>
                    <a:pt x="554" y="144"/>
                    <a:pt x="552" y="143"/>
                    <a:pt x="550" y="141"/>
                  </a:cubicBezTo>
                  <a:cubicBezTo>
                    <a:pt x="546" y="139"/>
                    <a:pt x="544" y="136"/>
                    <a:pt x="543" y="133"/>
                  </a:cubicBezTo>
                  <a:cubicBezTo>
                    <a:pt x="542" y="129"/>
                    <a:pt x="541" y="126"/>
                    <a:pt x="539" y="122"/>
                  </a:cubicBezTo>
                  <a:cubicBezTo>
                    <a:pt x="539" y="120"/>
                    <a:pt x="537" y="118"/>
                    <a:pt x="536" y="116"/>
                  </a:cubicBezTo>
                  <a:cubicBezTo>
                    <a:pt x="532" y="112"/>
                    <a:pt x="527" y="109"/>
                    <a:pt x="523" y="107"/>
                  </a:cubicBezTo>
                  <a:cubicBezTo>
                    <a:pt x="516" y="102"/>
                    <a:pt x="509" y="98"/>
                    <a:pt x="506" y="90"/>
                  </a:cubicBezTo>
                  <a:cubicBezTo>
                    <a:pt x="506" y="89"/>
                    <a:pt x="505" y="88"/>
                    <a:pt x="505" y="87"/>
                  </a:cubicBezTo>
                  <a:cubicBezTo>
                    <a:pt x="503" y="85"/>
                    <a:pt x="502" y="84"/>
                    <a:pt x="499" y="84"/>
                  </a:cubicBezTo>
                  <a:cubicBezTo>
                    <a:pt x="497" y="84"/>
                    <a:pt x="495" y="84"/>
                    <a:pt x="493" y="84"/>
                  </a:cubicBezTo>
                  <a:cubicBezTo>
                    <a:pt x="488" y="84"/>
                    <a:pt x="484" y="82"/>
                    <a:pt x="481" y="79"/>
                  </a:cubicBezTo>
                  <a:cubicBezTo>
                    <a:pt x="476" y="75"/>
                    <a:pt x="471" y="71"/>
                    <a:pt x="464" y="69"/>
                  </a:cubicBezTo>
                  <a:cubicBezTo>
                    <a:pt x="461" y="68"/>
                    <a:pt x="459" y="66"/>
                    <a:pt x="456" y="63"/>
                  </a:cubicBezTo>
                  <a:cubicBezTo>
                    <a:pt x="454" y="61"/>
                    <a:pt x="451" y="58"/>
                    <a:pt x="450" y="55"/>
                  </a:cubicBezTo>
                  <a:cubicBezTo>
                    <a:pt x="448" y="51"/>
                    <a:pt x="445" y="49"/>
                    <a:pt x="440" y="50"/>
                  </a:cubicBezTo>
                  <a:cubicBezTo>
                    <a:pt x="438" y="51"/>
                    <a:pt x="435" y="51"/>
                    <a:pt x="432" y="52"/>
                  </a:cubicBezTo>
                  <a:cubicBezTo>
                    <a:pt x="430" y="52"/>
                    <a:pt x="429" y="51"/>
                    <a:pt x="428" y="50"/>
                  </a:cubicBezTo>
                  <a:cubicBezTo>
                    <a:pt x="426" y="46"/>
                    <a:pt x="426" y="41"/>
                    <a:pt x="423" y="37"/>
                  </a:cubicBezTo>
                  <a:cubicBezTo>
                    <a:pt x="423" y="37"/>
                    <a:pt x="424" y="35"/>
                    <a:pt x="424" y="35"/>
                  </a:cubicBezTo>
                  <a:cubicBezTo>
                    <a:pt x="425" y="33"/>
                    <a:pt x="426" y="32"/>
                    <a:pt x="425" y="30"/>
                  </a:cubicBezTo>
                  <a:cubicBezTo>
                    <a:pt x="425" y="29"/>
                    <a:pt x="424" y="28"/>
                    <a:pt x="422" y="27"/>
                  </a:cubicBezTo>
                  <a:cubicBezTo>
                    <a:pt x="420" y="26"/>
                    <a:pt x="417" y="25"/>
                    <a:pt x="415" y="24"/>
                  </a:cubicBezTo>
                  <a:cubicBezTo>
                    <a:pt x="413" y="24"/>
                    <a:pt x="411" y="24"/>
                    <a:pt x="410" y="23"/>
                  </a:cubicBezTo>
                  <a:cubicBezTo>
                    <a:pt x="407" y="23"/>
                    <a:pt x="407" y="22"/>
                    <a:pt x="407" y="19"/>
                  </a:cubicBezTo>
                  <a:cubicBezTo>
                    <a:pt x="407" y="16"/>
                    <a:pt x="408" y="14"/>
                    <a:pt x="405" y="13"/>
                  </a:cubicBezTo>
                  <a:cubicBezTo>
                    <a:pt x="405" y="13"/>
                    <a:pt x="405" y="13"/>
                    <a:pt x="405" y="13"/>
                  </a:cubicBezTo>
                  <a:cubicBezTo>
                    <a:pt x="404" y="13"/>
                    <a:pt x="404" y="13"/>
                    <a:pt x="404" y="13"/>
                  </a:cubicBezTo>
                  <a:cubicBezTo>
                    <a:pt x="402" y="13"/>
                    <a:pt x="400" y="14"/>
                    <a:pt x="399" y="14"/>
                  </a:cubicBezTo>
                  <a:cubicBezTo>
                    <a:pt x="398" y="15"/>
                    <a:pt x="398" y="15"/>
                    <a:pt x="397" y="15"/>
                  </a:cubicBezTo>
                  <a:cubicBezTo>
                    <a:pt x="397" y="15"/>
                    <a:pt x="397" y="15"/>
                    <a:pt x="397" y="15"/>
                  </a:cubicBezTo>
                  <a:cubicBezTo>
                    <a:pt x="396" y="16"/>
                    <a:pt x="396" y="17"/>
                    <a:pt x="396" y="18"/>
                  </a:cubicBezTo>
                  <a:cubicBezTo>
                    <a:pt x="395" y="20"/>
                    <a:pt x="393" y="21"/>
                    <a:pt x="391" y="19"/>
                  </a:cubicBezTo>
                  <a:cubicBezTo>
                    <a:pt x="390" y="19"/>
                    <a:pt x="390" y="18"/>
                    <a:pt x="389" y="17"/>
                  </a:cubicBezTo>
                  <a:cubicBezTo>
                    <a:pt x="389" y="17"/>
                    <a:pt x="390" y="16"/>
                    <a:pt x="391" y="16"/>
                  </a:cubicBezTo>
                  <a:cubicBezTo>
                    <a:pt x="393" y="16"/>
                    <a:pt x="395" y="16"/>
                    <a:pt x="397" y="15"/>
                  </a:cubicBezTo>
                  <a:cubicBezTo>
                    <a:pt x="397" y="15"/>
                    <a:pt x="397" y="15"/>
                    <a:pt x="397" y="15"/>
                  </a:cubicBezTo>
                  <a:cubicBezTo>
                    <a:pt x="397" y="15"/>
                    <a:pt x="398" y="14"/>
                    <a:pt x="399" y="14"/>
                  </a:cubicBezTo>
                  <a:cubicBezTo>
                    <a:pt x="400" y="13"/>
                    <a:pt x="402" y="13"/>
                    <a:pt x="404" y="13"/>
                  </a:cubicBezTo>
                  <a:cubicBezTo>
                    <a:pt x="404" y="13"/>
                    <a:pt x="404" y="13"/>
                    <a:pt x="404" y="12"/>
                  </a:cubicBezTo>
                  <a:cubicBezTo>
                    <a:pt x="404" y="13"/>
                    <a:pt x="405" y="13"/>
                    <a:pt x="405" y="13"/>
                  </a:cubicBezTo>
                  <a:cubicBezTo>
                    <a:pt x="403" y="9"/>
                    <a:pt x="401" y="5"/>
                    <a:pt x="398" y="2"/>
                  </a:cubicBezTo>
                  <a:cubicBezTo>
                    <a:pt x="396" y="1"/>
                    <a:pt x="394" y="0"/>
                    <a:pt x="392" y="1"/>
                  </a:cubicBezTo>
                  <a:cubicBezTo>
                    <a:pt x="388" y="2"/>
                    <a:pt x="385" y="3"/>
                    <a:pt x="382" y="6"/>
                  </a:cubicBezTo>
                  <a:cubicBezTo>
                    <a:pt x="377" y="9"/>
                    <a:pt x="372" y="9"/>
                    <a:pt x="366" y="8"/>
                  </a:cubicBezTo>
                  <a:cubicBezTo>
                    <a:pt x="363" y="7"/>
                    <a:pt x="360" y="6"/>
                    <a:pt x="357" y="5"/>
                  </a:cubicBezTo>
                  <a:cubicBezTo>
                    <a:pt x="351" y="4"/>
                    <a:pt x="347" y="6"/>
                    <a:pt x="343" y="9"/>
                  </a:cubicBezTo>
                  <a:cubicBezTo>
                    <a:pt x="342" y="10"/>
                    <a:pt x="342" y="12"/>
                    <a:pt x="341" y="13"/>
                  </a:cubicBezTo>
                  <a:cubicBezTo>
                    <a:pt x="340" y="14"/>
                    <a:pt x="338" y="16"/>
                    <a:pt x="337" y="16"/>
                  </a:cubicBezTo>
                  <a:cubicBezTo>
                    <a:pt x="333" y="17"/>
                    <a:pt x="329" y="19"/>
                    <a:pt x="324" y="17"/>
                  </a:cubicBezTo>
                  <a:cubicBezTo>
                    <a:pt x="318" y="16"/>
                    <a:pt x="312" y="17"/>
                    <a:pt x="307" y="21"/>
                  </a:cubicBezTo>
                  <a:cubicBezTo>
                    <a:pt x="297" y="27"/>
                    <a:pt x="287" y="32"/>
                    <a:pt x="278" y="39"/>
                  </a:cubicBezTo>
                  <a:cubicBezTo>
                    <a:pt x="277" y="40"/>
                    <a:pt x="276" y="42"/>
                    <a:pt x="275" y="42"/>
                  </a:cubicBezTo>
                  <a:cubicBezTo>
                    <a:pt x="264" y="48"/>
                    <a:pt x="253" y="53"/>
                    <a:pt x="241" y="47"/>
                  </a:cubicBezTo>
                  <a:cubicBezTo>
                    <a:pt x="240" y="46"/>
                    <a:pt x="240" y="46"/>
                    <a:pt x="239" y="46"/>
                  </a:cubicBezTo>
                  <a:cubicBezTo>
                    <a:pt x="234" y="44"/>
                    <a:pt x="231" y="45"/>
                    <a:pt x="228" y="49"/>
                  </a:cubicBezTo>
                  <a:cubicBezTo>
                    <a:pt x="225" y="52"/>
                    <a:pt x="223" y="55"/>
                    <a:pt x="220" y="58"/>
                  </a:cubicBezTo>
                  <a:cubicBezTo>
                    <a:pt x="216" y="61"/>
                    <a:pt x="215" y="65"/>
                    <a:pt x="217" y="70"/>
                  </a:cubicBezTo>
                  <a:cubicBezTo>
                    <a:pt x="218" y="73"/>
                    <a:pt x="219" y="77"/>
                    <a:pt x="220" y="80"/>
                  </a:cubicBezTo>
                  <a:cubicBezTo>
                    <a:pt x="224" y="90"/>
                    <a:pt x="225" y="100"/>
                    <a:pt x="219" y="109"/>
                  </a:cubicBezTo>
                  <a:cubicBezTo>
                    <a:pt x="218" y="111"/>
                    <a:pt x="219" y="114"/>
                    <a:pt x="222" y="116"/>
                  </a:cubicBezTo>
                  <a:cubicBezTo>
                    <a:pt x="224" y="118"/>
                    <a:pt x="227" y="119"/>
                    <a:pt x="230" y="121"/>
                  </a:cubicBezTo>
                  <a:cubicBezTo>
                    <a:pt x="231" y="121"/>
                    <a:pt x="231" y="122"/>
                    <a:pt x="231" y="123"/>
                  </a:cubicBezTo>
                  <a:cubicBezTo>
                    <a:pt x="231" y="123"/>
                    <a:pt x="230" y="124"/>
                    <a:pt x="229" y="124"/>
                  </a:cubicBezTo>
                  <a:cubicBezTo>
                    <a:pt x="228" y="124"/>
                    <a:pt x="226" y="125"/>
                    <a:pt x="226" y="126"/>
                  </a:cubicBezTo>
                  <a:cubicBezTo>
                    <a:pt x="225" y="130"/>
                    <a:pt x="225" y="135"/>
                    <a:pt x="225" y="139"/>
                  </a:cubicBezTo>
                  <a:cubicBezTo>
                    <a:pt x="225" y="139"/>
                    <a:pt x="226" y="140"/>
                    <a:pt x="227" y="141"/>
                  </a:cubicBezTo>
                  <a:cubicBezTo>
                    <a:pt x="228" y="141"/>
                    <a:pt x="230" y="141"/>
                    <a:pt x="231" y="141"/>
                  </a:cubicBezTo>
                  <a:cubicBezTo>
                    <a:pt x="231" y="141"/>
                    <a:pt x="231" y="140"/>
                    <a:pt x="231" y="140"/>
                  </a:cubicBezTo>
                  <a:cubicBezTo>
                    <a:pt x="232" y="140"/>
                    <a:pt x="232" y="140"/>
                    <a:pt x="232" y="141"/>
                  </a:cubicBezTo>
                  <a:cubicBezTo>
                    <a:pt x="232" y="140"/>
                    <a:pt x="232" y="139"/>
                    <a:pt x="232" y="138"/>
                  </a:cubicBezTo>
                  <a:cubicBezTo>
                    <a:pt x="232" y="138"/>
                    <a:pt x="232" y="138"/>
                    <a:pt x="232" y="138"/>
                  </a:cubicBezTo>
                  <a:cubicBezTo>
                    <a:pt x="231" y="137"/>
                    <a:pt x="231" y="137"/>
                    <a:pt x="231" y="137"/>
                  </a:cubicBezTo>
                  <a:cubicBezTo>
                    <a:pt x="232" y="138"/>
                    <a:pt x="232" y="138"/>
                    <a:pt x="232" y="138"/>
                  </a:cubicBezTo>
                  <a:cubicBezTo>
                    <a:pt x="232" y="138"/>
                    <a:pt x="232" y="138"/>
                    <a:pt x="232" y="138"/>
                  </a:cubicBezTo>
                  <a:cubicBezTo>
                    <a:pt x="237" y="137"/>
                    <a:pt x="242" y="137"/>
                    <a:pt x="246" y="139"/>
                  </a:cubicBezTo>
                  <a:cubicBezTo>
                    <a:pt x="247" y="139"/>
                    <a:pt x="248" y="142"/>
                    <a:pt x="247" y="143"/>
                  </a:cubicBezTo>
                  <a:cubicBezTo>
                    <a:pt x="247" y="144"/>
                    <a:pt x="246" y="144"/>
                    <a:pt x="245" y="144"/>
                  </a:cubicBezTo>
                  <a:cubicBezTo>
                    <a:pt x="240" y="144"/>
                    <a:pt x="236" y="142"/>
                    <a:pt x="232" y="141"/>
                  </a:cubicBezTo>
                  <a:cubicBezTo>
                    <a:pt x="232" y="141"/>
                    <a:pt x="232" y="141"/>
                    <a:pt x="232" y="141"/>
                  </a:cubicBezTo>
                  <a:cubicBezTo>
                    <a:pt x="232" y="141"/>
                    <a:pt x="231" y="141"/>
                    <a:pt x="231" y="141"/>
                  </a:cubicBezTo>
                  <a:cubicBezTo>
                    <a:pt x="231" y="143"/>
                    <a:pt x="231" y="145"/>
                    <a:pt x="228" y="145"/>
                  </a:cubicBezTo>
                  <a:cubicBezTo>
                    <a:pt x="225" y="146"/>
                    <a:pt x="222" y="147"/>
                    <a:pt x="219" y="148"/>
                  </a:cubicBezTo>
                  <a:cubicBezTo>
                    <a:pt x="216" y="151"/>
                    <a:pt x="213" y="150"/>
                    <a:pt x="210" y="149"/>
                  </a:cubicBezTo>
                  <a:cubicBezTo>
                    <a:pt x="206" y="147"/>
                    <a:pt x="203" y="145"/>
                    <a:pt x="200" y="144"/>
                  </a:cubicBezTo>
                  <a:cubicBezTo>
                    <a:pt x="197" y="142"/>
                    <a:pt x="197" y="140"/>
                    <a:pt x="198" y="138"/>
                  </a:cubicBezTo>
                  <a:cubicBezTo>
                    <a:pt x="199" y="137"/>
                    <a:pt x="201" y="135"/>
                    <a:pt x="202" y="133"/>
                  </a:cubicBezTo>
                  <a:cubicBezTo>
                    <a:pt x="204" y="130"/>
                    <a:pt x="201" y="125"/>
                    <a:pt x="197" y="125"/>
                  </a:cubicBezTo>
                  <a:cubicBezTo>
                    <a:pt x="193" y="125"/>
                    <a:pt x="188" y="125"/>
                    <a:pt x="184" y="126"/>
                  </a:cubicBezTo>
                  <a:cubicBezTo>
                    <a:pt x="181" y="126"/>
                    <a:pt x="178" y="127"/>
                    <a:pt x="177" y="129"/>
                  </a:cubicBezTo>
                  <a:cubicBezTo>
                    <a:pt x="174" y="132"/>
                    <a:pt x="171" y="132"/>
                    <a:pt x="168" y="132"/>
                  </a:cubicBezTo>
                  <a:cubicBezTo>
                    <a:pt x="165" y="132"/>
                    <a:pt x="163" y="132"/>
                    <a:pt x="160" y="133"/>
                  </a:cubicBezTo>
                  <a:cubicBezTo>
                    <a:pt x="152" y="134"/>
                    <a:pt x="146" y="139"/>
                    <a:pt x="139" y="142"/>
                  </a:cubicBezTo>
                  <a:cubicBezTo>
                    <a:pt x="136" y="142"/>
                    <a:pt x="135" y="146"/>
                    <a:pt x="137" y="148"/>
                  </a:cubicBezTo>
                  <a:cubicBezTo>
                    <a:pt x="140" y="152"/>
                    <a:pt x="142" y="155"/>
                    <a:pt x="145" y="158"/>
                  </a:cubicBezTo>
                  <a:cubicBezTo>
                    <a:pt x="146" y="159"/>
                    <a:pt x="145" y="160"/>
                    <a:pt x="142" y="161"/>
                  </a:cubicBezTo>
                  <a:cubicBezTo>
                    <a:pt x="142" y="162"/>
                    <a:pt x="140" y="162"/>
                    <a:pt x="140" y="163"/>
                  </a:cubicBezTo>
                  <a:cubicBezTo>
                    <a:pt x="139" y="168"/>
                    <a:pt x="136" y="172"/>
                    <a:pt x="134" y="177"/>
                  </a:cubicBezTo>
                  <a:cubicBezTo>
                    <a:pt x="134" y="179"/>
                    <a:pt x="134" y="182"/>
                    <a:pt x="135" y="183"/>
                  </a:cubicBezTo>
                  <a:cubicBezTo>
                    <a:pt x="139" y="188"/>
                    <a:pt x="144" y="193"/>
                    <a:pt x="151" y="192"/>
                  </a:cubicBezTo>
                  <a:cubicBezTo>
                    <a:pt x="158" y="191"/>
                    <a:pt x="163" y="191"/>
                    <a:pt x="168" y="195"/>
                  </a:cubicBezTo>
                  <a:cubicBezTo>
                    <a:pt x="171" y="197"/>
                    <a:pt x="174" y="198"/>
                    <a:pt x="178" y="196"/>
                  </a:cubicBezTo>
                  <a:cubicBezTo>
                    <a:pt x="183" y="194"/>
                    <a:pt x="189" y="191"/>
                    <a:pt x="194" y="189"/>
                  </a:cubicBezTo>
                  <a:cubicBezTo>
                    <a:pt x="196" y="189"/>
                    <a:pt x="197" y="189"/>
                    <a:pt x="199" y="190"/>
                  </a:cubicBezTo>
                  <a:cubicBezTo>
                    <a:pt x="199" y="190"/>
                    <a:pt x="200" y="190"/>
                    <a:pt x="200" y="191"/>
                  </a:cubicBezTo>
                  <a:cubicBezTo>
                    <a:pt x="200" y="191"/>
                    <a:pt x="200" y="192"/>
                    <a:pt x="200" y="192"/>
                  </a:cubicBezTo>
                  <a:cubicBezTo>
                    <a:pt x="199" y="193"/>
                    <a:pt x="198" y="193"/>
                    <a:pt x="197" y="194"/>
                  </a:cubicBezTo>
                  <a:cubicBezTo>
                    <a:pt x="194" y="194"/>
                    <a:pt x="192" y="195"/>
                    <a:pt x="193" y="199"/>
                  </a:cubicBezTo>
                  <a:cubicBezTo>
                    <a:pt x="193" y="200"/>
                    <a:pt x="193" y="202"/>
                    <a:pt x="193" y="203"/>
                  </a:cubicBezTo>
                  <a:cubicBezTo>
                    <a:pt x="190" y="208"/>
                    <a:pt x="188" y="212"/>
                    <a:pt x="187" y="217"/>
                  </a:cubicBezTo>
                  <a:cubicBezTo>
                    <a:pt x="187" y="222"/>
                    <a:pt x="178" y="227"/>
                    <a:pt x="173" y="227"/>
                  </a:cubicBezTo>
                  <a:cubicBezTo>
                    <a:pt x="172" y="227"/>
                    <a:pt x="170" y="227"/>
                    <a:pt x="170" y="226"/>
                  </a:cubicBezTo>
                  <a:cubicBezTo>
                    <a:pt x="168" y="225"/>
                    <a:pt x="166" y="224"/>
                    <a:pt x="164" y="222"/>
                  </a:cubicBezTo>
                  <a:cubicBezTo>
                    <a:pt x="163" y="221"/>
                    <a:pt x="162" y="219"/>
                    <a:pt x="161" y="219"/>
                  </a:cubicBezTo>
                  <a:cubicBezTo>
                    <a:pt x="159" y="219"/>
                    <a:pt x="159" y="222"/>
                    <a:pt x="159" y="223"/>
                  </a:cubicBezTo>
                  <a:cubicBezTo>
                    <a:pt x="157" y="229"/>
                    <a:pt x="152" y="232"/>
                    <a:pt x="145" y="233"/>
                  </a:cubicBezTo>
                  <a:cubicBezTo>
                    <a:pt x="144" y="233"/>
                    <a:pt x="143" y="232"/>
                    <a:pt x="142" y="232"/>
                  </a:cubicBezTo>
                  <a:cubicBezTo>
                    <a:pt x="142" y="231"/>
                    <a:pt x="141" y="230"/>
                    <a:pt x="140" y="229"/>
                  </a:cubicBezTo>
                  <a:cubicBezTo>
                    <a:pt x="138" y="225"/>
                    <a:pt x="134" y="224"/>
                    <a:pt x="131" y="226"/>
                  </a:cubicBezTo>
                  <a:cubicBezTo>
                    <a:pt x="125" y="229"/>
                    <a:pt x="118" y="233"/>
                    <a:pt x="116" y="240"/>
                  </a:cubicBezTo>
                  <a:cubicBezTo>
                    <a:pt x="116" y="241"/>
                    <a:pt x="115" y="242"/>
                    <a:pt x="114" y="242"/>
                  </a:cubicBezTo>
                  <a:cubicBezTo>
                    <a:pt x="105" y="248"/>
                    <a:pt x="98" y="256"/>
                    <a:pt x="89" y="262"/>
                  </a:cubicBezTo>
                  <a:cubicBezTo>
                    <a:pt x="83" y="267"/>
                    <a:pt x="81" y="272"/>
                    <a:pt x="83" y="279"/>
                  </a:cubicBezTo>
                  <a:cubicBezTo>
                    <a:pt x="84" y="281"/>
                    <a:pt x="84" y="284"/>
                    <a:pt x="85" y="286"/>
                  </a:cubicBezTo>
                  <a:cubicBezTo>
                    <a:pt x="86" y="289"/>
                    <a:pt x="86" y="292"/>
                    <a:pt x="84" y="294"/>
                  </a:cubicBezTo>
                  <a:cubicBezTo>
                    <a:pt x="79" y="298"/>
                    <a:pt x="78" y="304"/>
                    <a:pt x="80" y="309"/>
                  </a:cubicBezTo>
                  <a:cubicBezTo>
                    <a:pt x="81" y="313"/>
                    <a:pt x="82" y="317"/>
                    <a:pt x="83" y="320"/>
                  </a:cubicBezTo>
                  <a:cubicBezTo>
                    <a:pt x="84" y="322"/>
                    <a:pt x="85" y="324"/>
                    <a:pt x="88" y="324"/>
                  </a:cubicBezTo>
                  <a:cubicBezTo>
                    <a:pt x="90" y="325"/>
                    <a:pt x="92" y="325"/>
                    <a:pt x="94" y="325"/>
                  </a:cubicBezTo>
                  <a:cubicBezTo>
                    <a:pt x="98" y="324"/>
                    <a:pt x="102" y="323"/>
                    <a:pt x="106" y="324"/>
                  </a:cubicBezTo>
                  <a:cubicBezTo>
                    <a:pt x="106" y="324"/>
                    <a:pt x="107" y="323"/>
                    <a:pt x="107" y="323"/>
                  </a:cubicBezTo>
                  <a:cubicBezTo>
                    <a:pt x="107" y="323"/>
                    <a:pt x="107" y="323"/>
                    <a:pt x="107" y="322"/>
                  </a:cubicBezTo>
                  <a:cubicBezTo>
                    <a:pt x="107" y="321"/>
                    <a:pt x="107" y="320"/>
                    <a:pt x="107" y="319"/>
                  </a:cubicBezTo>
                  <a:cubicBezTo>
                    <a:pt x="107" y="319"/>
                    <a:pt x="107" y="318"/>
                    <a:pt x="107" y="318"/>
                  </a:cubicBezTo>
                  <a:cubicBezTo>
                    <a:pt x="108" y="317"/>
                    <a:pt x="109" y="318"/>
                    <a:pt x="108" y="319"/>
                  </a:cubicBezTo>
                  <a:cubicBezTo>
                    <a:pt x="108" y="320"/>
                    <a:pt x="107" y="321"/>
                    <a:pt x="107" y="322"/>
                  </a:cubicBezTo>
                  <a:cubicBezTo>
                    <a:pt x="107" y="323"/>
                    <a:pt x="107" y="323"/>
                    <a:pt x="107" y="324"/>
                  </a:cubicBezTo>
                  <a:cubicBezTo>
                    <a:pt x="107" y="324"/>
                    <a:pt x="107" y="324"/>
                    <a:pt x="106" y="324"/>
                  </a:cubicBezTo>
                  <a:cubicBezTo>
                    <a:pt x="106" y="326"/>
                    <a:pt x="105" y="329"/>
                    <a:pt x="105" y="331"/>
                  </a:cubicBezTo>
                  <a:cubicBezTo>
                    <a:pt x="105" y="335"/>
                    <a:pt x="103" y="338"/>
                    <a:pt x="100" y="340"/>
                  </a:cubicBezTo>
                  <a:cubicBezTo>
                    <a:pt x="98" y="342"/>
                    <a:pt x="98" y="345"/>
                    <a:pt x="99" y="347"/>
                  </a:cubicBezTo>
                  <a:cubicBezTo>
                    <a:pt x="100" y="350"/>
                    <a:pt x="100" y="351"/>
                    <a:pt x="99" y="353"/>
                  </a:cubicBezTo>
                  <a:cubicBezTo>
                    <a:pt x="98" y="355"/>
                    <a:pt x="97" y="356"/>
                    <a:pt x="96" y="357"/>
                  </a:cubicBezTo>
                  <a:cubicBezTo>
                    <a:pt x="95" y="359"/>
                    <a:pt x="95" y="360"/>
                    <a:pt x="97" y="361"/>
                  </a:cubicBezTo>
                  <a:cubicBezTo>
                    <a:pt x="102" y="362"/>
                    <a:pt x="107" y="363"/>
                    <a:pt x="110" y="358"/>
                  </a:cubicBezTo>
                  <a:cubicBezTo>
                    <a:pt x="110" y="357"/>
                    <a:pt x="111" y="357"/>
                    <a:pt x="111" y="357"/>
                  </a:cubicBezTo>
                  <a:cubicBezTo>
                    <a:pt x="115" y="361"/>
                    <a:pt x="121" y="364"/>
                    <a:pt x="123" y="370"/>
                  </a:cubicBezTo>
                  <a:cubicBezTo>
                    <a:pt x="123" y="372"/>
                    <a:pt x="125" y="372"/>
                    <a:pt x="126" y="370"/>
                  </a:cubicBezTo>
                  <a:cubicBezTo>
                    <a:pt x="127" y="370"/>
                    <a:pt x="127" y="370"/>
                    <a:pt x="127" y="369"/>
                  </a:cubicBezTo>
                  <a:cubicBezTo>
                    <a:pt x="130" y="366"/>
                    <a:pt x="130" y="366"/>
                    <a:pt x="135" y="368"/>
                  </a:cubicBezTo>
                  <a:cubicBezTo>
                    <a:pt x="136" y="369"/>
                    <a:pt x="138" y="369"/>
                    <a:pt x="140" y="369"/>
                  </a:cubicBezTo>
                  <a:cubicBezTo>
                    <a:pt x="141" y="369"/>
                    <a:pt x="143" y="368"/>
                    <a:pt x="144" y="368"/>
                  </a:cubicBezTo>
                  <a:cubicBezTo>
                    <a:pt x="145" y="368"/>
                    <a:pt x="146" y="368"/>
                    <a:pt x="146" y="368"/>
                  </a:cubicBezTo>
                  <a:cubicBezTo>
                    <a:pt x="147" y="369"/>
                    <a:pt x="147" y="370"/>
                    <a:pt x="146" y="370"/>
                  </a:cubicBezTo>
                  <a:cubicBezTo>
                    <a:pt x="141" y="374"/>
                    <a:pt x="138" y="378"/>
                    <a:pt x="136" y="382"/>
                  </a:cubicBezTo>
                  <a:cubicBezTo>
                    <a:pt x="130" y="393"/>
                    <a:pt x="122" y="403"/>
                    <a:pt x="110" y="409"/>
                  </a:cubicBezTo>
                  <a:cubicBezTo>
                    <a:pt x="107" y="410"/>
                    <a:pt x="103" y="413"/>
                    <a:pt x="99" y="415"/>
                  </a:cubicBezTo>
                  <a:cubicBezTo>
                    <a:pt x="93" y="417"/>
                    <a:pt x="87" y="421"/>
                    <a:pt x="80" y="424"/>
                  </a:cubicBezTo>
                  <a:cubicBezTo>
                    <a:pt x="76" y="426"/>
                    <a:pt x="73" y="429"/>
                    <a:pt x="70" y="432"/>
                  </a:cubicBezTo>
                  <a:cubicBezTo>
                    <a:pt x="69" y="434"/>
                    <a:pt x="67" y="434"/>
                    <a:pt x="65" y="434"/>
                  </a:cubicBezTo>
                  <a:cubicBezTo>
                    <a:pt x="60" y="432"/>
                    <a:pt x="55" y="433"/>
                    <a:pt x="50" y="436"/>
                  </a:cubicBezTo>
                  <a:cubicBezTo>
                    <a:pt x="47" y="438"/>
                    <a:pt x="43" y="441"/>
                    <a:pt x="40" y="443"/>
                  </a:cubicBezTo>
                  <a:cubicBezTo>
                    <a:pt x="34" y="448"/>
                    <a:pt x="28" y="451"/>
                    <a:pt x="20" y="451"/>
                  </a:cubicBezTo>
                  <a:cubicBezTo>
                    <a:pt x="18" y="451"/>
                    <a:pt x="15" y="452"/>
                    <a:pt x="12" y="452"/>
                  </a:cubicBezTo>
                  <a:cubicBezTo>
                    <a:pt x="7" y="452"/>
                    <a:pt x="4" y="456"/>
                    <a:pt x="1" y="460"/>
                  </a:cubicBezTo>
                  <a:cubicBezTo>
                    <a:pt x="0" y="460"/>
                    <a:pt x="0" y="462"/>
                    <a:pt x="1" y="463"/>
                  </a:cubicBezTo>
                  <a:cubicBezTo>
                    <a:pt x="1" y="463"/>
                    <a:pt x="3" y="464"/>
                    <a:pt x="4" y="464"/>
                  </a:cubicBezTo>
                  <a:cubicBezTo>
                    <a:pt x="5" y="464"/>
                    <a:pt x="7" y="464"/>
                    <a:pt x="8" y="463"/>
                  </a:cubicBezTo>
                  <a:cubicBezTo>
                    <a:pt x="12" y="462"/>
                    <a:pt x="15" y="463"/>
                    <a:pt x="18" y="462"/>
                  </a:cubicBezTo>
                  <a:cubicBezTo>
                    <a:pt x="20" y="462"/>
                    <a:pt x="23" y="462"/>
                    <a:pt x="24" y="460"/>
                  </a:cubicBezTo>
                  <a:cubicBezTo>
                    <a:pt x="28" y="456"/>
                    <a:pt x="32" y="455"/>
                    <a:pt x="37" y="455"/>
                  </a:cubicBezTo>
                  <a:cubicBezTo>
                    <a:pt x="44" y="455"/>
                    <a:pt x="50" y="451"/>
                    <a:pt x="53" y="445"/>
                  </a:cubicBezTo>
                  <a:cubicBezTo>
                    <a:pt x="53" y="445"/>
                    <a:pt x="53" y="445"/>
                    <a:pt x="53" y="445"/>
                  </a:cubicBezTo>
                  <a:cubicBezTo>
                    <a:pt x="54" y="445"/>
                    <a:pt x="54" y="445"/>
                    <a:pt x="54" y="445"/>
                  </a:cubicBezTo>
                  <a:cubicBezTo>
                    <a:pt x="53" y="445"/>
                    <a:pt x="53" y="445"/>
                    <a:pt x="53" y="445"/>
                  </a:cubicBezTo>
                  <a:cubicBezTo>
                    <a:pt x="53" y="445"/>
                    <a:pt x="53" y="445"/>
                    <a:pt x="53" y="445"/>
                  </a:cubicBezTo>
                  <a:cubicBezTo>
                    <a:pt x="54" y="447"/>
                    <a:pt x="56" y="450"/>
                    <a:pt x="57" y="452"/>
                  </a:cubicBezTo>
                  <a:cubicBezTo>
                    <a:pt x="58" y="453"/>
                    <a:pt x="58" y="453"/>
                    <a:pt x="60" y="450"/>
                  </a:cubicBezTo>
                  <a:cubicBezTo>
                    <a:pt x="60" y="449"/>
                    <a:pt x="61" y="448"/>
                    <a:pt x="61" y="448"/>
                  </a:cubicBezTo>
                  <a:cubicBezTo>
                    <a:pt x="66" y="447"/>
                    <a:pt x="71" y="445"/>
                    <a:pt x="76" y="445"/>
                  </a:cubicBezTo>
                  <a:cubicBezTo>
                    <a:pt x="78" y="445"/>
                    <a:pt x="80" y="446"/>
                    <a:pt x="82" y="445"/>
                  </a:cubicBezTo>
                  <a:cubicBezTo>
                    <a:pt x="84" y="442"/>
                    <a:pt x="87" y="442"/>
                    <a:pt x="90" y="440"/>
                  </a:cubicBezTo>
                  <a:cubicBezTo>
                    <a:pt x="95" y="438"/>
                    <a:pt x="101" y="437"/>
                    <a:pt x="103" y="432"/>
                  </a:cubicBezTo>
                  <a:cubicBezTo>
                    <a:pt x="107" y="430"/>
                    <a:pt x="111" y="427"/>
                    <a:pt x="114" y="426"/>
                  </a:cubicBezTo>
                  <a:cubicBezTo>
                    <a:pt x="116" y="425"/>
                    <a:pt x="118" y="426"/>
                    <a:pt x="119" y="426"/>
                  </a:cubicBezTo>
                  <a:cubicBezTo>
                    <a:pt x="120" y="425"/>
                    <a:pt x="121" y="423"/>
                    <a:pt x="122" y="423"/>
                  </a:cubicBezTo>
                  <a:cubicBezTo>
                    <a:pt x="125" y="422"/>
                    <a:pt x="129" y="419"/>
                    <a:pt x="132" y="418"/>
                  </a:cubicBezTo>
                  <a:cubicBezTo>
                    <a:pt x="136" y="417"/>
                    <a:pt x="139" y="415"/>
                    <a:pt x="140" y="411"/>
                  </a:cubicBezTo>
                  <a:cubicBezTo>
                    <a:pt x="141" y="410"/>
                    <a:pt x="142" y="408"/>
                    <a:pt x="143" y="408"/>
                  </a:cubicBezTo>
                  <a:cubicBezTo>
                    <a:pt x="151" y="403"/>
                    <a:pt x="158" y="399"/>
                    <a:pt x="167" y="397"/>
                  </a:cubicBezTo>
                  <a:cubicBezTo>
                    <a:pt x="173" y="395"/>
                    <a:pt x="178" y="393"/>
                    <a:pt x="181" y="388"/>
                  </a:cubicBezTo>
                  <a:cubicBezTo>
                    <a:pt x="183" y="386"/>
                    <a:pt x="186" y="384"/>
                    <a:pt x="188" y="383"/>
                  </a:cubicBezTo>
                  <a:cubicBezTo>
                    <a:pt x="190" y="382"/>
                    <a:pt x="192" y="381"/>
                    <a:pt x="194" y="380"/>
                  </a:cubicBezTo>
                  <a:cubicBezTo>
                    <a:pt x="197" y="378"/>
                    <a:pt x="198" y="375"/>
                    <a:pt x="196" y="372"/>
                  </a:cubicBezTo>
                  <a:cubicBezTo>
                    <a:pt x="196" y="371"/>
                    <a:pt x="195" y="369"/>
                    <a:pt x="194" y="368"/>
                  </a:cubicBezTo>
                  <a:cubicBezTo>
                    <a:pt x="193" y="366"/>
                    <a:pt x="193" y="364"/>
                    <a:pt x="195" y="362"/>
                  </a:cubicBezTo>
                  <a:cubicBezTo>
                    <a:pt x="198" y="359"/>
                    <a:pt x="202" y="357"/>
                    <a:pt x="207" y="358"/>
                  </a:cubicBezTo>
                  <a:cubicBezTo>
                    <a:pt x="210" y="359"/>
                    <a:pt x="212" y="358"/>
                    <a:pt x="214" y="357"/>
                  </a:cubicBezTo>
                  <a:cubicBezTo>
                    <a:pt x="217" y="354"/>
                    <a:pt x="221" y="352"/>
                    <a:pt x="222" y="347"/>
                  </a:cubicBezTo>
                  <a:cubicBezTo>
                    <a:pt x="223" y="345"/>
                    <a:pt x="226" y="343"/>
                    <a:pt x="229" y="343"/>
                  </a:cubicBezTo>
                  <a:cubicBezTo>
                    <a:pt x="231" y="343"/>
                    <a:pt x="233" y="342"/>
                    <a:pt x="234" y="340"/>
                  </a:cubicBezTo>
                  <a:cubicBezTo>
                    <a:pt x="240" y="331"/>
                    <a:pt x="250" y="328"/>
                    <a:pt x="259" y="323"/>
                  </a:cubicBezTo>
                  <a:cubicBezTo>
                    <a:pt x="262" y="322"/>
                    <a:pt x="266" y="325"/>
                    <a:pt x="266" y="328"/>
                  </a:cubicBezTo>
                  <a:cubicBezTo>
                    <a:pt x="266" y="330"/>
                    <a:pt x="266" y="331"/>
                    <a:pt x="266" y="333"/>
                  </a:cubicBezTo>
                  <a:cubicBezTo>
                    <a:pt x="266" y="333"/>
                    <a:pt x="264" y="334"/>
                    <a:pt x="264" y="334"/>
                  </a:cubicBezTo>
                  <a:cubicBezTo>
                    <a:pt x="257" y="331"/>
                    <a:pt x="251" y="331"/>
                    <a:pt x="245" y="335"/>
                  </a:cubicBezTo>
                  <a:cubicBezTo>
                    <a:pt x="244" y="336"/>
                    <a:pt x="242" y="337"/>
                    <a:pt x="242" y="338"/>
                  </a:cubicBezTo>
                  <a:cubicBezTo>
                    <a:pt x="239" y="346"/>
                    <a:pt x="233" y="351"/>
                    <a:pt x="227" y="357"/>
                  </a:cubicBezTo>
                  <a:cubicBezTo>
                    <a:pt x="225" y="359"/>
                    <a:pt x="225" y="362"/>
                    <a:pt x="227" y="364"/>
                  </a:cubicBezTo>
                  <a:cubicBezTo>
                    <a:pt x="228" y="365"/>
                    <a:pt x="229" y="365"/>
                    <a:pt x="227" y="366"/>
                  </a:cubicBezTo>
                  <a:cubicBezTo>
                    <a:pt x="224" y="368"/>
                    <a:pt x="221" y="369"/>
                    <a:pt x="218" y="370"/>
                  </a:cubicBezTo>
                  <a:cubicBezTo>
                    <a:pt x="217" y="371"/>
                    <a:pt x="217" y="373"/>
                    <a:pt x="217" y="375"/>
                  </a:cubicBezTo>
                  <a:cubicBezTo>
                    <a:pt x="218" y="376"/>
                    <a:pt x="220" y="377"/>
                    <a:pt x="221" y="377"/>
                  </a:cubicBezTo>
                  <a:cubicBezTo>
                    <a:pt x="224" y="377"/>
                    <a:pt x="227" y="377"/>
                    <a:pt x="229" y="376"/>
                  </a:cubicBezTo>
                  <a:cubicBezTo>
                    <a:pt x="234" y="373"/>
                    <a:pt x="239" y="371"/>
                    <a:pt x="244" y="370"/>
                  </a:cubicBezTo>
                  <a:cubicBezTo>
                    <a:pt x="246" y="369"/>
                    <a:pt x="248" y="369"/>
                    <a:pt x="250" y="368"/>
                  </a:cubicBezTo>
                  <a:cubicBezTo>
                    <a:pt x="255" y="365"/>
                    <a:pt x="260" y="363"/>
                    <a:pt x="266" y="364"/>
                  </a:cubicBezTo>
                  <a:cubicBezTo>
                    <a:pt x="267" y="364"/>
                    <a:pt x="269" y="363"/>
                    <a:pt x="270" y="362"/>
                  </a:cubicBezTo>
                  <a:cubicBezTo>
                    <a:pt x="273" y="361"/>
                    <a:pt x="275" y="359"/>
                    <a:pt x="276" y="357"/>
                  </a:cubicBezTo>
                  <a:cubicBezTo>
                    <a:pt x="278" y="355"/>
                    <a:pt x="280" y="356"/>
                    <a:pt x="281" y="357"/>
                  </a:cubicBezTo>
                  <a:cubicBezTo>
                    <a:pt x="283" y="357"/>
                    <a:pt x="284" y="357"/>
                    <a:pt x="285" y="357"/>
                  </a:cubicBezTo>
                  <a:cubicBezTo>
                    <a:pt x="286" y="355"/>
                    <a:pt x="286" y="353"/>
                    <a:pt x="284" y="351"/>
                  </a:cubicBezTo>
                  <a:cubicBezTo>
                    <a:pt x="282" y="350"/>
                    <a:pt x="281" y="348"/>
                    <a:pt x="280" y="346"/>
                  </a:cubicBezTo>
                  <a:cubicBezTo>
                    <a:pt x="279" y="343"/>
                    <a:pt x="280" y="340"/>
                    <a:pt x="283" y="338"/>
                  </a:cubicBezTo>
                  <a:cubicBezTo>
                    <a:pt x="284" y="336"/>
                    <a:pt x="286" y="336"/>
                    <a:pt x="286" y="338"/>
                  </a:cubicBezTo>
                  <a:cubicBezTo>
                    <a:pt x="288" y="341"/>
                    <a:pt x="289" y="343"/>
                    <a:pt x="293" y="343"/>
                  </a:cubicBezTo>
                  <a:cubicBezTo>
                    <a:pt x="296" y="342"/>
                    <a:pt x="299" y="342"/>
                    <a:pt x="301" y="342"/>
                  </a:cubicBezTo>
                  <a:cubicBezTo>
                    <a:pt x="301" y="342"/>
                    <a:pt x="301" y="342"/>
                    <a:pt x="301" y="342"/>
                  </a:cubicBezTo>
                  <a:cubicBezTo>
                    <a:pt x="302" y="341"/>
                    <a:pt x="302" y="341"/>
                    <a:pt x="302" y="341"/>
                  </a:cubicBezTo>
                  <a:cubicBezTo>
                    <a:pt x="301" y="342"/>
                    <a:pt x="301" y="342"/>
                    <a:pt x="301" y="342"/>
                  </a:cubicBezTo>
                  <a:cubicBezTo>
                    <a:pt x="301" y="342"/>
                    <a:pt x="301" y="342"/>
                    <a:pt x="301" y="342"/>
                  </a:cubicBezTo>
                  <a:cubicBezTo>
                    <a:pt x="301" y="343"/>
                    <a:pt x="301" y="345"/>
                    <a:pt x="301" y="346"/>
                  </a:cubicBezTo>
                  <a:cubicBezTo>
                    <a:pt x="303" y="352"/>
                    <a:pt x="305" y="357"/>
                    <a:pt x="312" y="359"/>
                  </a:cubicBezTo>
                  <a:cubicBezTo>
                    <a:pt x="316" y="360"/>
                    <a:pt x="318" y="364"/>
                    <a:pt x="320" y="367"/>
                  </a:cubicBezTo>
                  <a:cubicBezTo>
                    <a:pt x="320" y="368"/>
                    <a:pt x="321" y="370"/>
                    <a:pt x="321" y="371"/>
                  </a:cubicBezTo>
                  <a:cubicBezTo>
                    <a:pt x="323" y="373"/>
                    <a:pt x="324" y="374"/>
                    <a:pt x="327" y="375"/>
                  </a:cubicBezTo>
                  <a:cubicBezTo>
                    <a:pt x="329" y="375"/>
                    <a:pt x="331" y="375"/>
                    <a:pt x="333" y="375"/>
                  </a:cubicBezTo>
                  <a:cubicBezTo>
                    <a:pt x="338" y="375"/>
                    <a:pt x="343" y="377"/>
                    <a:pt x="347" y="380"/>
                  </a:cubicBezTo>
                  <a:cubicBezTo>
                    <a:pt x="348" y="381"/>
                    <a:pt x="349" y="382"/>
                    <a:pt x="351" y="383"/>
                  </a:cubicBezTo>
                  <a:cubicBezTo>
                    <a:pt x="351" y="383"/>
                    <a:pt x="351" y="382"/>
                    <a:pt x="351" y="382"/>
                  </a:cubicBezTo>
                  <a:cubicBezTo>
                    <a:pt x="351" y="382"/>
                    <a:pt x="351" y="382"/>
                    <a:pt x="351" y="382"/>
                  </a:cubicBezTo>
                  <a:cubicBezTo>
                    <a:pt x="351" y="383"/>
                    <a:pt x="351" y="383"/>
                    <a:pt x="351" y="383"/>
                  </a:cubicBezTo>
                  <a:cubicBezTo>
                    <a:pt x="351" y="383"/>
                    <a:pt x="351" y="383"/>
                    <a:pt x="351" y="383"/>
                  </a:cubicBezTo>
                  <a:cubicBezTo>
                    <a:pt x="352" y="384"/>
                    <a:pt x="353" y="385"/>
                    <a:pt x="354" y="386"/>
                  </a:cubicBezTo>
                  <a:cubicBezTo>
                    <a:pt x="357" y="390"/>
                    <a:pt x="361" y="392"/>
                    <a:pt x="367" y="391"/>
                  </a:cubicBezTo>
                  <a:cubicBezTo>
                    <a:pt x="367" y="390"/>
                    <a:pt x="368" y="391"/>
                    <a:pt x="368" y="391"/>
                  </a:cubicBezTo>
                  <a:cubicBezTo>
                    <a:pt x="370" y="391"/>
                    <a:pt x="370" y="393"/>
                    <a:pt x="369" y="393"/>
                  </a:cubicBezTo>
                  <a:cubicBezTo>
                    <a:pt x="366" y="397"/>
                    <a:pt x="366" y="400"/>
                    <a:pt x="369" y="403"/>
                  </a:cubicBezTo>
                  <a:cubicBezTo>
                    <a:pt x="371" y="404"/>
                    <a:pt x="372" y="406"/>
                    <a:pt x="374" y="407"/>
                  </a:cubicBezTo>
                  <a:cubicBezTo>
                    <a:pt x="376" y="409"/>
                    <a:pt x="378" y="410"/>
                    <a:pt x="378" y="413"/>
                  </a:cubicBezTo>
                  <a:cubicBezTo>
                    <a:pt x="378" y="415"/>
                    <a:pt x="379" y="417"/>
                    <a:pt x="379" y="419"/>
                  </a:cubicBezTo>
                  <a:cubicBezTo>
                    <a:pt x="380" y="424"/>
                    <a:pt x="382" y="428"/>
                    <a:pt x="386" y="431"/>
                  </a:cubicBezTo>
                  <a:cubicBezTo>
                    <a:pt x="387" y="433"/>
                    <a:pt x="390" y="434"/>
                    <a:pt x="393" y="434"/>
                  </a:cubicBezTo>
                  <a:cubicBezTo>
                    <a:pt x="395" y="434"/>
                    <a:pt x="397" y="432"/>
                    <a:pt x="397" y="430"/>
                  </a:cubicBezTo>
                  <a:cubicBezTo>
                    <a:pt x="396" y="428"/>
                    <a:pt x="396" y="427"/>
                    <a:pt x="395" y="425"/>
                  </a:cubicBezTo>
                  <a:cubicBezTo>
                    <a:pt x="395" y="425"/>
                    <a:pt x="395" y="424"/>
                    <a:pt x="395" y="424"/>
                  </a:cubicBezTo>
                  <a:cubicBezTo>
                    <a:pt x="396" y="423"/>
                    <a:pt x="397" y="423"/>
                    <a:pt x="397" y="425"/>
                  </a:cubicBezTo>
                  <a:cubicBezTo>
                    <a:pt x="398" y="426"/>
                    <a:pt x="399" y="428"/>
                    <a:pt x="400" y="430"/>
                  </a:cubicBezTo>
                  <a:cubicBezTo>
                    <a:pt x="400" y="434"/>
                    <a:pt x="402" y="436"/>
                    <a:pt x="404" y="438"/>
                  </a:cubicBezTo>
                  <a:cubicBezTo>
                    <a:pt x="404" y="439"/>
                    <a:pt x="405" y="439"/>
                    <a:pt x="404" y="440"/>
                  </a:cubicBezTo>
                  <a:cubicBezTo>
                    <a:pt x="404" y="441"/>
                    <a:pt x="403" y="441"/>
                    <a:pt x="402" y="440"/>
                  </a:cubicBezTo>
                  <a:cubicBezTo>
                    <a:pt x="401" y="440"/>
                    <a:pt x="400" y="439"/>
                    <a:pt x="399" y="439"/>
                  </a:cubicBezTo>
                  <a:cubicBezTo>
                    <a:pt x="395" y="438"/>
                    <a:pt x="392" y="439"/>
                    <a:pt x="391" y="442"/>
                  </a:cubicBezTo>
                  <a:cubicBezTo>
                    <a:pt x="389" y="445"/>
                    <a:pt x="388" y="448"/>
                    <a:pt x="389" y="451"/>
                  </a:cubicBezTo>
                  <a:cubicBezTo>
                    <a:pt x="389" y="454"/>
                    <a:pt x="390" y="457"/>
                    <a:pt x="390" y="460"/>
                  </a:cubicBezTo>
                  <a:cubicBezTo>
                    <a:pt x="390" y="460"/>
                    <a:pt x="390" y="460"/>
                    <a:pt x="390" y="460"/>
                  </a:cubicBezTo>
                  <a:cubicBezTo>
                    <a:pt x="390" y="460"/>
                    <a:pt x="390" y="461"/>
                    <a:pt x="390" y="461"/>
                  </a:cubicBezTo>
                  <a:cubicBezTo>
                    <a:pt x="390" y="461"/>
                    <a:pt x="390" y="461"/>
                    <a:pt x="390" y="461"/>
                  </a:cubicBezTo>
                  <a:cubicBezTo>
                    <a:pt x="392" y="463"/>
                    <a:pt x="394" y="466"/>
                    <a:pt x="392" y="469"/>
                  </a:cubicBezTo>
                  <a:cubicBezTo>
                    <a:pt x="391" y="474"/>
                    <a:pt x="390" y="479"/>
                    <a:pt x="391" y="484"/>
                  </a:cubicBezTo>
                  <a:cubicBezTo>
                    <a:pt x="391" y="485"/>
                    <a:pt x="391" y="485"/>
                    <a:pt x="392" y="485"/>
                  </a:cubicBezTo>
                  <a:cubicBezTo>
                    <a:pt x="393" y="485"/>
                    <a:pt x="394" y="485"/>
                    <a:pt x="394" y="484"/>
                  </a:cubicBezTo>
                  <a:cubicBezTo>
                    <a:pt x="396" y="481"/>
                    <a:pt x="398" y="478"/>
                    <a:pt x="400" y="474"/>
                  </a:cubicBezTo>
                  <a:cubicBezTo>
                    <a:pt x="400" y="474"/>
                    <a:pt x="400" y="473"/>
                    <a:pt x="400" y="473"/>
                  </a:cubicBezTo>
                  <a:cubicBezTo>
                    <a:pt x="400" y="473"/>
                    <a:pt x="401" y="473"/>
                    <a:pt x="401" y="473"/>
                  </a:cubicBezTo>
                  <a:cubicBezTo>
                    <a:pt x="402" y="471"/>
                    <a:pt x="405" y="470"/>
                    <a:pt x="407" y="471"/>
                  </a:cubicBezTo>
                  <a:cubicBezTo>
                    <a:pt x="407" y="470"/>
                    <a:pt x="407" y="470"/>
                    <a:pt x="407" y="470"/>
                  </a:cubicBezTo>
                  <a:cubicBezTo>
                    <a:pt x="407" y="470"/>
                    <a:pt x="408" y="470"/>
                    <a:pt x="408" y="470"/>
                  </a:cubicBezTo>
                  <a:cubicBezTo>
                    <a:pt x="408" y="470"/>
                    <a:pt x="408" y="469"/>
                    <a:pt x="408" y="469"/>
                  </a:cubicBezTo>
                  <a:cubicBezTo>
                    <a:pt x="412" y="463"/>
                    <a:pt x="417" y="458"/>
                    <a:pt x="419" y="451"/>
                  </a:cubicBezTo>
                  <a:cubicBezTo>
                    <a:pt x="420" y="450"/>
                    <a:pt x="421" y="450"/>
                    <a:pt x="422" y="450"/>
                  </a:cubicBezTo>
                  <a:cubicBezTo>
                    <a:pt x="422" y="450"/>
                    <a:pt x="423" y="451"/>
                    <a:pt x="423" y="452"/>
                  </a:cubicBezTo>
                  <a:cubicBezTo>
                    <a:pt x="423" y="453"/>
                    <a:pt x="423" y="455"/>
                    <a:pt x="423" y="456"/>
                  </a:cubicBezTo>
                  <a:cubicBezTo>
                    <a:pt x="421" y="459"/>
                    <a:pt x="420" y="463"/>
                    <a:pt x="419" y="466"/>
                  </a:cubicBezTo>
                  <a:cubicBezTo>
                    <a:pt x="417" y="469"/>
                    <a:pt x="419" y="471"/>
                    <a:pt x="420" y="472"/>
                  </a:cubicBezTo>
                  <a:cubicBezTo>
                    <a:pt x="421" y="472"/>
                    <a:pt x="421" y="473"/>
                    <a:pt x="421" y="473"/>
                  </a:cubicBezTo>
                  <a:cubicBezTo>
                    <a:pt x="421" y="473"/>
                    <a:pt x="421" y="473"/>
                    <a:pt x="421" y="474"/>
                  </a:cubicBezTo>
                  <a:cubicBezTo>
                    <a:pt x="422" y="475"/>
                    <a:pt x="423" y="477"/>
                    <a:pt x="423" y="479"/>
                  </a:cubicBezTo>
                  <a:cubicBezTo>
                    <a:pt x="423" y="479"/>
                    <a:pt x="424" y="479"/>
                    <a:pt x="424" y="479"/>
                  </a:cubicBezTo>
                  <a:cubicBezTo>
                    <a:pt x="424" y="480"/>
                    <a:pt x="424" y="480"/>
                    <a:pt x="424" y="480"/>
                  </a:cubicBezTo>
                  <a:cubicBezTo>
                    <a:pt x="423" y="480"/>
                    <a:pt x="423" y="480"/>
                    <a:pt x="423" y="480"/>
                  </a:cubicBezTo>
                  <a:cubicBezTo>
                    <a:pt x="423" y="479"/>
                    <a:pt x="423" y="479"/>
                    <a:pt x="423" y="479"/>
                  </a:cubicBezTo>
                  <a:cubicBezTo>
                    <a:pt x="421" y="478"/>
                    <a:pt x="421" y="476"/>
                    <a:pt x="421" y="474"/>
                  </a:cubicBezTo>
                  <a:cubicBezTo>
                    <a:pt x="421" y="473"/>
                    <a:pt x="421" y="473"/>
                    <a:pt x="421" y="473"/>
                  </a:cubicBezTo>
                  <a:cubicBezTo>
                    <a:pt x="421" y="473"/>
                    <a:pt x="420" y="473"/>
                    <a:pt x="420" y="472"/>
                  </a:cubicBezTo>
                  <a:cubicBezTo>
                    <a:pt x="418" y="472"/>
                    <a:pt x="417" y="472"/>
                    <a:pt x="415" y="471"/>
                  </a:cubicBezTo>
                  <a:cubicBezTo>
                    <a:pt x="413" y="470"/>
                    <a:pt x="410" y="470"/>
                    <a:pt x="408" y="470"/>
                  </a:cubicBezTo>
                  <a:cubicBezTo>
                    <a:pt x="408" y="470"/>
                    <a:pt x="408" y="470"/>
                    <a:pt x="408" y="471"/>
                  </a:cubicBezTo>
                  <a:cubicBezTo>
                    <a:pt x="407" y="470"/>
                    <a:pt x="407" y="471"/>
                    <a:pt x="407" y="471"/>
                  </a:cubicBezTo>
                  <a:cubicBezTo>
                    <a:pt x="405" y="473"/>
                    <a:pt x="403" y="473"/>
                    <a:pt x="401" y="473"/>
                  </a:cubicBezTo>
                  <a:cubicBezTo>
                    <a:pt x="401" y="473"/>
                    <a:pt x="401" y="473"/>
                    <a:pt x="400" y="473"/>
                  </a:cubicBezTo>
                  <a:cubicBezTo>
                    <a:pt x="400" y="474"/>
                    <a:pt x="400" y="474"/>
                    <a:pt x="400" y="474"/>
                  </a:cubicBezTo>
                  <a:cubicBezTo>
                    <a:pt x="399" y="479"/>
                    <a:pt x="400" y="483"/>
                    <a:pt x="398" y="488"/>
                  </a:cubicBezTo>
                  <a:cubicBezTo>
                    <a:pt x="397" y="489"/>
                    <a:pt x="399" y="491"/>
                    <a:pt x="401" y="492"/>
                  </a:cubicBezTo>
                  <a:cubicBezTo>
                    <a:pt x="402" y="492"/>
                    <a:pt x="403" y="492"/>
                    <a:pt x="404" y="493"/>
                  </a:cubicBezTo>
                  <a:cubicBezTo>
                    <a:pt x="404" y="492"/>
                    <a:pt x="404" y="492"/>
                    <a:pt x="404" y="492"/>
                  </a:cubicBezTo>
                  <a:cubicBezTo>
                    <a:pt x="404" y="492"/>
                    <a:pt x="404" y="492"/>
                    <a:pt x="405" y="491"/>
                  </a:cubicBezTo>
                  <a:cubicBezTo>
                    <a:pt x="405" y="491"/>
                    <a:pt x="405" y="490"/>
                    <a:pt x="406" y="489"/>
                  </a:cubicBezTo>
                  <a:cubicBezTo>
                    <a:pt x="406" y="490"/>
                    <a:pt x="406" y="490"/>
                    <a:pt x="406" y="490"/>
                  </a:cubicBezTo>
                  <a:cubicBezTo>
                    <a:pt x="405" y="491"/>
                    <a:pt x="405" y="491"/>
                    <a:pt x="405" y="491"/>
                  </a:cubicBezTo>
                  <a:cubicBezTo>
                    <a:pt x="404" y="492"/>
                    <a:pt x="404" y="492"/>
                    <a:pt x="404" y="493"/>
                  </a:cubicBezTo>
                  <a:cubicBezTo>
                    <a:pt x="404" y="493"/>
                    <a:pt x="404" y="493"/>
                    <a:pt x="404" y="493"/>
                  </a:cubicBezTo>
                  <a:cubicBezTo>
                    <a:pt x="403" y="494"/>
                    <a:pt x="403" y="496"/>
                    <a:pt x="403" y="497"/>
                  </a:cubicBezTo>
                  <a:cubicBezTo>
                    <a:pt x="405" y="499"/>
                    <a:pt x="406" y="501"/>
                    <a:pt x="405" y="504"/>
                  </a:cubicBezTo>
                  <a:cubicBezTo>
                    <a:pt x="404" y="506"/>
                    <a:pt x="404" y="508"/>
                    <a:pt x="403" y="510"/>
                  </a:cubicBezTo>
                  <a:cubicBezTo>
                    <a:pt x="403" y="511"/>
                    <a:pt x="403" y="513"/>
                    <a:pt x="403" y="514"/>
                  </a:cubicBezTo>
                  <a:cubicBezTo>
                    <a:pt x="406" y="518"/>
                    <a:pt x="405" y="522"/>
                    <a:pt x="407" y="526"/>
                  </a:cubicBezTo>
                  <a:cubicBezTo>
                    <a:pt x="408" y="526"/>
                    <a:pt x="409" y="527"/>
                    <a:pt x="410" y="527"/>
                  </a:cubicBezTo>
                  <a:cubicBezTo>
                    <a:pt x="411" y="527"/>
                    <a:pt x="412" y="526"/>
                    <a:pt x="413" y="525"/>
                  </a:cubicBezTo>
                  <a:cubicBezTo>
                    <a:pt x="415" y="521"/>
                    <a:pt x="417" y="516"/>
                    <a:pt x="417" y="511"/>
                  </a:cubicBezTo>
                  <a:cubicBezTo>
                    <a:pt x="417" y="511"/>
                    <a:pt x="417" y="511"/>
                    <a:pt x="417" y="511"/>
                  </a:cubicBezTo>
                  <a:cubicBezTo>
                    <a:pt x="417" y="511"/>
                    <a:pt x="417" y="511"/>
                    <a:pt x="417" y="510"/>
                  </a:cubicBezTo>
                  <a:cubicBezTo>
                    <a:pt x="416" y="510"/>
                    <a:pt x="416" y="510"/>
                    <a:pt x="416" y="510"/>
                  </a:cubicBezTo>
                  <a:cubicBezTo>
                    <a:pt x="416" y="510"/>
                    <a:pt x="417" y="510"/>
                    <a:pt x="417" y="510"/>
                  </a:cubicBezTo>
                  <a:cubicBezTo>
                    <a:pt x="417" y="510"/>
                    <a:pt x="417" y="510"/>
                    <a:pt x="417" y="510"/>
                  </a:cubicBezTo>
                  <a:cubicBezTo>
                    <a:pt x="417" y="511"/>
                    <a:pt x="417" y="511"/>
                    <a:pt x="417" y="511"/>
                  </a:cubicBezTo>
                  <a:cubicBezTo>
                    <a:pt x="417" y="511"/>
                    <a:pt x="417" y="511"/>
                    <a:pt x="417" y="511"/>
                  </a:cubicBezTo>
                  <a:cubicBezTo>
                    <a:pt x="418" y="511"/>
                    <a:pt x="419" y="511"/>
                    <a:pt x="420" y="511"/>
                  </a:cubicBezTo>
                  <a:cubicBezTo>
                    <a:pt x="420" y="511"/>
                    <a:pt x="420" y="511"/>
                    <a:pt x="420" y="511"/>
                  </a:cubicBezTo>
                  <a:cubicBezTo>
                    <a:pt x="420" y="511"/>
                    <a:pt x="421" y="510"/>
                    <a:pt x="421" y="510"/>
                  </a:cubicBezTo>
                  <a:cubicBezTo>
                    <a:pt x="421" y="511"/>
                    <a:pt x="421" y="511"/>
                    <a:pt x="421" y="511"/>
                  </a:cubicBezTo>
                  <a:cubicBezTo>
                    <a:pt x="420" y="511"/>
                    <a:pt x="420" y="511"/>
                    <a:pt x="420" y="511"/>
                  </a:cubicBezTo>
                  <a:cubicBezTo>
                    <a:pt x="422" y="513"/>
                    <a:pt x="423" y="515"/>
                    <a:pt x="424" y="517"/>
                  </a:cubicBezTo>
                  <a:cubicBezTo>
                    <a:pt x="424" y="517"/>
                    <a:pt x="424" y="517"/>
                    <a:pt x="424" y="516"/>
                  </a:cubicBezTo>
                  <a:cubicBezTo>
                    <a:pt x="424" y="517"/>
                    <a:pt x="424" y="517"/>
                    <a:pt x="424" y="518"/>
                  </a:cubicBezTo>
                  <a:cubicBezTo>
                    <a:pt x="425" y="518"/>
                    <a:pt x="425" y="519"/>
                    <a:pt x="425" y="520"/>
                  </a:cubicBezTo>
                  <a:cubicBezTo>
                    <a:pt x="425" y="521"/>
                    <a:pt x="425" y="521"/>
                    <a:pt x="424" y="520"/>
                  </a:cubicBezTo>
                  <a:cubicBezTo>
                    <a:pt x="424" y="519"/>
                    <a:pt x="424" y="518"/>
                    <a:pt x="424" y="518"/>
                  </a:cubicBezTo>
                  <a:cubicBezTo>
                    <a:pt x="424" y="518"/>
                    <a:pt x="424" y="518"/>
                    <a:pt x="424" y="518"/>
                  </a:cubicBezTo>
                  <a:cubicBezTo>
                    <a:pt x="424" y="517"/>
                    <a:pt x="424" y="517"/>
                    <a:pt x="424" y="517"/>
                  </a:cubicBezTo>
                  <a:cubicBezTo>
                    <a:pt x="424" y="517"/>
                    <a:pt x="424" y="517"/>
                    <a:pt x="424" y="517"/>
                  </a:cubicBezTo>
                  <a:cubicBezTo>
                    <a:pt x="421" y="518"/>
                    <a:pt x="421" y="520"/>
                    <a:pt x="421" y="523"/>
                  </a:cubicBezTo>
                  <a:cubicBezTo>
                    <a:pt x="422" y="525"/>
                    <a:pt x="423" y="527"/>
                    <a:pt x="425" y="528"/>
                  </a:cubicBezTo>
                  <a:cubicBezTo>
                    <a:pt x="427" y="528"/>
                    <a:pt x="428" y="528"/>
                    <a:pt x="430" y="529"/>
                  </a:cubicBezTo>
                  <a:cubicBezTo>
                    <a:pt x="432" y="529"/>
                    <a:pt x="433" y="531"/>
                    <a:pt x="431" y="532"/>
                  </a:cubicBezTo>
                  <a:cubicBezTo>
                    <a:pt x="428" y="535"/>
                    <a:pt x="426" y="538"/>
                    <a:pt x="426" y="543"/>
                  </a:cubicBezTo>
                  <a:cubicBezTo>
                    <a:pt x="426" y="545"/>
                    <a:pt x="424" y="545"/>
                    <a:pt x="422" y="545"/>
                  </a:cubicBezTo>
                  <a:cubicBezTo>
                    <a:pt x="420" y="546"/>
                    <a:pt x="420" y="547"/>
                    <a:pt x="421" y="549"/>
                  </a:cubicBezTo>
                  <a:cubicBezTo>
                    <a:pt x="425" y="553"/>
                    <a:pt x="425" y="554"/>
                    <a:pt x="420" y="556"/>
                  </a:cubicBezTo>
                  <a:cubicBezTo>
                    <a:pt x="419" y="557"/>
                    <a:pt x="418" y="557"/>
                    <a:pt x="418" y="558"/>
                  </a:cubicBezTo>
                  <a:cubicBezTo>
                    <a:pt x="419" y="562"/>
                    <a:pt x="422" y="564"/>
                    <a:pt x="425" y="563"/>
                  </a:cubicBezTo>
                  <a:cubicBezTo>
                    <a:pt x="429" y="562"/>
                    <a:pt x="432" y="561"/>
                    <a:pt x="436" y="561"/>
                  </a:cubicBezTo>
                  <a:cubicBezTo>
                    <a:pt x="437" y="561"/>
                    <a:pt x="437" y="561"/>
                    <a:pt x="438" y="561"/>
                  </a:cubicBezTo>
                  <a:cubicBezTo>
                    <a:pt x="438" y="562"/>
                    <a:pt x="438" y="563"/>
                    <a:pt x="437" y="564"/>
                  </a:cubicBezTo>
                  <a:cubicBezTo>
                    <a:pt x="436" y="565"/>
                    <a:pt x="434" y="567"/>
                    <a:pt x="433" y="568"/>
                  </a:cubicBezTo>
                  <a:cubicBezTo>
                    <a:pt x="429" y="571"/>
                    <a:pt x="428" y="574"/>
                    <a:pt x="428" y="578"/>
                  </a:cubicBezTo>
                  <a:cubicBezTo>
                    <a:pt x="428" y="579"/>
                    <a:pt x="430" y="579"/>
                    <a:pt x="430" y="580"/>
                  </a:cubicBezTo>
                  <a:cubicBezTo>
                    <a:pt x="430" y="580"/>
                    <a:pt x="430" y="580"/>
                    <a:pt x="430" y="580"/>
                  </a:cubicBezTo>
                  <a:cubicBezTo>
                    <a:pt x="430" y="580"/>
                    <a:pt x="430" y="580"/>
                    <a:pt x="430" y="580"/>
                  </a:cubicBezTo>
                  <a:cubicBezTo>
                    <a:pt x="430" y="580"/>
                    <a:pt x="430" y="580"/>
                    <a:pt x="431" y="580"/>
                  </a:cubicBezTo>
                  <a:cubicBezTo>
                    <a:pt x="431" y="579"/>
                    <a:pt x="431" y="579"/>
                    <a:pt x="431" y="579"/>
                  </a:cubicBezTo>
                  <a:cubicBezTo>
                    <a:pt x="432" y="579"/>
                    <a:pt x="431" y="580"/>
                    <a:pt x="431" y="580"/>
                  </a:cubicBezTo>
                  <a:cubicBezTo>
                    <a:pt x="431" y="580"/>
                    <a:pt x="430" y="580"/>
                    <a:pt x="430" y="580"/>
                  </a:cubicBezTo>
                  <a:cubicBezTo>
                    <a:pt x="433" y="583"/>
                    <a:pt x="436" y="586"/>
                    <a:pt x="438" y="588"/>
                  </a:cubicBezTo>
                  <a:cubicBezTo>
                    <a:pt x="440" y="590"/>
                    <a:pt x="440" y="592"/>
                    <a:pt x="440" y="594"/>
                  </a:cubicBezTo>
                  <a:cubicBezTo>
                    <a:pt x="439" y="595"/>
                    <a:pt x="438" y="597"/>
                    <a:pt x="437" y="599"/>
                  </a:cubicBezTo>
                  <a:cubicBezTo>
                    <a:pt x="437" y="599"/>
                    <a:pt x="437" y="599"/>
                    <a:pt x="437" y="599"/>
                  </a:cubicBezTo>
                  <a:cubicBezTo>
                    <a:pt x="437" y="599"/>
                    <a:pt x="437" y="599"/>
                    <a:pt x="437" y="599"/>
                  </a:cubicBezTo>
                  <a:cubicBezTo>
                    <a:pt x="437" y="599"/>
                    <a:pt x="437" y="599"/>
                    <a:pt x="437" y="599"/>
                  </a:cubicBezTo>
                  <a:cubicBezTo>
                    <a:pt x="437" y="600"/>
                    <a:pt x="436" y="602"/>
                    <a:pt x="437" y="603"/>
                  </a:cubicBezTo>
                  <a:cubicBezTo>
                    <a:pt x="438" y="606"/>
                    <a:pt x="438" y="608"/>
                    <a:pt x="436" y="611"/>
                  </a:cubicBezTo>
                  <a:cubicBezTo>
                    <a:pt x="436" y="611"/>
                    <a:pt x="435" y="611"/>
                    <a:pt x="435" y="612"/>
                  </a:cubicBezTo>
                  <a:cubicBezTo>
                    <a:pt x="440" y="621"/>
                    <a:pt x="440" y="621"/>
                    <a:pt x="440" y="621"/>
                  </a:cubicBezTo>
                  <a:cubicBezTo>
                    <a:pt x="443" y="622"/>
                    <a:pt x="446" y="624"/>
                    <a:pt x="448" y="627"/>
                  </a:cubicBezTo>
                  <a:cubicBezTo>
                    <a:pt x="450" y="629"/>
                    <a:pt x="452" y="631"/>
                    <a:pt x="455" y="632"/>
                  </a:cubicBezTo>
                  <a:cubicBezTo>
                    <a:pt x="458" y="633"/>
                    <a:pt x="460" y="634"/>
                    <a:pt x="463" y="636"/>
                  </a:cubicBezTo>
                  <a:cubicBezTo>
                    <a:pt x="464" y="636"/>
                    <a:pt x="465" y="638"/>
                    <a:pt x="465" y="639"/>
                  </a:cubicBezTo>
                  <a:cubicBezTo>
                    <a:pt x="463" y="643"/>
                    <a:pt x="463" y="646"/>
                    <a:pt x="464" y="649"/>
                  </a:cubicBezTo>
                  <a:cubicBezTo>
                    <a:pt x="464" y="650"/>
                    <a:pt x="465" y="651"/>
                    <a:pt x="466" y="652"/>
                  </a:cubicBezTo>
                  <a:cubicBezTo>
                    <a:pt x="467" y="652"/>
                    <a:pt x="467" y="652"/>
                    <a:pt x="467" y="652"/>
                  </a:cubicBezTo>
                  <a:cubicBezTo>
                    <a:pt x="467" y="652"/>
                    <a:pt x="467" y="652"/>
                    <a:pt x="467" y="652"/>
                  </a:cubicBezTo>
                  <a:cubicBezTo>
                    <a:pt x="466" y="652"/>
                    <a:pt x="466" y="652"/>
                    <a:pt x="466" y="652"/>
                  </a:cubicBezTo>
                  <a:cubicBezTo>
                    <a:pt x="466" y="652"/>
                    <a:pt x="466" y="652"/>
                    <a:pt x="466" y="652"/>
                  </a:cubicBezTo>
                  <a:cubicBezTo>
                    <a:pt x="466" y="653"/>
                    <a:pt x="467" y="654"/>
                    <a:pt x="467" y="655"/>
                  </a:cubicBezTo>
                  <a:cubicBezTo>
                    <a:pt x="468" y="655"/>
                    <a:pt x="470" y="656"/>
                    <a:pt x="471" y="656"/>
                  </a:cubicBezTo>
                  <a:cubicBezTo>
                    <a:pt x="473" y="656"/>
                    <a:pt x="475" y="657"/>
                    <a:pt x="476" y="660"/>
                  </a:cubicBezTo>
                  <a:cubicBezTo>
                    <a:pt x="477" y="663"/>
                    <a:pt x="478" y="666"/>
                    <a:pt x="480" y="670"/>
                  </a:cubicBezTo>
                  <a:cubicBezTo>
                    <a:pt x="482" y="673"/>
                    <a:pt x="481" y="676"/>
                    <a:pt x="479" y="678"/>
                  </a:cubicBezTo>
                  <a:cubicBezTo>
                    <a:pt x="479" y="679"/>
                    <a:pt x="478" y="680"/>
                    <a:pt x="477" y="681"/>
                  </a:cubicBezTo>
                  <a:cubicBezTo>
                    <a:pt x="476" y="682"/>
                    <a:pt x="474" y="683"/>
                    <a:pt x="473" y="683"/>
                  </a:cubicBezTo>
                  <a:cubicBezTo>
                    <a:pt x="468" y="681"/>
                    <a:pt x="463" y="681"/>
                    <a:pt x="460" y="677"/>
                  </a:cubicBezTo>
                  <a:cubicBezTo>
                    <a:pt x="460" y="677"/>
                    <a:pt x="460" y="677"/>
                    <a:pt x="460" y="677"/>
                  </a:cubicBezTo>
                  <a:cubicBezTo>
                    <a:pt x="460" y="677"/>
                    <a:pt x="460" y="677"/>
                    <a:pt x="460" y="677"/>
                  </a:cubicBezTo>
                  <a:cubicBezTo>
                    <a:pt x="462" y="677"/>
                    <a:pt x="463" y="678"/>
                    <a:pt x="465" y="678"/>
                  </a:cubicBezTo>
                  <a:cubicBezTo>
                    <a:pt x="468" y="678"/>
                    <a:pt x="470" y="676"/>
                    <a:pt x="470" y="673"/>
                  </a:cubicBezTo>
                  <a:cubicBezTo>
                    <a:pt x="470" y="667"/>
                    <a:pt x="469" y="661"/>
                    <a:pt x="467" y="655"/>
                  </a:cubicBezTo>
                  <a:cubicBezTo>
                    <a:pt x="464" y="654"/>
                    <a:pt x="462" y="653"/>
                    <a:pt x="461" y="651"/>
                  </a:cubicBezTo>
                  <a:cubicBezTo>
                    <a:pt x="460" y="648"/>
                    <a:pt x="459" y="646"/>
                    <a:pt x="459" y="643"/>
                  </a:cubicBezTo>
                  <a:cubicBezTo>
                    <a:pt x="457" y="637"/>
                    <a:pt x="454" y="634"/>
                    <a:pt x="448" y="632"/>
                  </a:cubicBezTo>
                  <a:cubicBezTo>
                    <a:pt x="443" y="631"/>
                    <a:pt x="440" y="629"/>
                    <a:pt x="436" y="626"/>
                  </a:cubicBezTo>
                  <a:cubicBezTo>
                    <a:pt x="434" y="625"/>
                    <a:pt x="432" y="623"/>
                    <a:pt x="430" y="622"/>
                  </a:cubicBezTo>
                  <a:cubicBezTo>
                    <a:pt x="429" y="621"/>
                    <a:pt x="427" y="621"/>
                    <a:pt x="425" y="620"/>
                  </a:cubicBezTo>
                  <a:cubicBezTo>
                    <a:pt x="424" y="620"/>
                    <a:pt x="422" y="622"/>
                    <a:pt x="422" y="623"/>
                  </a:cubicBezTo>
                  <a:cubicBezTo>
                    <a:pt x="423" y="626"/>
                    <a:pt x="424" y="629"/>
                    <a:pt x="423" y="632"/>
                  </a:cubicBezTo>
                  <a:cubicBezTo>
                    <a:pt x="423" y="634"/>
                    <a:pt x="424" y="635"/>
                    <a:pt x="425" y="637"/>
                  </a:cubicBezTo>
                  <a:cubicBezTo>
                    <a:pt x="427" y="640"/>
                    <a:pt x="430" y="642"/>
                    <a:pt x="432" y="645"/>
                  </a:cubicBezTo>
                  <a:cubicBezTo>
                    <a:pt x="439" y="654"/>
                    <a:pt x="447" y="662"/>
                    <a:pt x="453" y="671"/>
                  </a:cubicBezTo>
                  <a:cubicBezTo>
                    <a:pt x="454" y="672"/>
                    <a:pt x="456" y="673"/>
                    <a:pt x="457" y="674"/>
                  </a:cubicBezTo>
                  <a:cubicBezTo>
                    <a:pt x="457" y="674"/>
                    <a:pt x="457" y="674"/>
                    <a:pt x="457" y="674"/>
                  </a:cubicBezTo>
                  <a:cubicBezTo>
                    <a:pt x="457" y="674"/>
                    <a:pt x="457" y="674"/>
                    <a:pt x="457" y="674"/>
                  </a:cubicBezTo>
                  <a:cubicBezTo>
                    <a:pt x="453" y="676"/>
                    <a:pt x="450" y="679"/>
                    <a:pt x="450" y="684"/>
                  </a:cubicBezTo>
                  <a:cubicBezTo>
                    <a:pt x="450" y="690"/>
                    <a:pt x="449" y="697"/>
                    <a:pt x="450" y="704"/>
                  </a:cubicBezTo>
                  <a:cubicBezTo>
                    <a:pt x="450" y="712"/>
                    <a:pt x="448" y="720"/>
                    <a:pt x="445" y="728"/>
                  </a:cubicBezTo>
                  <a:cubicBezTo>
                    <a:pt x="442" y="737"/>
                    <a:pt x="438" y="745"/>
                    <a:pt x="436" y="753"/>
                  </a:cubicBezTo>
                  <a:cubicBezTo>
                    <a:pt x="434" y="761"/>
                    <a:pt x="431" y="769"/>
                    <a:pt x="426" y="776"/>
                  </a:cubicBezTo>
                  <a:cubicBezTo>
                    <a:pt x="421" y="783"/>
                    <a:pt x="420" y="790"/>
                    <a:pt x="420" y="797"/>
                  </a:cubicBezTo>
                  <a:cubicBezTo>
                    <a:pt x="420" y="799"/>
                    <a:pt x="420" y="800"/>
                    <a:pt x="420" y="802"/>
                  </a:cubicBezTo>
                  <a:cubicBezTo>
                    <a:pt x="420" y="810"/>
                    <a:pt x="419" y="818"/>
                    <a:pt x="414" y="826"/>
                  </a:cubicBezTo>
                  <a:cubicBezTo>
                    <a:pt x="412" y="828"/>
                    <a:pt x="412" y="831"/>
                    <a:pt x="413" y="833"/>
                  </a:cubicBezTo>
                  <a:cubicBezTo>
                    <a:pt x="416" y="838"/>
                    <a:pt x="417" y="844"/>
                    <a:pt x="415" y="850"/>
                  </a:cubicBezTo>
                  <a:cubicBezTo>
                    <a:pt x="414" y="852"/>
                    <a:pt x="415" y="855"/>
                    <a:pt x="415" y="858"/>
                  </a:cubicBezTo>
                  <a:cubicBezTo>
                    <a:pt x="415" y="859"/>
                    <a:pt x="415" y="861"/>
                    <a:pt x="416" y="862"/>
                  </a:cubicBezTo>
                  <a:cubicBezTo>
                    <a:pt x="418" y="866"/>
                    <a:pt x="420" y="871"/>
                    <a:pt x="422" y="875"/>
                  </a:cubicBezTo>
                  <a:cubicBezTo>
                    <a:pt x="422" y="876"/>
                    <a:pt x="424" y="877"/>
                    <a:pt x="425" y="878"/>
                  </a:cubicBezTo>
                  <a:cubicBezTo>
                    <a:pt x="428" y="880"/>
                    <a:pt x="428" y="880"/>
                    <a:pt x="428" y="882"/>
                  </a:cubicBezTo>
                  <a:cubicBezTo>
                    <a:pt x="427" y="883"/>
                    <a:pt x="426" y="885"/>
                    <a:pt x="426" y="886"/>
                  </a:cubicBezTo>
                  <a:cubicBezTo>
                    <a:pt x="425" y="888"/>
                    <a:pt x="425" y="890"/>
                    <a:pt x="426" y="891"/>
                  </a:cubicBezTo>
                  <a:cubicBezTo>
                    <a:pt x="427" y="895"/>
                    <a:pt x="430" y="899"/>
                    <a:pt x="428" y="904"/>
                  </a:cubicBezTo>
                  <a:cubicBezTo>
                    <a:pt x="427" y="906"/>
                    <a:pt x="428" y="907"/>
                    <a:pt x="429" y="909"/>
                  </a:cubicBezTo>
                  <a:cubicBezTo>
                    <a:pt x="431" y="915"/>
                    <a:pt x="434" y="920"/>
                    <a:pt x="437" y="926"/>
                  </a:cubicBezTo>
                  <a:cubicBezTo>
                    <a:pt x="438" y="929"/>
                    <a:pt x="439" y="932"/>
                    <a:pt x="439" y="935"/>
                  </a:cubicBezTo>
                  <a:cubicBezTo>
                    <a:pt x="438" y="939"/>
                    <a:pt x="440" y="940"/>
                    <a:pt x="442" y="941"/>
                  </a:cubicBezTo>
                  <a:cubicBezTo>
                    <a:pt x="452" y="942"/>
                    <a:pt x="459" y="948"/>
                    <a:pt x="467" y="953"/>
                  </a:cubicBezTo>
                  <a:cubicBezTo>
                    <a:pt x="474" y="957"/>
                    <a:pt x="478" y="962"/>
                    <a:pt x="478" y="969"/>
                  </a:cubicBezTo>
                  <a:cubicBezTo>
                    <a:pt x="478" y="975"/>
                    <a:pt x="480" y="980"/>
                    <a:pt x="482" y="986"/>
                  </a:cubicBezTo>
                  <a:cubicBezTo>
                    <a:pt x="485" y="996"/>
                    <a:pt x="489" y="1004"/>
                    <a:pt x="491" y="1014"/>
                  </a:cubicBezTo>
                  <a:cubicBezTo>
                    <a:pt x="491" y="1018"/>
                    <a:pt x="493" y="1020"/>
                    <a:pt x="496" y="1022"/>
                  </a:cubicBezTo>
                  <a:cubicBezTo>
                    <a:pt x="501" y="1026"/>
                    <a:pt x="504" y="1032"/>
                    <a:pt x="507" y="1037"/>
                  </a:cubicBezTo>
                  <a:cubicBezTo>
                    <a:pt x="509" y="1040"/>
                    <a:pt x="509" y="1043"/>
                    <a:pt x="507" y="1046"/>
                  </a:cubicBezTo>
                  <a:cubicBezTo>
                    <a:pt x="506" y="1048"/>
                    <a:pt x="504" y="1049"/>
                    <a:pt x="501" y="1049"/>
                  </a:cubicBezTo>
                  <a:cubicBezTo>
                    <a:pt x="501" y="1049"/>
                    <a:pt x="500" y="1049"/>
                    <a:pt x="500" y="1049"/>
                  </a:cubicBezTo>
                  <a:cubicBezTo>
                    <a:pt x="498" y="1049"/>
                    <a:pt x="497" y="1051"/>
                    <a:pt x="498" y="1053"/>
                  </a:cubicBezTo>
                  <a:cubicBezTo>
                    <a:pt x="501" y="1057"/>
                    <a:pt x="504" y="1061"/>
                    <a:pt x="509" y="1064"/>
                  </a:cubicBezTo>
                  <a:cubicBezTo>
                    <a:pt x="516" y="1066"/>
                    <a:pt x="521" y="1071"/>
                    <a:pt x="526" y="1076"/>
                  </a:cubicBezTo>
                  <a:cubicBezTo>
                    <a:pt x="528" y="1078"/>
                    <a:pt x="529" y="1080"/>
                    <a:pt x="529" y="1083"/>
                  </a:cubicBezTo>
                  <a:cubicBezTo>
                    <a:pt x="529" y="1086"/>
                    <a:pt x="529" y="1088"/>
                    <a:pt x="528" y="1091"/>
                  </a:cubicBezTo>
                  <a:cubicBezTo>
                    <a:pt x="527" y="1094"/>
                    <a:pt x="529" y="1097"/>
                    <a:pt x="531" y="1099"/>
                  </a:cubicBezTo>
                  <a:cubicBezTo>
                    <a:pt x="539" y="1107"/>
                    <a:pt x="549" y="1113"/>
                    <a:pt x="554" y="1123"/>
                  </a:cubicBezTo>
                  <a:cubicBezTo>
                    <a:pt x="555" y="1125"/>
                    <a:pt x="558" y="1125"/>
                    <a:pt x="560" y="1124"/>
                  </a:cubicBezTo>
                  <a:cubicBezTo>
                    <a:pt x="562" y="1122"/>
                    <a:pt x="564" y="1119"/>
                    <a:pt x="563" y="1117"/>
                  </a:cubicBezTo>
                  <a:cubicBezTo>
                    <a:pt x="562" y="1113"/>
                    <a:pt x="560" y="1110"/>
                    <a:pt x="557" y="1107"/>
                  </a:cubicBezTo>
                  <a:cubicBezTo>
                    <a:pt x="555" y="1105"/>
                    <a:pt x="548" y="1094"/>
                    <a:pt x="547" y="1091"/>
                  </a:cubicBezTo>
                  <a:cubicBezTo>
                    <a:pt x="547" y="1089"/>
                    <a:pt x="545" y="1086"/>
                    <a:pt x="545" y="1084"/>
                  </a:cubicBezTo>
                  <a:cubicBezTo>
                    <a:pt x="544" y="1080"/>
                    <a:pt x="544" y="1075"/>
                    <a:pt x="543" y="1071"/>
                  </a:cubicBezTo>
                  <a:cubicBezTo>
                    <a:pt x="542" y="1067"/>
                    <a:pt x="537" y="1064"/>
                    <a:pt x="535" y="1060"/>
                  </a:cubicBezTo>
                  <a:cubicBezTo>
                    <a:pt x="532" y="1053"/>
                    <a:pt x="529" y="1046"/>
                    <a:pt x="525" y="1040"/>
                  </a:cubicBezTo>
                  <a:cubicBezTo>
                    <a:pt x="521" y="1033"/>
                    <a:pt x="518" y="1026"/>
                    <a:pt x="512" y="1020"/>
                  </a:cubicBezTo>
                  <a:cubicBezTo>
                    <a:pt x="511" y="1019"/>
                    <a:pt x="511" y="1017"/>
                    <a:pt x="510" y="1016"/>
                  </a:cubicBezTo>
                  <a:cubicBezTo>
                    <a:pt x="509" y="1008"/>
                    <a:pt x="508" y="1000"/>
                    <a:pt x="510" y="992"/>
                  </a:cubicBezTo>
                  <a:cubicBezTo>
                    <a:pt x="511" y="991"/>
                    <a:pt x="512" y="990"/>
                    <a:pt x="513" y="991"/>
                  </a:cubicBezTo>
                  <a:cubicBezTo>
                    <a:pt x="516" y="992"/>
                    <a:pt x="519" y="993"/>
                    <a:pt x="522" y="995"/>
                  </a:cubicBezTo>
                  <a:cubicBezTo>
                    <a:pt x="525" y="996"/>
                    <a:pt x="527" y="998"/>
                    <a:pt x="528" y="1002"/>
                  </a:cubicBezTo>
                  <a:cubicBezTo>
                    <a:pt x="529" y="1008"/>
                    <a:pt x="530" y="1015"/>
                    <a:pt x="532" y="1022"/>
                  </a:cubicBezTo>
                  <a:cubicBezTo>
                    <a:pt x="536" y="1031"/>
                    <a:pt x="542" y="1040"/>
                    <a:pt x="549" y="1049"/>
                  </a:cubicBezTo>
                  <a:cubicBezTo>
                    <a:pt x="550" y="1050"/>
                    <a:pt x="552" y="1052"/>
                    <a:pt x="552" y="1054"/>
                  </a:cubicBezTo>
                  <a:cubicBezTo>
                    <a:pt x="554" y="1059"/>
                    <a:pt x="557" y="1062"/>
                    <a:pt x="561" y="1065"/>
                  </a:cubicBezTo>
                  <a:cubicBezTo>
                    <a:pt x="564" y="1067"/>
                    <a:pt x="566" y="1069"/>
                    <a:pt x="568" y="1071"/>
                  </a:cubicBezTo>
                  <a:cubicBezTo>
                    <a:pt x="570" y="1072"/>
                    <a:pt x="570" y="1074"/>
                    <a:pt x="569" y="1075"/>
                  </a:cubicBezTo>
                  <a:cubicBezTo>
                    <a:pt x="568" y="1076"/>
                    <a:pt x="568" y="1077"/>
                    <a:pt x="567" y="1078"/>
                  </a:cubicBezTo>
                  <a:cubicBezTo>
                    <a:pt x="566" y="1080"/>
                    <a:pt x="566" y="1083"/>
                    <a:pt x="568" y="1085"/>
                  </a:cubicBezTo>
                  <a:cubicBezTo>
                    <a:pt x="571" y="1087"/>
                    <a:pt x="574" y="1089"/>
                    <a:pt x="578" y="1091"/>
                  </a:cubicBezTo>
                  <a:cubicBezTo>
                    <a:pt x="582" y="1093"/>
                    <a:pt x="584" y="1095"/>
                    <a:pt x="584" y="1099"/>
                  </a:cubicBezTo>
                  <a:cubicBezTo>
                    <a:pt x="584" y="1101"/>
                    <a:pt x="586" y="1103"/>
                    <a:pt x="588" y="1104"/>
                  </a:cubicBezTo>
                  <a:cubicBezTo>
                    <a:pt x="605" y="1121"/>
                    <a:pt x="609" y="1129"/>
                    <a:pt x="614" y="1148"/>
                  </a:cubicBezTo>
                  <a:cubicBezTo>
                    <a:pt x="615" y="1150"/>
                    <a:pt x="615" y="1151"/>
                    <a:pt x="614" y="1153"/>
                  </a:cubicBezTo>
                  <a:cubicBezTo>
                    <a:pt x="614" y="1155"/>
                    <a:pt x="613" y="1157"/>
                    <a:pt x="611" y="1158"/>
                  </a:cubicBezTo>
                  <a:cubicBezTo>
                    <a:pt x="608" y="1164"/>
                    <a:pt x="609" y="1168"/>
                    <a:pt x="612" y="1173"/>
                  </a:cubicBezTo>
                  <a:cubicBezTo>
                    <a:pt x="614" y="1177"/>
                    <a:pt x="618" y="1181"/>
                    <a:pt x="623" y="1182"/>
                  </a:cubicBezTo>
                  <a:cubicBezTo>
                    <a:pt x="628" y="1184"/>
                    <a:pt x="631" y="1187"/>
                    <a:pt x="634" y="1191"/>
                  </a:cubicBezTo>
                  <a:cubicBezTo>
                    <a:pt x="637" y="1195"/>
                    <a:pt x="642" y="1197"/>
                    <a:pt x="647" y="1198"/>
                  </a:cubicBezTo>
                  <a:cubicBezTo>
                    <a:pt x="649" y="1198"/>
                    <a:pt x="651" y="1199"/>
                    <a:pt x="653" y="1199"/>
                  </a:cubicBezTo>
                  <a:cubicBezTo>
                    <a:pt x="655" y="1200"/>
                    <a:pt x="657" y="1200"/>
                    <a:pt x="659" y="1202"/>
                  </a:cubicBezTo>
                  <a:cubicBezTo>
                    <a:pt x="666" y="1208"/>
                    <a:pt x="674" y="1212"/>
                    <a:pt x="683" y="1215"/>
                  </a:cubicBezTo>
                  <a:cubicBezTo>
                    <a:pt x="688" y="1216"/>
                    <a:pt x="692" y="1218"/>
                    <a:pt x="697" y="1220"/>
                  </a:cubicBezTo>
                  <a:cubicBezTo>
                    <a:pt x="701" y="1223"/>
                    <a:pt x="707" y="1225"/>
                    <a:pt x="712" y="1226"/>
                  </a:cubicBezTo>
                  <a:cubicBezTo>
                    <a:pt x="730" y="1231"/>
                    <a:pt x="730" y="1231"/>
                    <a:pt x="748" y="1225"/>
                  </a:cubicBezTo>
                  <a:cubicBezTo>
                    <a:pt x="754" y="1223"/>
                    <a:pt x="759" y="1224"/>
                    <a:pt x="762" y="1227"/>
                  </a:cubicBezTo>
                  <a:cubicBezTo>
                    <a:pt x="771" y="1235"/>
                    <a:pt x="781" y="1240"/>
                    <a:pt x="788" y="1249"/>
                  </a:cubicBezTo>
                  <a:cubicBezTo>
                    <a:pt x="791" y="1253"/>
                    <a:pt x="796" y="1255"/>
                    <a:pt x="801" y="1255"/>
                  </a:cubicBezTo>
                  <a:cubicBezTo>
                    <a:pt x="808" y="1256"/>
                    <a:pt x="815" y="1258"/>
                    <a:pt x="822" y="1260"/>
                  </a:cubicBezTo>
                  <a:cubicBezTo>
                    <a:pt x="829" y="1263"/>
                    <a:pt x="837" y="1266"/>
                    <a:pt x="846" y="1265"/>
                  </a:cubicBezTo>
                  <a:cubicBezTo>
                    <a:pt x="847" y="1265"/>
                    <a:pt x="849" y="1266"/>
                    <a:pt x="849" y="1268"/>
                  </a:cubicBezTo>
                  <a:cubicBezTo>
                    <a:pt x="851" y="1272"/>
                    <a:pt x="855" y="1275"/>
                    <a:pt x="858" y="1279"/>
                  </a:cubicBezTo>
                  <a:cubicBezTo>
                    <a:pt x="862" y="1283"/>
                    <a:pt x="866" y="1287"/>
                    <a:pt x="869" y="1291"/>
                  </a:cubicBezTo>
                  <a:cubicBezTo>
                    <a:pt x="871" y="1293"/>
                    <a:pt x="872" y="1296"/>
                    <a:pt x="871" y="1300"/>
                  </a:cubicBezTo>
                  <a:cubicBezTo>
                    <a:pt x="869" y="1305"/>
                    <a:pt x="872" y="1308"/>
                    <a:pt x="877" y="1309"/>
                  </a:cubicBezTo>
                  <a:cubicBezTo>
                    <a:pt x="879" y="1309"/>
                    <a:pt x="881" y="1310"/>
                    <a:pt x="883" y="1310"/>
                  </a:cubicBezTo>
                  <a:cubicBezTo>
                    <a:pt x="885" y="1310"/>
                    <a:pt x="887" y="1310"/>
                    <a:pt x="888" y="1311"/>
                  </a:cubicBezTo>
                  <a:cubicBezTo>
                    <a:pt x="892" y="1314"/>
                    <a:pt x="896" y="1317"/>
                    <a:pt x="897" y="1322"/>
                  </a:cubicBezTo>
                  <a:cubicBezTo>
                    <a:pt x="899" y="1327"/>
                    <a:pt x="903" y="1329"/>
                    <a:pt x="908" y="1330"/>
                  </a:cubicBezTo>
                  <a:cubicBezTo>
                    <a:pt x="910" y="1330"/>
                    <a:pt x="912" y="1330"/>
                    <a:pt x="913" y="1329"/>
                  </a:cubicBezTo>
                  <a:cubicBezTo>
                    <a:pt x="919" y="1327"/>
                    <a:pt x="923" y="1329"/>
                    <a:pt x="927" y="1333"/>
                  </a:cubicBezTo>
                  <a:cubicBezTo>
                    <a:pt x="930" y="1336"/>
                    <a:pt x="934" y="1337"/>
                    <a:pt x="937" y="1340"/>
                  </a:cubicBezTo>
                  <a:cubicBezTo>
                    <a:pt x="941" y="1343"/>
                    <a:pt x="943" y="1343"/>
                    <a:pt x="947" y="1339"/>
                  </a:cubicBezTo>
                  <a:cubicBezTo>
                    <a:pt x="949" y="1338"/>
                    <a:pt x="950" y="1336"/>
                    <a:pt x="949" y="1334"/>
                  </a:cubicBezTo>
                  <a:cubicBezTo>
                    <a:pt x="948" y="1333"/>
                    <a:pt x="947" y="1331"/>
                    <a:pt x="949" y="1330"/>
                  </a:cubicBezTo>
                  <a:cubicBezTo>
                    <a:pt x="953" y="1327"/>
                    <a:pt x="955" y="1323"/>
                    <a:pt x="959" y="1319"/>
                  </a:cubicBezTo>
                  <a:cubicBezTo>
                    <a:pt x="959" y="1319"/>
                    <a:pt x="962" y="1319"/>
                    <a:pt x="963" y="1319"/>
                  </a:cubicBezTo>
                  <a:cubicBezTo>
                    <a:pt x="968" y="1321"/>
                    <a:pt x="971" y="1325"/>
                    <a:pt x="972" y="1330"/>
                  </a:cubicBezTo>
                  <a:cubicBezTo>
                    <a:pt x="972" y="1334"/>
                    <a:pt x="973" y="1337"/>
                    <a:pt x="976" y="1340"/>
                  </a:cubicBezTo>
                  <a:cubicBezTo>
                    <a:pt x="979" y="1344"/>
                    <a:pt x="979" y="1349"/>
                    <a:pt x="983" y="1352"/>
                  </a:cubicBezTo>
                  <a:cubicBezTo>
                    <a:pt x="984" y="1353"/>
                    <a:pt x="984" y="1355"/>
                    <a:pt x="984" y="1356"/>
                  </a:cubicBezTo>
                  <a:cubicBezTo>
                    <a:pt x="984" y="1363"/>
                    <a:pt x="985" y="1370"/>
                    <a:pt x="984" y="1377"/>
                  </a:cubicBezTo>
                  <a:cubicBezTo>
                    <a:pt x="984" y="1381"/>
                    <a:pt x="984" y="1384"/>
                    <a:pt x="986" y="1387"/>
                  </a:cubicBezTo>
                  <a:cubicBezTo>
                    <a:pt x="988" y="1388"/>
                    <a:pt x="987" y="1390"/>
                    <a:pt x="986" y="1391"/>
                  </a:cubicBezTo>
                  <a:cubicBezTo>
                    <a:pt x="983" y="1396"/>
                    <a:pt x="980" y="1401"/>
                    <a:pt x="974" y="1403"/>
                  </a:cubicBezTo>
                  <a:cubicBezTo>
                    <a:pt x="968" y="1406"/>
                    <a:pt x="964" y="1410"/>
                    <a:pt x="963" y="1416"/>
                  </a:cubicBezTo>
                  <a:cubicBezTo>
                    <a:pt x="962" y="1419"/>
                    <a:pt x="960" y="1422"/>
                    <a:pt x="957" y="1423"/>
                  </a:cubicBezTo>
                  <a:cubicBezTo>
                    <a:pt x="954" y="1425"/>
                    <a:pt x="951" y="1426"/>
                    <a:pt x="948" y="1428"/>
                  </a:cubicBezTo>
                  <a:cubicBezTo>
                    <a:pt x="947" y="1428"/>
                    <a:pt x="946" y="1429"/>
                    <a:pt x="946" y="1430"/>
                  </a:cubicBezTo>
                  <a:cubicBezTo>
                    <a:pt x="943" y="1443"/>
                    <a:pt x="943" y="1443"/>
                    <a:pt x="938" y="1452"/>
                  </a:cubicBezTo>
                  <a:cubicBezTo>
                    <a:pt x="937" y="1453"/>
                    <a:pt x="936" y="1454"/>
                    <a:pt x="936" y="1454"/>
                  </a:cubicBezTo>
                  <a:cubicBezTo>
                    <a:pt x="936" y="1460"/>
                    <a:pt x="935" y="1465"/>
                    <a:pt x="936" y="1470"/>
                  </a:cubicBezTo>
                  <a:cubicBezTo>
                    <a:pt x="936" y="1474"/>
                    <a:pt x="941" y="1476"/>
                    <a:pt x="945" y="1478"/>
                  </a:cubicBezTo>
                  <a:cubicBezTo>
                    <a:pt x="945" y="1478"/>
                    <a:pt x="946" y="1478"/>
                    <a:pt x="946" y="1477"/>
                  </a:cubicBezTo>
                  <a:cubicBezTo>
                    <a:pt x="947" y="1477"/>
                    <a:pt x="947" y="1476"/>
                    <a:pt x="948" y="1475"/>
                  </a:cubicBezTo>
                  <a:cubicBezTo>
                    <a:pt x="948" y="1476"/>
                    <a:pt x="949" y="1477"/>
                    <a:pt x="949" y="1477"/>
                  </a:cubicBezTo>
                  <a:cubicBezTo>
                    <a:pt x="949" y="1480"/>
                    <a:pt x="948" y="1483"/>
                    <a:pt x="945" y="1484"/>
                  </a:cubicBezTo>
                  <a:cubicBezTo>
                    <a:pt x="942" y="1487"/>
                    <a:pt x="939" y="1488"/>
                    <a:pt x="936" y="1491"/>
                  </a:cubicBezTo>
                  <a:cubicBezTo>
                    <a:pt x="932" y="1494"/>
                    <a:pt x="929" y="1499"/>
                    <a:pt x="931" y="1504"/>
                  </a:cubicBezTo>
                  <a:cubicBezTo>
                    <a:pt x="932" y="1507"/>
                    <a:pt x="932" y="1509"/>
                    <a:pt x="933" y="1512"/>
                  </a:cubicBezTo>
                  <a:cubicBezTo>
                    <a:pt x="933" y="1513"/>
                    <a:pt x="933" y="1515"/>
                    <a:pt x="932" y="1517"/>
                  </a:cubicBezTo>
                  <a:cubicBezTo>
                    <a:pt x="931" y="1520"/>
                    <a:pt x="932" y="1522"/>
                    <a:pt x="935" y="1523"/>
                  </a:cubicBezTo>
                  <a:cubicBezTo>
                    <a:pt x="938" y="1525"/>
                    <a:pt x="941" y="1527"/>
                    <a:pt x="945" y="1528"/>
                  </a:cubicBezTo>
                  <a:cubicBezTo>
                    <a:pt x="949" y="1530"/>
                    <a:pt x="952" y="1533"/>
                    <a:pt x="954" y="1537"/>
                  </a:cubicBezTo>
                  <a:cubicBezTo>
                    <a:pt x="955" y="1541"/>
                    <a:pt x="958" y="1543"/>
                    <a:pt x="961" y="1546"/>
                  </a:cubicBezTo>
                  <a:cubicBezTo>
                    <a:pt x="962" y="1547"/>
                    <a:pt x="964" y="1549"/>
                    <a:pt x="964" y="1551"/>
                  </a:cubicBezTo>
                  <a:cubicBezTo>
                    <a:pt x="966" y="1557"/>
                    <a:pt x="971" y="1563"/>
                    <a:pt x="973" y="1569"/>
                  </a:cubicBezTo>
                  <a:cubicBezTo>
                    <a:pt x="976" y="1578"/>
                    <a:pt x="981" y="1585"/>
                    <a:pt x="986" y="1593"/>
                  </a:cubicBezTo>
                  <a:cubicBezTo>
                    <a:pt x="992" y="1600"/>
                    <a:pt x="997" y="1609"/>
                    <a:pt x="1002" y="1617"/>
                  </a:cubicBezTo>
                  <a:cubicBezTo>
                    <a:pt x="1003" y="1618"/>
                    <a:pt x="1003" y="1620"/>
                    <a:pt x="1003" y="1621"/>
                  </a:cubicBezTo>
                  <a:cubicBezTo>
                    <a:pt x="1002" y="1626"/>
                    <a:pt x="1005" y="1629"/>
                    <a:pt x="1008" y="1632"/>
                  </a:cubicBezTo>
                  <a:cubicBezTo>
                    <a:pt x="1017" y="1642"/>
                    <a:pt x="1030" y="1648"/>
                    <a:pt x="1041" y="1656"/>
                  </a:cubicBezTo>
                  <a:cubicBezTo>
                    <a:pt x="1043" y="1657"/>
                    <a:pt x="1046" y="1657"/>
                    <a:pt x="1048" y="1658"/>
                  </a:cubicBezTo>
                  <a:cubicBezTo>
                    <a:pt x="1054" y="1661"/>
                    <a:pt x="1060" y="1664"/>
                    <a:pt x="1065" y="1668"/>
                  </a:cubicBezTo>
                  <a:cubicBezTo>
                    <a:pt x="1071" y="1674"/>
                    <a:pt x="1078" y="1679"/>
                    <a:pt x="1085" y="1685"/>
                  </a:cubicBezTo>
                  <a:cubicBezTo>
                    <a:pt x="1087" y="1686"/>
                    <a:pt x="1087" y="1688"/>
                    <a:pt x="1088" y="1690"/>
                  </a:cubicBezTo>
                  <a:cubicBezTo>
                    <a:pt x="1088" y="1693"/>
                    <a:pt x="1088" y="1695"/>
                    <a:pt x="1089" y="1698"/>
                  </a:cubicBezTo>
                  <a:cubicBezTo>
                    <a:pt x="1090" y="1703"/>
                    <a:pt x="1091" y="1708"/>
                    <a:pt x="1089" y="1713"/>
                  </a:cubicBezTo>
                  <a:cubicBezTo>
                    <a:pt x="1088" y="1715"/>
                    <a:pt x="1089" y="1718"/>
                    <a:pt x="1090" y="1719"/>
                  </a:cubicBezTo>
                  <a:cubicBezTo>
                    <a:pt x="1093" y="1730"/>
                    <a:pt x="1092" y="1740"/>
                    <a:pt x="1089" y="1750"/>
                  </a:cubicBezTo>
                  <a:cubicBezTo>
                    <a:pt x="1089" y="1752"/>
                    <a:pt x="1089" y="1753"/>
                    <a:pt x="1089" y="1755"/>
                  </a:cubicBezTo>
                  <a:cubicBezTo>
                    <a:pt x="1093" y="1770"/>
                    <a:pt x="1091" y="1786"/>
                    <a:pt x="1091" y="1802"/>
                  </a:cubicBezTo>
                  <a:cubicBezTo>
                    <a:pt x="1092" y="1806"/>
                    <a:pt x="1091" y="1810"/>
                    <a:pt x="1090" y="1814"/>
                  </a:cubicBezTo>
                  <a:cubicBezTo>
                    <a:pt x="1089" y="1819"/>
                    <a:pt x="1088" y="1824"/>
                    <a:pt x="1087" y="1829"/>
                  </a:cubicBezTo>
                  <a:cubicBezTo>
                    <a:pt x="1086" y="1832"/>
                    <a:pt x="1085" y="1835"/>
                    <a:pt x="1087" y="1838"/>
                  </a:cubicBezTo>
                  <a:cubicBezTo>
                    <a:pt x="1089" y="1843"/>
                    <a:pt x="1088" y="1848"/>
                    <a:pt x="1086" y="1852"/>
                  </a:cubicBezTo>
                  <a:cubicBezTo>
                    <a:pt x="1085" y="1857"/>
                    <a:pt x="1084" y="1861"/>
                    <a:pt x="1086" y="1866"/>
                  </a:cubicBezTo>
                  <a:cubicBezTo>
                    <a:pt x="1089" y="1872"/>
                    <a:pt x="1087" y="1878"/>
                    <a:pt x="1090" y="1884"/>
                  </a:cubicBezTo>
                  <a:cubicBezTo>
                    <a:pt x="1091" y="1887"/>
                    <a:pt x="1090" y="1891"/>
                    <a:pt x="1090" y="1894"/>
                  </a:cubicBezTo>
                  <a:cubicBezTo>
                    <a:pt x="1090" y="1896"/>
                    <a:pt x="1090" y="1899"/>
                    <a:pt x="1091" y="1901"/>
                  </a:cubicBezTo>
                  <a:cubicBezTo>
                    <a:pt x="1092" y="1904"/>
                    <a:pt x="1092" y="1906"/>
                    <a:pt x="1091" y="1909"/>
                  </a:cubicBezTo>
                  <a:cubicBezTo>
                    <a:pt x="1089" y="1912"/>
                    <a:pt x="1088" y="1916"/>
                    <a:pt x="1088" y="1919"/>
                  </a:cubicBezTo>
                  <a:cubicBezTo>
                    <a:pt x="1085" y="1931"/>
                    <a:pt x="1082" y="1943"/>
                    <a:pt x="1079" y="1955"/>
                  </a:cubicBezTo>
                  <a:cubicBezTo>
                    <a:pt x="1078" y="1957"/>
                    <a:pt x="1078" y="1959"/>
                    <a:pt x="1076" y="1960"/>
                  </a:cubicBezTo>
                  <a:cubicBezTo>
                    <a:pt x="1072" y="1963"/>
                    <a:pt x="1072" y="1967"/>
                    <a:pt x="1075" y="1970"/>
                  </a:cubicBezTo>
                  <a:cubicBezTo>
                    <a:pt x="1078" y="1975"/>
                    <a:pt x="1078" y="1982"/>
                    <a:pt x="1082" y="1987"/>
                  </a:cubicBezTo>
                  <a:cubicBezTo>
                    <a:pt x="1085" y="1992"/>
                    <a:pt x="1085" y="1997"/>
                    <a:pt x="1082" y="2002"/>
                  </a:cubicBezTo>
                  <a:cubicBezTo>
                    <a:pt x="1080" y="2005"/>
                    <a:pt x="1080" y="2008"/>
                    <a:pt x="1080" y="2011"/>
                  </a:cubicBezTo>
                  <a:cubicBezTo>
                    <a:pt x="1081" y="2014"/>
                    <a:pt x="1081" y="2017"/>
                    <a:pt x="1081" y="2020"/>
                  </a:cubicBezTo>
                  <a:cubicBezTo>
                    <a:pt x="1081" y="2024"/>
                    <a:pt x="1082" y="2028"/>
                    <a:pt x="1084" y="2031"/>
                  </a:cubicBezTo>
                  <a:cubicBezTo>
                    <a:pt x="1086" y="2032"/>
                    <a:pt x="1087" y="2034"/>
                    <a:pt x="1088" y="2036"/>
                  </a:cubicBezTo>
                  <a:cubicBezTo>
                    <a:pt x="1083" y="2035"/>
                    <a:pt x="1082" y="2036"/>
                    <a:pt x="1080" y="2040"/>
                  </a:cubicBezTo>
                  <a:cubicBezTo>
                    <a:pt x="1080" y="2042"/>
                    <a:pt x="1079" y="2043"/>
                    <a:pt x="1079" y="2045"/>
                  </a:cubicBezTo>
                  <a:cubicBezTo>
                    <a:pt x="1080" y="2050"/>
                    <a:pt x="1081" y="2055"/>
                    <a:pt x="1082" y="2060"/>
                  </a:cubicBezTo>
                  <a:cubicBezTo>
                    <a:pt x="1082" y="2061"/>
                    <a:pt x="1086" y="2062"/>
                    <a:pt x="1088" y="2061"/>
                  </a:cubicBezTo>
                  <a:cubicBezTo>
                    <a:pt x="1090" y="2059"/>
                    <a:pt x="1091" y="2057"/>
                    <a:pt x="1091" y="2055"/>
                  </a:cubicBezTo>
                  <a:cubicBezTo>
                    <a:pt x="1091" y="2051"/>
                    <a:pt x="1091" y="2048"/>
                    <a:pt x="1092" y="2044"/>
                  </a:cubicBezTo>
                  <a:cubicBezTo>
                    <a:pt x="1092" y="2041"/>
                    <a:pt x="1091" y="2038"/>
                    <a:pt x="1089" y="2036"/>
                  </a:cubicBezTo>
                  <a:cubicBezTo>
                    <a:pt x="1091" y="2036"/>
                    <a:pt x="1094" y="2036"/>
                    <a:pt x="1096" y="2034"/>
                  </a:cubicBezTo>
                  <a:cubicBezTo>
                    <a:pt x="1098" y="2033"/>
                    <a:pt x="1099" y="2034"/>
                    <a:pt x="1099" y="2036"/>
                  </a:cubicBezTo>
                  <a:cubicBezTo>
                    <a:pt x="1100" y="2038"/>
                    <a:pt x="1101" y="2039"/>
                    <a:pt x="1101" y="2041"/>
                  </a:cubicBezTo>
                  <a:cubicBezTo>
                    <a:pt x="1100" y="2047"/>
                    <a:pt x="1099" y="2054"/>
                    <a:pt x="1099" y="2061"/>
                  </a:cubicBezTo>
                  <a:cubicBezTo>
                    <a:pt x="1100" y="2067"/>
                    <a:pt x="1099" y="2074"/>
                    <a:pt x="1098" y="2080"/>
                  </a:cubicBezTo>
                  <a:cubicBezTo>
                    <a:pt x="1097" y="2082"/>
                    <a:pt x="1097" y="2084"/>
                    <a:pt x="1098" y="2086"/>
                  </a:cubicBezTo>
                  <a:cubicBezTo>
                    <a:pt x="1102" y="2092"/>
                    <a:pt x="1101" y="2098"/>
                    <a:pt x="1098" y="2104"/>
                  </a:cubicBezTo>
                  <a:cubicBezTo>
                    <a:pt x="1097" y="2105"/>
                    <a:pt x="1096" y="2106"/>
                    <a:pt x="1095" y="2105"/>
                  </a:cubicBezTo>
                  <a:cubicBezTo>
                    <a:pt x="1095" y="2105"/>
                    <a:pt x="1094" y="2105"/>
                    <a:pt x="1094" y="2104"/>
                  </a:cubicBezTo>
                  <a:cubicBezTo>
                    <a:pt x="1093" y="2102"/>
                    <a:pt x="1093" y="2101"/>
                    <a:pt x="1092" y="2099"/>
                  </a:cubicBezTo>
                  <a:cubicBezTo>
                    <a:pt x="1087" y="2099"/>
                    <a:pt x="1083" y="2101"/>
                    <a:pt x="1082" y="2105"/>
                  </a:cubicBezTo>
                  <a:cubicBezTo>
                    <a:pt x="1081" y="2110"/>
                    <a:pt x="1078" y="2114"/>
                    <a:pt x="1076" y="2119"/>
                  </a:cubicBezTo>
                  <a:cubicBezTo>
                    <a:pt x="1076" y="2120"/>
                    <a:pt x="1076" y="2121"/>
                    <a:pt x="1077" y="2122"/>
                  </a:cubicBezTo>
                  <a:cubicBezTo>
                    <a:pt x="1077" y="2122"/>
                    <a:pt x="1079" y="2123"/>
                    <a:pt x="1080" y="2123"/>
                  </a:cubicBezTo>
                  <a:cubicBezTo>
                    <a:pt x="1081" y="2122"/>
                    <a:pt x="1082" y="2120"/>
                    <a:pt x="1084" y="2120"/>
                  </a:cubicBezTo>
                  <a:cubicBezTo>
                    <a:pt x="1087" y="2121"/>
                    <a:pt x="1090" y="2121"/>
                    <a:pt x="1093" y="2122"/>
                  </a:cubicBezTo>
                  <a:cubicBezTo>
                    <a:pt x="1095" y="2122"/>
                    <a:pt x="1096" y="2125"/>
                    <a:pt x="1096" y="2127"/>
                  </a:cubicBezTo>
                  <a:cubicBezTo>
                    <a:pt x="1095" y="2131"/>
                    <a:pt x="1094" y="2135"/>
                    <a:pt x="1095" y="2139"/>
                  </a:cubicBezTo>
                  <a:cubicBezTo>
                    <a:pt x="1095" y="2139"/>
                    <a:pt x="1095" y="2139"/>
                    <a:pt x="1095" y="2139"/>
                  </a:cubicBezTo>
                  <a:cubicBezTo>
                    <a:pt x="1095" y="2139"/>
                    <a:pt x="1095" y="2139"/>
                    <a:pt x="1095" y="2139"/>
                  </a:cubicBezTo>
                  <a:cubicBezTo>
                    <a:pt x="1096" y="2140"/>
                    <a:pt x="1096" y="2140"/>
                    <a:pt x="1096" y="2140"/>
                  </a:cubicBezTo>
                  <a:cubicBezTo>
                    <a:pt x="1096" y="2140"/>
                    <a:pt x="1096" y="2140"/>
                    <a:pt x="1095" y="2139"/>
                  </a:cubicBezTo>
                  <a:cubicBezTo>
                    <a:pt x="1095" y="2139"/>
                    <a:pt x="1095" y="2139"/>
                    <a:pt x="1095" y="2139"/>
                  </a:cubicBezTo>
                  <a:cubicBezTo>
                    <a:pt x="1095" y="2139"/>
                    <a:pt x="1095" y="2139"/>
                    <a:pt x="1095" y="2139"/>
                  </a:cubicBezTo>
                  <a:cubicBezTo>
                    <a:pt x="1092" y="2139"/>
                    <a:pt x="1089" y="2140"/>
                    <a:pt x="1086" y="2142"/>
                  </a:cubicBezTo>
                  <a:cubicBezTo>
                    <a:pt x="1085" y="2144"/>
                    <a:pt x="1084" y="2145"/>
                    <a:pt x="1084" y="2147"/>
                  </a:cubicBezTo>
                  <a:cubicBezTo>
                    <a:pt x="1084" y="2149"/>
                    <a:pt x="1085" y="2151"/>
                    <a:pt x="1086" y="2153"/>
                  </a:cubicBezTo>
                  <a:cubicBezTo>
                    <a:pt x="1086" y="2154"/>
                    <a:pt x="1088" y="2156"/>
                    <a:pt x="1088" y="2157"/>
                  </a:cubicBezTo>
                  <a:cubicBezTo>
                    <a:pt x="1088" y="2159"/>
                    <a:pt x="1088" y="2161"/>
                    <a:pt x="1089" y="2163"/>
                  </a:cubicBezTo>
                  <a:cubicBezTo>
                    <a:pt x="1090" y="2163"/>
                    <a:pt x="1091" y="2164"/>
                    <a:pt x="1091" y="2164"/>
                  </a:cubicBezTo>
                  <a:cubicBezTo>
                    <a:pt x="1091" y="2164"/>
                    <a:pt x="1091" y="2164"/>
                    <a:pt x="1091" y="2164"/>
                  </a:cubicBezTo>
                  <a:cubicBezTo>
                    <a:pt x="1092" y="2164"/>
                    <a:pt x="1092" y="2164"/>
                    <a:pt x="1092" y="2164"/>
                  </a:cubicBezTo>
                  <a:cubicBezTo>
                    <a:pt x="1092" y="2164"/>
                    <a:pt x="1092" y="2164"/>
                    <a:pt x="1092" y="2164"/>
                  </a:cubicBezTo>
                  <a:cubicBezTo>
                    <a:pt x="1092" y="2164"/>
                    <a:pt x="1092" y="2164"/>
                    <a:pt x="1091" y="2164"/>
                  </a:cubicBezTo>
                  <a:cubicBezTo>
                    <a:pt x="1091" y="2166"/>
                    <a:pt x="1091" y="2167"/>
                    <a:pt x="1091" y="2169"/>
                  </a:cubicBezTo>
                  <a:cubicBezTo>
                    <a:pt x="1090" y="2173"/>
                    <a:pt x="1090" y="2173"/>
                    <a:pt x="1094" y="2175"/>
                  </a:cubicBezTo>
                  <a:cubicBezTo>
                    <a:pt x="1097" y="2177"/>
                    <a:pt x="1099" y="2178"/>
                    <a:pt x="1102" y="2180"/>
                  </a:cubicBezTo>
                  <a:cubicBezTo>
                    <a:pt x="1102" y="2180"/>
                    <a:pt x="1102" y="2180"/>
                    <a:pt x="1102" y="2180"/>
                  </a:cubicBezTo>
                  <a:cubicBezTo>
                    <a:pt x="1102" y="2180"/>
                    <a:pt x="1102" y="2180"/>
                    <a:pt x="1102" y="2180"/>
                  </a:cubicBezTo>
                  <a:cubicBezTo>
                    <a:pt x="1104" y="2183"/>
                    <a:pt x="1104" y="2184"/>
                    <a:pt x="1102" y="2186"/>
                  </a:cubicBezTo>
                  <a:cubicBezTo>
                    <a:pt x="1102" y="2186"/>
                    <a:pt x="1102" y="2186"/>
                    <a:pt x="1102" y="2186"/>
                  </a:cubicBezTo>
                  <a:cubicBezTo>
                    <a:pt x="1102" y="2186"/>
                    <a:pt x="1102" y="2186"/>
                    <a:pt x="1102" y="2186"/>
                  </a:cubicBezTo>
                  <a:cubicBezTo>
                    <a:pt x="1102" y="2186"/>
                    <a:pt x="1102" y="2186"/>
                    <a:pt x="1102" y="2186"/>
                  </a:cubicBezTo>
                  <a:cubicBezTo>
                    <a:pt x="1102" y="2191"/>
                    <a:pt x="1104" y="2196"/>
                    <a:pt x="1102" y="2201"/>
                  </a:cubicBezTo>
                  <a:cubicBezTo>
                    <a:pt x="1102" y="2203"/>
                    <a:pt x="1104" y="2205"/>
                    <a:pt x="1106" y="2205"/>
                  </a:cubicBezTo>
                  <a:cubicBezTo>
                    <a:pt x="1108" y="2205"/>
                    <a:pt x="1110" y="2204"/>
                    <a:pt x="1110" y="2201"/>
                  </a:cubicBezTo>
                  <a:cubicBezTo>
                    <a:pt x="1110" y="2197"/>
                    <a:pt x="1110" y="2193"/>
                    <a:pt x="1112" y="2190"/>
                  </a:cubicBezTo>
                  <a:cubicBezTo>
                    <a:pt x="1112" y="2190"/>
                    <a:pt x="1112" y="2190"/>
                    <a:pt x="1112" y="2190"/>
                  </a:cubicBezTo>
                  <a:cubicBezTo>
                    <a:pt x="1111" y="2189"/>
                    <a:pt x="1111" y="2189"/>
                    <a:pt x="1111" y="2189"/>
                  </a:cubicBezTo>
                  <a:cubicBezTo>
                    <a:pt x="1112" y="2189"/>
                    <a:pt x="1112" y="2189"/>
                    <a:pt x="1112" y="2189"/>
                  </a:cubicBezTo>
                  <a:cubicBezTo>
                    <a:pt x="1112" y="2189"/>
                    <a:pt x="1112" y="2190"/>
                    <a:pt x="1112" y="2190"/>
                  </a:cubicBezTo>
                  <a:cubicBezTo>
                    <a:pt x="1113" y="2191"/>
                    <a:pt x="1114" y="2193"/>
                    <a:pt x="1114" y="2195"/>
                  </a:cubicBezTo>
                  <a:cubicBezTo>
                    <a:pt x="1114" y="2197"/>
                    <a:pt x="1115" y="2199"/>
                    <a:pt x="1117" y="2201"/>
                  </a:cubicBezTo>
                  <a:cubicBezTo>
                    <a:pt x="1118" y="2202"/>
                    <a:pt x="1119" y="2204"/>
                    <a:pt x="1117" y="2206"/>
                  </a:cubicBezTo>
                  <a:cubicBezTo>
                    <a:pt x="1116" y="2208"/>
                    <a:pt x="1115" y="2209"/>
                    <a:pt x="1112" y="2209"/>
                  </a:cubicBezTo>
                  <a:cubicBezTo>
                    <a:pt x="1111" y="2209"/>
                    <a:pt x="1110" y="2209"/>
                    <a:pt x="1109" y="2209"/>
                  </a:cubicBezTo>
                  <a:cubicBezTo>
                    <a:pt x="1108" y="2210"/>
                    <a:pt x="1107" y="2210"/>
                    <a:pt x="1107" y="2211"/>
                  </a:cubicBezTo>
                  <a:cubicBezTo>
                    <a:pt x="1106" y="2212"/>
                    <a:pt x="1107" y="2213"/>
                    <a:pt x="1108" y="2214"/>
                  </a:cubicBezTo>
                  <a:cubicBezTo>
                    <a:pt x="1109" y="2214"/>
                    <a:pt x="1111" y="2215"/>
                    <a:pt x="1112" y="2215"/>
                  </a:cubicBezTo>
                  <a:cubicBezTo>
                    <a:pt x="1118" y="2215"/>
                    <a:pt x="1119" y="2219"/>
                    <a:pt x="1121" y="2223"/>
                  </a:cubicBezTo>
                  <a:cubicBezTo>
                    <a:pt x="1120" y="2226"/>
                    <a:pt x="1122" y="2227"/>
                    <a:pt x="1124" y="2229"/>
                  </a:cubicBezTo>
                  <a:cubicBezTo>
                    <a:pt x="1128" y="2231"/>
                    <a:pt x="1131" y="2234"/>
                    <a:pt x="1134" y="2236"/>
                  </a:cubicBezTo>
                  <a:cubicBezTo>
                    <a:pt x="1134" y="2236"/>
                    <a:pt x="1135" y="2236"/>
                    <a:pt x="1135" y="2236"/>
                  </a:cubicBezTo>
                  <a:cubicBezTo>
                    <a:pt x="1135" y="2236"/>
                    <a:pt x="1135" y="2236"/>
                    <a:pt x="1135" y="2237"/>
                  </a:cubicBezTo>
                  <a:cubicBezTo>
                    <a:pt x="1136" y="2237"/>
                    <a:pt x="1137" y="2238"/>
                    <a:pt x="1137" y="2239"/>
                  </a:cubicBezTo>
                  <a:cubicBezTo>
                    <a:pt x="1138" y="2239"/>
                    <a:pt x="1138" y="2239"/>
                    <a:pt x="1138" y="2239"/>
                  </a:cubicBezTo>
                  <a:cubicBezTo>
                    <a:pt x="1139" y="2240"/>
                    <a:pt x="1139" y="2240"/>
                    <a:pt x="1139" y="2240"/>
                  </a:cubicBezTo>
                  <a:cubicBezTo>
                    <a:pt x="1138" y="2239"/>
                    <a:pt x="1138" y="2239"/>
                    <a:pt x="1138" y="2239"/>
                  </a:cubicBezTo>
                  <a:cubicBezTo>
                    <a:pt x="1138" y="2239"/>
                    <a:pt x="1138" y="2239"/>
                    <a:pt x="1137" y="2239"/>
                  </a:cubicBezTo>
                  <a:cubicBezTo>
                    <a:pt x="1136" y="2238"/>
                    <a:pt x="1136" y="2238"/>
                    <a:pt x="1135" y="2237"/>
                  </a:cubicBezTo>
                  <a:cubicBezTo>
                    <a:pt x="1135" y="2237"/>
                    <a:pt x="1135" y="2236"/>
                    <a:pt x="1135" y="2236"/>
                  </a:cubicBezTo>
                  <a:cubicBezTo>
                    <a:pt x="1135" y="2236"/>
                    <a:pt x="1134" y="2236"/>
                    <a:pt x="1134" y="2236"/>
                  </a:cubicBezTo>
                  <a:cubicBezTo>
                    <a:pt x="1130" y="2237"/>
                    <a:pt x="1125" y="2236"/>
                    <a:pt x="1121" y="2233"/>
                  </a:cubicBezTo>
                  <a:cubicBezTo>
                    <a:pt x="1120" y="2233"/>
                    <a:pt x="1119" y="2233"/>
                    <a:pt x="1118" y="2233"/>
                  </a:cubicBezTo>
                  <a:cubicBezTo>
                    <a:pt x="1118" y="2233"/>
                    <a:pt x="1117" y="2233"/>
                    <a:pt x="1117" y="2234"/>
                  </a:cubicBezTo>
                  <a:cubicBezTo>
                    <a:pt x="1117" y="2235"/>
                    <a:pt x="1117" y="2236"/>
                    <a:pt x="1118" y="2236"/>
                  </a:cubicBezTo>
                  <a:cubicBezTo>
                    <a:pt x="1124" y="2241"/>
                    <a:pt x="1131" y="2245"/>
                    <a:pt x="1137" y="2251"/>
                  </a:cubicBezTo>
                  <a:cubicBezTo>
                    <a:pt x="1139" y="2253"/>
                    <a:pt x="1142" y="2254"/>
                    <a:pt x="1145" y="2255"/>
                  </a:cubicBezTo>
                  <a:cubicBezTo>
                    <a:pt x="1147" y="2256"/>
                    <a:pt x="1149" y="2255"/>
                    <a:pt x="1151" y="2255"/>
                  </a:cubicBezTo>
                  <a:cubicBezTo>
                    <a:pt x="1152" y="2254"/>
                    <a:pt x="1152" y="2253"/>
                    <a:pt x="1153" y="2251"/>
                  </a:cubicBezTo>
                  <a:cubicBezTo>
                    <a:pt x="1153" y="2251"/>
                    <a:pt x="1154" y="2251"/>
                    <a:pt x="1154" y="2251"/>
                  </a:cubicBezTo>
                  <a:cubicBezTo>
                    <a:pt x="1155" y="2251"/>
                    <a:pt x="1156" y="2251"/>
                    <a:pt x="1155" y="2253"/>
                  </a:cubicBezTo>
                  <a:cubicBezTo>
                    <a:pt x="1155" y="2253"/>
                    <a:pt x="1155" y="2254"/>
                    <a:pt x="1155" y="2255"/>
                  </a:cubicBezTo>
                  <a:cubicBezTo>
                    <a:pt x="1156" y="2255"/>
                    <a:pt x="1157" y="2256"/>
                    <a:pt x="1158" y="2256"/>
                  </a:cubicBezTo>
                  <a:cubicBezTo>
                    <a:pt x="1161" y="2257"/>
                    <a:pt x="1164" y="2258"/>
                    <a:pt x="1163" y="2262"/>
                  </a:cubicBezTo>
                  <a:cubicBezTo>
                    <a:pt x="1162" y="2263"/>
                    <a:pt x="1163" y="2264"/>
                    <a:pt x="1164" y="2265"/>
                  </a:cubicBezTo>
                  <a:cubicBezTo>
                    <a:pt x="1168" y="2265"/>
                    <a:pt x="1171" y="2268"/>
                    <a:pt x="1172" y="2271"/>
                  </a:cubicBezTo>
                  <a:cubicBezTo>
                    <a:pt x="1173" y="2273"/>
                    <a:pt x="1175" y="2274"/>
                    <a:pt x="1178" y="2274"/>
                  </a:cubicBezTo>
                  <a:cubicBezTo>
                    <a:pt x="1180" y="2272"/>
                    <a:pt x="1181" y="2269"/>
                    <a:pt x="1184" y="2268"/>
                  </a:cubicBezTo>
                  <a:cubicBezTo>
                    <a:pt x="1185" y="2267"/>
                    <a:pt x="1186" y="2267"/>
                    <a:pt x="1187" y="2268"/>
                  </a:cubicBezTo>
                  <a:cubicBezTo>
                    <a:pt x="1187" y="2269"/>
                    <a:pt x="1187" y="2270"/>
                    <a:pt x="1187" y="2271"/>
                  </a:cubicBezTo>
                  <a:cubicBezTo>
                    <a:pt x="1187" y="2273"/>
                    <a:pt x="1186" y="2276"/>
                    <a:pt x="1188" y="2277"/>
                  </a:cubicBezTo>
                  <a:cubicBezTo>
                    <a:pt x="1190" y="2278"/>
                    <a:pt x="1192" y="2279"/>
                    <a:pt x="1194" y="2279"/>
                  </a:cubicBezTo>
                  <a:cubicBezTo>
                    <a:pt x="1196" y="2279"/>
                    <a:pt x="1197" y="2278"/>
                    <a:pt x="1199" y="2278"/>
                  </a:cubicBezTo>
                  <a:cubicBezTo>
                    <a:pt x="1201" y="2278"/>
                    <a:pt x="1203" y="2279"/>
                    <a:pt x="1205" y="2279"/>
                  </a:cubicBezTo>
                  <a:cubicBezTo>
                    <a:pt x="1209" y="2279"/>
                    <a:pt x="1209" y="2279"/>
                    <a:pt x="1208" y="2274"/>
                  </a:cubicBezTo>
                  <a:cubicBezTo>
                    <a:pt x="1208" y="2274"/>
                    <a:pt x="1207" y="2274"/>
                    <a:pt x="1207" y="2274"/>
                  </a:cubicBezTo>
                  <a:cubicBezTo>
                    <a:pt x="1207" y="2274"/>
                    <a:pt x="1207" y="2274"/>
                    <a:pt x="1207" y="2274"/>
                  </a:cubicBezTo>
                  <a:cubicBezTo>
                    <a:pt x="1207" y="2274"/>
                    <a:pt x="1207" y="2273"/>
                    <a:pt x="1207" y="2273"/>
                  </a:cubicBezTo>
                  <a:cubicBezTo>
                    <a:pt x="1207" y="2273"/>
                    <a:pt x="1207" y="2273"/>
                    <a:pt x="1207" y="2274"/>
                  </a:cubicBezTo>
                  <a:cubicBezTo>
                    <a:pt x="1207" y="2274"/>
                    <a:pt x="1208" y="2274"/>
                    <a:pt x="1208" y="2274"/>
                  </a:cubicBezTo>
                  <a:cubicBezTo>
                    <a:pt x="1208" y="2274"/>
                    <a:pt x="1208" y="2274"/>
                    <a:pt x="1208" y="2274"/>
                  </a:cubicBezTo>
                  <a:cubicBezTo>
                    <a:pt x="1211" y="2274"/>
                    <a:pt x="1214" y="2273"/>
                    <a:pt x="1217" y="2272"/>
                  </a:cubicBezTo>
                  <a:cubicBezTo>
                    <a:pt x="1219" y="2271"/>
                    <a:pt x="1220" y="2270"/>
                    <a:pt x="1221" y="2268"/>
                  </a:cubicBezTo>
                  <a:cubicBezTo>
                    <a:pt x="1221" y="2266"/>
                    <a:pt x="1222" y="2266"/>
                    <a:pt x="1223" y="2266"/>
                  </a:cubicBezTo>
                  <a:cubicBezTo>
                    <a:pt x="1225" y="2267"/>
                    <a:pt x="1228" y="2268"/>
                    <a:pt x="1229" y="2267"/>
                  </a:cubicBezTo>
                  <a:cubicBezTo>
                    <a:pt x="1233" y="2265"/>
                    <a:pt x="1236" y="2262"/>
                    <a:pt x="1240" y="2260"/>
                  </a:cubicBezTo>
                  <a:cubicBezTo>
                    <a:pt x="1240" y="2260"/>
                    <a:pt x="1240" y="2259"/>
                    <a:pt x="1240" y="2259"/>
                  </a:cubicBezTo>
                  <a:cubicBezTo>
                    <a:pt x="1238" y="2257"/>
                    <a:pt x="1236" y="2258"/>
                    <a:pt x="1234" y="2257"/>
                  </a:cubicBezTo>
                  <a:cubicBezTo>
                    <a:pt x="1227" y="2254"/>
                    <a:pt x="1220" y="2251"/>
                    <a:pt x="1213" y="2248"/>
                  </a:cubicBezTo>
                  <a:cubicBezTo>
                    <a:pt x="1212" y="2248"/>
                    <a:pt x="1211" y="2247"/>
                    <a:pt x="1210" y="2246"/>
                  </a:cubicBezTo>
                  <a:cubicBezTo>
                    <a:pt x="1207" y="2243"/>
                    <a:pt x="1203" y="2241"/>
                    <a:pt x="1200" y="2237"/>
                  </a:cubicBezTo>
                  <a:cubicBezTo>
                    <a:pt x="1198" y="2235"/>
                    <a:pt x="1197" y="2233"/>
                    <a:pt x="1196" y="2230"/>
                  </a:cubicBezTo>
                  <a:cubicBezTo>
                    <a:pt x="1195" y="2223"/>
                    <a:pt x="1191" y="2220"/>
                    <a:pt x="1184" y="2220"/>
                  </a:cubicBezTo>
                  <a:cubicBezTo>
                    <a:pt x="1182" y="2220"/>
                    <a:pt x="1180" y="2220"/>
                    <a:pt x="1178" y="2220"/>
                  </a:cubicBezTo>
                  <a:cubicBezTo>
                    <a:pt x="1178" y="2220"/>
                    <a:pt x="1178" y="2221"/>
                    <a:pt x="1178" y="2221"/>
                  </a:cubicBezTo>
                  <a:cubicBezTo>
                    <a:pt x="1178" y="2221"/>
                    <a:pt x="1178" y="2221"/>
                    <a:pt x="1178" y="2221"/>
                  </a:cubicBezTo>
                  <a:cubicBezTo>
                    <a:pt x="1177" y="2222"/>
                    <a:pt x="1177" y="2224"/>
                    <a:pt x="1176" y="2225"/>
                  </a:cubicBezTo>
                  <a:cubicBezTo>
                    <a:pt x="1171" y="2227"/>
                    <a:pt x="1171" y="2232"/>
                    <a:pt x="1170" y="2236"/>
                  </a:cubicBezTo>
                  <a:cubicBezTo>
                    <a:pt x="1170" y="2237"/>
                    <a:pt x="1170" y="2237"/>
                    <a:pt x="1170" y="2238"/>
                  </a:cubicBezTo>
                  <a:cubicBezTo>
                    <a:pt x="1170" y="2238"/>
                    <a:pt x="1169" y="2239"/>
                    <a:pt x="1169" y="2239"/>
                  </a:cubicBezTo>
                  <a:cubicBezTo>
                    <a:pt x="1169" y="2238"/>
                    <a:pt x="1168" y="2238"/>
                    <a:pt x="1168" y="2237"/>
                  </a:cubicBezTo>
                  <a:cubicBezTo>
                    <a:pt x="1168" y="2235"/>
                    <a:pt x="1168" y="2233"/>
                    <a:pt x="1168" y="2231"/>
                  </a:cubicBezTo>
                  <a:cubicBezTo>
                    <a:pt x="1169" y="2226"/>
                    <a:pt x="1172" y="2222"/>
                    <a:pt x="1178" y="2221"/>
                  </a:cubicBezTo>
                  <a:cubicBezTo>
                    <a:pt x="1178" y="2221"/>
                    <a:pt x="1178" y="2220"/>
                    <a:pt x="1178" y="2220"/>
                  </a:cubicBezTo>
                  <a:cubicBezTo>
                    <a:pt x="1178" y="2220"/>
                    <a:pt x="1178" y="2220"/>
                    <a:pt x="1178" y="2220"/>
                  </a:cubicBezTo>
                  <a:cubicBezTo>
                    <a:pt x="1180" y="2217"/>
                    <a:pt x="1181" y="2215"/>
                    <a:pt x="1185" y="2216"/>
                  </a:cubicBezTo>
                  <a:cubicBezTo>
                    <a:pt x="1186" y="2216"/>
                    <a:pt x="1186" y="2216"/>
                    <a:pt x="1187" y="2216"/>
                  </a:cubicBezTo>
                  <a:cubicBezTo>
                    <a:pt x="1188" y="2216"/>
                    <a:pt x="1189" y="2216"/>
                    <a:pt x="1190" y="2215"/>
                  </a:cubicBezTo>
                  <a:cubicBezTo>
                    <a:pt x="1190" y="2214"/>
                    <a:pt x="1190" y="2213"/>
                    <a:pt x="1190" y="2212"/>
                  </a:cubicBezTo>
                  <a:cubicBezTo>
                    <a:pt x="1187" y="2209"/>
                    <a:pt x="1184" y="2206"/>
                    <a:pt x="1182" y="2202"/>
                  </a:cubicBezTo>
                  <a:cubicBezTo>
                    <a:pt x="1180" y="2198"/>
                    <a:pt x="1180" y="2194"/>
                    <a:pt x="1178" y="2190"/>
                  </a:cubicBezTo>
                  <a:cubicBezTo>
                    <a:pt x="1177" y="2186"/>
                    <a:pt x="1178" y="2182"/>
                    <a:pt x="1181" y="2179"/>
                  </a:cubicBezTo>
                  <a:cubicBezTo>
                    <a:pt x="1182" y="2177"/>
                    <a:pt x="1184" y="2176"/>
                    <a:pt x="1185" y="2174"/>
                  </a:cubicBezTo>
                  <a:cubicBezTo>
                    <a:pt x="1190" y="2171"/>
                    <a:pt x="1192" y="2167"/>
                    <a:pt x="1191" y="2162"/>
                  </a:cubicBezTo>
                  <a:cubicBezTo>
                    <a:pt x="1191" y="2158"/>
                    <a:pt x="1192" y="2154"/>
                    <a:pt x="1196" y="2151"/>
                  </a:cubicBezTo>
                  <a:cubicBezTo>
                    <a:pt x="1199" y="2148"/>
                    <a:pt x="1202" y="2144"/>
                    <a:pt x="1205" y="2140"/>
                  </a:cubicBezTo>
                  <a:cubicBezTo>
                    <a:pt x="1207" y="2138"/>
                    <a:pt x="1208" y="2136"/>
                    <a:pt x="1207" y="2133"/>
                  </a:cubicBezTo>
                  <a:cubicBezTo>
                    <a:pt x="1207" y="2131"/>
                    <a:pt x="1207" y="2130"/>
                    <a:pt x="1207" y="2128"/>
                  </a:cubicBezTo>
                  <a:cubicBezTo>
                    <a:pt x="1206" y="2124"/>
                    <a:pt x="1204" y="2120"/>
                    <a:pt x="1198" y="2120"/>
                  </a:cubicBezTo>
                  <a:cubicBezTo>
                    <a:pt x="1195" y="2120"/>
                    <a:pt x="1193" y="2119"/>
                    <a:pt x="1191" y="2117"/>
                  </a:cubicBezTo>
                  <a:cubicBezTo>
                    <a:pt x="1188" y="2115"/>
                    <a:pt x="1186" y="2113"/>
                    <a:pt x="1183" y="2111"/>
                  </a:cubicBezTo>
                  <a:cubicBezTo>
                    <a:pt x="1178" y="2107"/>
                    <a:pt x="1177" y="2102"/>
                    <a:pt x="1182" y="2096"/>
                  </a:cubicBezTo>
                  <a:cubicBezTo>
                    <a:pt x="1183" y="2094"/>
                    <a:pt x="1185" y="2092"/>
                    <a:pt x="1187" y="2091"/>
                  </a:cubicBezTo>
                  <a:cubicBezTo>
                    <a:pt x="1191" y="2089"/>
                    <a:pt x="1194" y="2088"/>
                    <a:pt x="1198" y="2086"/>
                  </a:cubicBezTo>
                  <a:cubicBezTo>
                    <a:pt x="1199" y="2086"/>
                    <a:pt x="1200" y="2085"/>
                    <a:pt x="1200" y="2084"/>
                  </a:cubicBezTo>
                  <a:cubicBezTo>
                    <a:pt x="1201" y="2080"/>
                    <a:pt x="1205" y="2076"/>
                    <a:pt x="1202" y="2071"/>
                  </a:cubicBezTo>
                  <a:cubicBezTo>
                    <a:pt x="1202" y="2069"/>
                    <a:pt x="1202" y="2068"/>
                    <a:pt x="1201" y="2066"/>
                  </a:cubicBezTo>
                  <a:cubicBezTo>
                    <a:pt x="1201" y="2062"/>
                    <a:pt x="1202" y="2058"/>
                    <a:pt x="1205" y="2055"/>
                  </a:cubicBezTo>
                  <a:cubicBezTo>
                    <a:pt x="1208" y="2053"/>
                    <a:pt x="1209" y="2050"/>
                    <a:pt x="1211" y="2048"/>
                  </a:cubicBezTo>
                  <a:cubicBezTo>
                    <a:pt x="1211" y="2048"/>
                    <a:pt x="1211" y="2048"/>
                    <a:pt x="1211" y="2048"/>
                  </a:cubicBezTo>
                  <a:cubicBezTo>
                    <a:pt x="1211" y="2048"/>
                    <a:pt x="1211" y="2048"/>
                    <a:pt x="1211" y="2048"/>
                  </a:cubicBezTo>
                  <a:cubicBezTo>
                    <a:pt x="1209" y="2048"/>
                    <a:pt x="1208" y="2048"/>
                    <a:pt x="1207" y="2047"/>
                  </a:cubicBezTo>
                  <a:cubicBezTo>
                    <a:pt x="1206" y="2047"/>
                    <a:pt x="1206" y="2045"/>
                    <a:pt x="1207" y="2045"/>
                  </a:cubicBezTo>
                  <a:cubicBezTo>
                    <a:pt x="1207" y="2045"/>
                    <a:pt x="1208" y="2044"/>
                    <a:pt x="1208" y="2045"/>
                  </a:cubicBezTo>
                  <a:cubicBezTo>
                    <a:pt x="1209" y="2045"/>
                    <a:pt x="1210" y="2047"/>
                    <a:pt x="1211" y="2048"/>
                  </a:cubicBezTo>
                  <a:cubicBezTo>
                    <a:pt x="1211" y="2048"/>
                    <a:pt x="1211" y="2048"/>
                    <a:pt x="1212" y="2048"/>
                  </a:cubicBezTo>
                  <a:cubicBezTo>
                    <a:pt x="1211" y="2048"/>
                    <a:pt x="1211" y="2048"/>
                    <a:pt x="1211" y="2048"/>
                  </a:cubicBezTo>
                  <a:cubicBezTo>
                    <a:pt x="1212" y="2048"/>
                    <a:pt x="1213" y="2049"/>
                    <a:pt x="1214" y="2049"/>
                  </a:cubicBezTo>
                  <a:cubicBezTo>
                    <a:pt x="1218" y="2048"/>
                    <a:pt x="1221" y="2046"/>
                    <a:pt x="1220" y="2043"/>
                  </a:cubicBezTo>
                  <a:cubicBezTo>
                    <a:pt x="1220" y="2040"/>
                    <a:pt x="1219" y="2038"/>
                    <a:pt x="1218" y="2035"/>
                  </a:cubicBezTo>
                  <a:cubicBezTo>
                    <a:pt x="1218" y="2034"/>
                    <a:pt x="1215" y="2033"/>
                    <a:pt x="1214" y="2034"/>
                  </a:cubicBezTo>
                  <a:cubicBezTo>
                    <a:pt x="1213" y="2034"/>
                    <a:pt x="1212" y="2035"/>
                    <a:pt x="1211" y="2035"/>
                  </a:cubicBezTo>
                  <a:cubicBezTo>
                    <a:pt x="1206" y="2037"/>
                    <a:pt x="1201" y="2035"/>
                    <a:pt x="1199" y="2030"/>
                  </a:cubicBezTo>
                  <a:cubicBezTo>
                    <a:pt x="1199" y="2027"/>
                    <a:pt x="1198" y="2024"/>
                    <a:pt x="1197" y="2021"/>
                  </a:cubicBezTo>
                  <a:cubicBezTo>
                    <a:pt x="1197" y="2020"/>
                    <a:pt x="1197" y="2019"/>
                    <a:pt x="1196" y="2018"/>
                  </a:cubicBezTo>
                  <a:cubicBezTo>
                    <a:pt x="1196" y="2016"/>
                    <a:pt x="1199" y="2014"/>
                    <a:pt x="1201" y="2015"/>
                  </a:cubicBezTo>
                  <a:cubicBezTo>
                    <a:pt x="1204" y="2016"/>
                    <a:pt x="1207" y="2017"/>
                    <a:pt x="1210" y="2018"/>
                  </a:cubicBezTo>
                  <a:cubicBezTo>
                    <a:pt x="1214" y="2021"/>
                    <a:pt x="1218" y="2021"/>
                    <a:pt x="1223" y="2020"/>
                  </a:cubicBezTo>
                  <a:cubicBezTo>
                    <a:pt x="1227" y="2020"/>
                    <a:pt x="1232" y="2015"/>
                    <a:pt x="1232" y="2011"/>
                  </a:cubicBezTo>
                  <a:cubicBezTo>
                    <a:pt x="1232" y="2008"/>
                    <a:pt x="1231" y="2005"/>
                    <a:pt x="1231" y="2002"/>
                  </a:cubicBezTo>
                  <a:cubicBezTo>
                    <a:pt x="1231" y="1998"/>
                    <a:pt x="1232" y="1995"/>
                    <a:pt x="1233" y="1991"/>
                  </a:cubicBezTo>
                  <a:cubicBezTo>
                    <a:pt x="1233" y="1990"/>
                    <a:pt x="1232" y="1990"/>
                    <a:pt x="1232" y="1989"/>
                  </a:cubicBezTo>
                  <a:cubicBezTo>
                    <a:pt x="1232" y="1988"/>
                    <a:pt x="1232" y="1987"/>
                    <a:pt x="1231" y="1986"/>
                  </a:cubicBezTo>
                  <a:cubicBezTo>
                    <a:pt x="1231" y="1983"/>
                    <a:pt x="1232" y="1981"/>
                    <a:pt x="1235" y="1982"/>
                  </a:cubicBezTo>
                  <a:cubicBezTo>
                    <a:pt x="1248" y="1984"/>
                    <a:pt x="1260" y="1983"/>
                    <a:pt x="1271" y="1979"/>
                  </a:cubicBezTo>
                  <a:cubicBezTo>
                    <a:pt x="1274" y="1978"/>
                    <a:pt x="1277" y="1977"/>
                    <a:pt x="1280" y="1975"/>
                  </a:cubicBezTo>
                  <a:cubicBezTo>
                    <a:pt x="1286" y="1973"/>
                    <a:pt x="1290" y="1971"/>
                    <a:pt x="1291" y="1965"/>
                  </a:cubicBezTo>
                  <a:cubicBezTo>
                    <a:pt x="1292" y="1961"/>
                    <a:pt x="1294" y="1958"/>
                    <a:pt x="1296" y="1955"/>
                  </a:cubicBezTo>
                  <a:cubicBezTo>
                    <a:pt x="1297" y="1953"/>
                    <a:pt x="1297" y="1951"/>
                    <a:pt x="1298" y="1949"/>
                  </a:cubicBezTo>
                  <a:cubicBezTo>
                    <a:pt x="1298" y="1946"/>
                    <a:pt x="1297" y="1943"/>
                    <a:pt x="1294" y="1942"/>
                  </a:cubicBezTo>
                  <a:cubicBezTo>
                    <a:pt x="1293" y="1941"/>
                    <a:pt x="1291" y="1941"/>
                    <a:pt x="1290" y="1940"/>
                  </a:cubicBezTo>
                  <a:cubicBezTo>
                    <a:pt x="1288" y="1939"/>
                    <a:pt x="1288" y="1937"/>
                    <a:pt x="1288" y="1936"/>
                  </a:cubicBezTo>
                  <a:cubicBezTo>
                    <a:pt x="1288" y="1934"/>
                    <a:pt x="1288" y="1933"/>
                    <a:pt x="1289" y="1931"/>
                  </a:cubicBezTo>
                  <a:cubicBezTo>
                    <a:pt x="1291" y="1927"/>
                    <a:pt x="1289" y="1924"/>
                    <a:pt x="1286" y="1922"/>
                  </a:cubicBezTo>
                  <a:cubicBezTo>
                    <a:pt x="1282" y="1919"/>
                    <a:pt x="1278" y="1917"/>
                    <a:pt x="1274" y="1914"/>
                  </a:cubicBezTo>
                  <a:cubicBezTo>
                    <a:pt x="1274" y="1914"/>
                    <a:pt x="1274" y="1914"/>
                    <a:pt x="1274" y="1914"/>
                  </a:cubicBezTo>
                  <a:cubicBezTo>
                    <a:pt x="1274" y="1913"/>
                    <a:pt x="1273" y="1913"/>
                    <a:pt x="1273" y="1913"/>
                  </a:cubicBezTo>
                  <a:cubicBezTo>
                    <a:pt x="1273" y="1913"/>
                    <a:pt x="1273" y="1912"/>
                    <a:pt x="1273" y="1912"/>
                  </a:cubicBezTo>
                  <a:cubicBezTo>
                    <a:pt x="1273" y="1912"/>
                    <a:pt x="1273" y="1912"/>
                    <a:pt x="1273" y="1912"/>
                  </a:cubicBezTo>
                  <a:cubicBezTo>
                    <a:pt x="1273" y="1913"/>
                    <a:pt x="1273" y="1913"/>
                    <a:pt x="1273" y="1913"/>
                  </a:cubicBezTo>
                  <a:cubicBezTo>
                    <a:pt x="1274" y="1913"/>
                    <a:pt x="1274" y="1913"/>
                    <a:pt x="1274" y="1913"/>
                  </a:cubicBezTo>
                  <a:cubicBezTo>
                    <a:pt x="1274" y="1913"/>
                    <a:pt x="1274" y="1914"/>
                    <a:pt x="1274" y="1914"/>
                  </a:cubicBezTo>
                  <a:cubicBezTo>
                    <a:pt x="1282" y="1915"/>
                    <a:pt x="1290" y="1914"/>
                    <a:pt x="1297" y="1919"/>
                  </a:cubicBezTo>
                  <a:cubicBezTo>
                    <a:pt x="1299" y="1919"/>
                    <a:pt x="1301" y="1919"/>
                    <a:pt x="1302" y="1919"/>
                  </a:cubicBezTo>
                  <a:cubicBezTo>
                    <a:pt x="1305" y="1920"/>
                    <a:pt x="1309" y="1920"/>
                    <a:pt x="1312" y="1920"/>
                  </a:cubicBezTo>
                  <a:cubicBezTo>
                    <a:pt x="1320" y="1920"/>
                    <a:pt x="1327" y="1917"/>
                    <a:pt x="1331" y="1910"/>
                  </a:cubicBezTo>
                  <a:cubicBezTo>
                    <a:pt x="1334" y="1906"/>
                    <a:pt x="1335" y="1902"/>
                    <a:pt x="1338" y="1899"/>
                  </a:cubicBezTo>
                  <a:cubicBezTo>
                    <a:pt x="1342" y="1896"/>
                    <a:pt x="1344" y="1892"/>
                    <a:pt x="1346" y="1887"/>
                  </a:cubicBezTo>
                  <a:cubicBezTo>
                    <a:pt x="1347" y="1882"/>
                    <a:pt x="1348" y="1877"/>
                    <a:pt x="1350" y="1872"/>
                  </a:cubicBezTo>
                  <a:cubicBezTo>
                    <a:pt x="1350" y="1873"/>
                    <a:pt x="1350" y="1873"/>
                    <a:pt x="1350" y="1873"/>
                  </a:cubicBezTo>
                  <a:cubicBezTo>
                    <a:pt x="1350" y="1873"/>
                    <a:pt x="1350" y="1872"/>
                    <a:pt x="1350" y="1872"/>
                  </a:cubicBezTo>
                  <a:cubicBezTo>
                    <a:pt x="1350" y="1872"/>
                    <a:pt x="1350" y="1872"/>
                    <a:pt x="1350" y="1872"/>
                  </a:cubicBezTo>
                  <a:cubicBezTo>
                    <a:pt x="1349" y="1868"/>
                    <a:pt x="1349" y="1866"/>
                    <a:pt x="1352" y="1864"/>
                  </a:cubicBezTo>
                  <a:cubicBezTo>
                    <a:pt x="1354" y="1863"/>
                    <a:pt x="1355" y="1863"/>
                    <a:pt x="1356" y="1863"/>
                  </a:cubicBezTo>
                  <a:cubicBezTo>
                    <a:pt x="1357" y="1859"/>
                    <a:pt x="1359" y="1855"/>
                    <a:pt x="1361" y="1852"/>
                  </a:cubicBezTo>
                  <a:cubicBezTo>
                    <a:pt x="1362" y="1851"/>
                    <a:pt x="1363" y="1850"/>
                    <a:pt x="1364" y="1850"/>
                  </a:cubicBezTo>
                  <a:cubicBezTo>
                    <a:pt x="1364" y="1850"/>
                    <a:pt x="1365" y="1852"/>
                    <a:pt x="1365" y="1852"/>
                  </a:cubicBezTo>
                  <a:cubicBezTo>
                    <a:pt x="1366" y="1854"/>
                    <a:pt x="1366" y="1855"/>
                    <a:pt x="1366" y="1857"/>
                  </a:cubicBezTo>
                  <a:cubicBezTo>
                    <a:pt x="1370" y="1856"/>
                    <a:pt x="1371" y="1854"/>
                    <a:pt x="1372" y="1852"/>
                  </a:cubicBezTo>
                  <a:cubicBezTo>
                    <a:pt x="1377" y="1842"/>
                    <a:pt x="1381" y="1832"/>
                    <a:pt x="1388" y="1823"/>
                  </a:cubicBezTo>
                  <a:cubicBezTo>
                    <a:pt x="1393" y="1817"/>
                    <a:pt x="1395" y="1810"/>
                    <a:pt x="1391" y="1802"/>
                  </a:cubicBezTo>
                  <a:cubicBezTo>
                    <a:pt x="1391" y="1801"/>
                    <a:pt x="1390" y="1800"/>
                    <a:pt x="1390" y="1799"/>
                  </a:cubicBezTo>
                  <a:cubicBezTo>
                    <a:pt x="1389" y="1790"/>
                    <a:pt x="1390" y="1781"/>
                    <a:pt x="1398" y="1775"/>
                  </a:cubicBezTo>
                  <a:cubicBezTo>
                    <a:pt x="1402" y="1772"/>
                    <a:pt x="1405" y="1769"/>
                    <a:pt x="1408" y="1766"/>
                  </a:cubicBezTo>
                  <a:cubicBezTo>
                    <a:pt x="1413" y="1761"/>
                    <a:pt x="1420" y="1758"/>
                    <a:pt x="1426" y="1756"/>
                  </a:cubicBezTo>
                  <a:cubicBezTo>
                    <a:pt x="1430" y="1755"/>
                    <a:pt x="1433" y="1753"/>
                    <a:pt x="1436" y="1751"/>
                  </a:cubicBezTo>
                  <a:cubicBezTo>
                    <a:pt x="1438" y="1749"/>
                    <a:pt x="1441" y="1747"/>
                    <a:pt x="1442" y="1744"/>
                  </a:cubicBezTo>
                  <a:cubicBezTo>
                    <a:pt x="1442" y="1743"/>
                    <a:pt x="1444" y="1742"/>
                    <a:pt x="1445" y="1742"/>
                  </a:cubicBezTo>
                  <a:cubicBezTo>
                    <a:pt x="1448" y="1743"/>
                    <a:pt x="1451" y="1742"/>
                    <a:pt x="1454" y="1742"/>
                  </a:cubicBezTo>
                  <a:cubicBezTo>
                    <a:pt x="1458" y="1742"/>
                    <a:pt x="1461" y="1742"/>
                    <a:pt x="1464" y="1742"/>
                  </a:cubicBezTo>
                  <a:cubicBezTo>
                    <a:pt x="1470" y="1742"/>
                    <a:pt x="1476" y="1741"/>
                    <a:pt x="1480" y="1736"/>
                  </a:cubicBezTo>
                  <a:cubicBezTo>
                    <a:pt x="1482" y="1733"/>
                    <a:pt x="1486" y="1733"/>
                    <a:pt x="1488" y="1731"/>
                  </a:cubicBezTo>
                  <a:cubicBezTo>
                    <a:pt x="1490" y="1729"/>
                    <a:pt x="1491" y="1728"/>
                    <a:pt x="1491" y="1725"/>
                  </a:cubicBezTo>
                  <a:cubicBezTo>
                    <a:pt x="1490" y="1723"/>
                    <a:pt x="1490" y="1720"/>
                    <a:pt x="1492" y="1718"/>
                  </a:cubicBezTo>
                  <a:cubicBezTo>
                    <a:pt x="1495" y="1712"/>
                    <a:pt x="1498" y="1707"/>
                    <a:pt x="1501" y="1701"/>
                  </a:cubicBezTo>
                  <a:cubicBezTo>
                    <a:pt x="1504" y="1697"/>
                    <a:pt x="1506" y="1693"/>
                    <a:pt x="1505" y="1688"/>
                  </a:cubicBezTo>
                  <a:cubicBezTo>
                    <a:pt x="1505" y="1684"/>
                    <a:pt x="1504" y="1681"/>
                    <a:pt x="1507" y="1677"/>
                  </a:cubicBezTo>
                  <a:cubicBezTo>
                    <a:pt x="1511" y="1672"/>
                    <a:pt x="1512" y="1665"/>
                    <a:pt x="1512" y="1658"/>
                  </a:cubicBezTo>
                  <a:cubicBezTo>
                    <a:pt x="1513" y="1650"/>
                    <a:pt x="1513" y="1641"/>
                    <a:pt x="1513" y="1633"/>
                  </a:cubicBezTo>
                  <a:cubicBezTo>
                    <a:pt x="1513" y="1627"/>
                    <a:pt x="1512" y="1622"/>
                    <a:pt x="1512" y="1616"/>
                  </a:cubicBezTo>
                  <a:cubicBezTo>
                    <a:pt x="1512" y="1613"/>
                    <a:pt x="1513" y="1610"/>
                    <a:pt x="1516" y="1609"/>
                  </a:cubicBezTo>
                  <a:cubicBezTo>
                    <a:pt x="1523" y="1606"/>
                    <a:pt x="1528" y="1600"/>
                    <a:pt x="1530" y="1593"/>
                  </a:cubicBezTo>
                  <a:cubicBezTo>
                    <a:pt x="1531" y="1592"/>
                    <a:pt x="1532" y="1590"/>
                    <a:pt x="1532" y="1589"/>
                  </a:cubicBezTo>
                  <a:cubicBezTo>
                    <a:pt x="1535" y="1585"/>
                    <a:pt x="1537" y="1581"/>
                    <a:pt x="1541" y="1578"/>
                  </a:cubicBezTo>
                  <a:cubicBezTo>
                    <a:pt x="1546" y="1574"/>
                    <a:pt x="1550" y="1570"/>
                    <a:pt x="1554" y="1565"/>
                  </a:cubicBezTo>
                  <a:cubicBezTo>
                    <a:pt x="1558" y="1561"/>
                    <a:pt x="1561" y="1556"/>
                    <a:pt x="1564" y="1551"/>
                  </a:cubicBezTo>
                  <a:cubicBezTo>
                    <a:pt x="1566" y="1546"/>
                    <a:pt x="1567" y="1534"/>
                    <a:pt x="1566" y="1530"/>
                  </a:cubicBezTo>
                  <a:cubicBezTo>
                    <a:pt x="1564" y="1523"/>
                    <a:pt x="1561" y="1516"/>
                    <a:pt x="1558" y="1509"/>
                  </a:cubicBezTo>
                  <a:close/>
                  <a:moveTo>
                    <a:pt x="1016" y="807"/>
                  </a:moveTo>
                  <a:cubicBezTo>
                    <a:pt x="1016" y="807"/>
                    <a:pt x="1017" y="807"/>
                    <a:pt x="1017" y="806"/>
                  </a:cubicBezTo>
                  <a:cubicBezTo>
                    <a:pt x="1020" y="805"/>
                    <a:pt x="1022" y="804"/>
                    <a:pt x="1025" y="804"/>
                  </a:cubicBezTo>
                  <a:cubicBezTo>
                    <a:pt x="1030" y="803"/>
                    <a:pt x="1036" y="803"/>
                    <a:pt x="1041" y="803"/>
                  </a:cubicBezTo>
                  <a:cubicBezTo>
                    <a:pt x="1045" y="803"/>
                    <a:pt x="1048" y="802"/>
                    <a:pt x="1050" y="799"/>
                  </a:cubicBezTo>
                  <a:cubicBezTo>
                    <a:pt x="1051" y="799"/>
                    <a:pt x="1052" y="799"/>
                    <a:pt x="1053" y="798"/>
                  </a:cubicBezTo>
                  <a:cubicBezTo>
                    <a:pt x="1053" y="799"/>
                    <a:pt x="1054" y="799"/>
                    <a:pt x="1054" y="799"/>
                  </a:cubicBezTo>
                  <a:cubicBezTo>
                    <a:pt x="1056" y="802"/>
                    <a:pt x="1056" y="806"/>
                    <a:pt x="1054" y="808"/>
                  </a:cubicBezTo>
                  <a:cubicBezTo>
                    <a:pt x="1050" y="812"/>
                    <a:pt x="1046" y="816"/>
                    <a:pt x="1040" y="813"/>
                  </a:cubicBezTo>
                  <a:cubicBezTo>
                    <a:pt x="1032" y="811"/>
                    <a:pt x="1024" y="813"/>
                    <a:pt x="1017" y="812"/>
                  </a:cubicBezTo>
                  <a:cubicBezTo>
                    <a:pt x="1016" y="812"/>
                    <a:pt x="1015" y="811"/>
                    <a:pt x="1015" y="810"/>
                  </a:cubicBezTo>
                  <a:cubicBezTo>
                    <a:pt x="1015" y="809"/>
                    <a:pt x="1015" y="808"/>
                    <a:pt x="1016" y="807"/>
                  </a:cubicBezTo>
                  <a:close/>
                  <a:moveTo>
                    <a:pt x="1013" y="822"/>
                  </a:moveTo>
                  <a:cubicBezTo>
                    <a:pt x="1013" y="823"/>
                    <a:pt x="1013" y="824"/>
                    <a:pt x="1012" y="824"/>
                  </a:cubicBezTo>
                  <a:cubicBezTo>
                    <a:pt x="1006" y="827"/>
                    <a:pt x="1001" y="830"/>
                    <a:pt x="995" y="833"/>
                  </a:cubicBezTo>
                  <a:cubicBezTo>
                    <a:pt x="990" y="834"/>
                    <a:pt x="986" y="836"/>
                    <a:pt x="981" y="838"/>
                  </a:cubicBezTo>
                  <a:cubicBezTo>
                    <a:pt x="977" y="841"/>
                    <a:pt x="972" y="842"/>
                    <a:pt x="967" y="842"/>
                  </a:cubicBezTo>
                  <a:cubicBezTo>
                    <a:pt x="965" y="841"/>
                    <a:pt x="963" y="840"/>
                    <a:pt x="962" y="839"/>
                  </a:cubicBezTo>
                  <a:cubicBezTo>
                    <a:pt x="960" y="838"/>
                    <a:pt x="961" y="834"/>
                    <a:pt x="962" y="833"/>
                  </a:cubicBezTo>
                  <a:cubicBezTo>
                    <a:pt x="963" y="833"/>
                    <a:pt x="963" y="833"/>
                    <a:pt x="964" y="833"/>
                  </a:cubicBezTo>
                  <a:cubicBezTo>
                    <a:pt x="972" y="832"/>
                    <a:pt x="978" y="828"/>
                    <a:pt x="985" y="824"/>
                  </a:cubicBezTo>
                  <a:cubicBezTo>
                    <a:pt x="987" y="823"/>
                    <a:pt x="990" y="823"/>
                    <a:pt x="992" y="823"/>
                  </a:cubicBezTo>
                  <a:cubicBezTo>
                    <a:pt x="996" y="825"/>
                    <a:pt x="999" y="824"/>
                    <a:pt x="1002" y="823"/>
                  </a:cubicBezTo>
                  <a:cubicBezTo>
                    <a:pt x="1004" y="822"/>
                    <a:pt x="1007" y="821"/>
                    <a:pt x="1009" y="820"/>
                  </a:cubicBezTo>
                  <a:cubicBezTo>
                    <a:pt x="1011" y="820"/>
                    <a:pt x="1014" y="821"/>
                    <a:pt x="1013" y="822"/>
                  </a:cubicBezTo>
                  <a:close/>
                  <a:moveTo>
                    <a:pt x="966" y="758"/>
                  </a:moveTo>
                  <a:cubicBezTo>
                    <a:pt x="978" y="759"/>
                    <a:pt x="989" y="762"/>
                    <a:pt x="1000" y="766"/>
                  </a:cubicBezTo>
                  <a:cubicBezTo>
                    <a:pt x="1001" y="766"/>
                    <a:pt x="1003" y="767"/>
                    <a:pt x="1004" y="768"/>
                  </a:cubicBezTo>
                  <a:cubicBezTo>
                    <a:pt x="1006" y="772"/>
                    <a:pt x="1008" y="777"/>
                    <a:pt x="1010" y="781"/>
                  </a:cubicBezTo>
                  <a:cubicBezTo>
                    <a:pt x="1012" y="783"/>
                    <a:pt x="1010" y="785"/>
                    <a:pt x="1009" y="787"/>
                  </a:cubicBezTo>
                  <a:cubicBezTo>
                    <a:pt x="1008" y="788"/>
                    <a:pt x="1006" y="788"/>
                    <a:pt x="1005" y="788"/>
                  </a:cubicBezTo>
                  <a:cubicBezTo>
                    <a:pt x="1001" y="786"/>
                    <a:pt x="999" y="783"/>
                    <a:pt x="996" y="781"/>
                  </a:cubicBezTo>
                  <a:cubicBezTo>
                    <a:pt x="996" y="780"/>
                    <a:pt x="994" y="780"/>
                    <a:pt x="994" y="780"/>
                  </a:cubicBezTo>
                  <a:cubicBezTo>
                    <a:pt x="993" y="780"/>
                    <a:pt x="993" y="781"/>
                    <a:pt x="993" y="781"/>
                  </a:cubicBezTo>
                  <a:cubicBezTo>
                    <a:pt x="992" y="783"/>
                    <a:pt x="993" y="785"/>
                    <a:pt x="992" y="786"/>
                  </a:cubicBezTo>
                  <a:cubicBezTo>
                    <a:pt x="988" y="793"/>
                    <a:pt x="985" y="800"/>
                    <a:pt x="983" y="808"/>
                  </a:cubicBezTo>
                  <a:cubicBezTo>
                    <a:pt x="983" y="809"/>
                    <a:pt x="981" y="809"/>
                    <a:pt x="981" y="810"/>
                  </a:cubicBezTo>
                  <a:cubicBezTo>
                    <a:pt x="980" y="811"/>
                    <a:pt x="977" y="810"/>
                    <a:pt x="977" y="809"/>
                  </a:cubicBezTo>
                  <a:cubicBezTo>
                    <a:pt x="976" y="806"/>
                    <a:pt x="976" y="803"/>
                    <a:pt x="975" y="800"/>
                  </a:cubicBezTo>
                  <a:cubicBezTo>
                    <a:pt x="974" y="797"/>
                    <a:pt x="971" y="796"/>
                    <a:pt x="968" y="797"/>
                  </a:cubicBezTo>
                  <a:cubicBezTo>
                    <a:pt x="967" y="798"/>
                    <a:pt x="965" y="798"/>
                    <a:pt x="964" y="799"/>
                  </a:cubicBezTo>
                  <a:cubicBezTo>
                    <a:pt x="963" y="800"/>
                    <a:pt x="962" y="800"/>
                    <a:pt x="961" y="799"/>
                  </a:cubicBezTo>
                  <a:cubicBezTo>
                    <a:pt x="961" y="799"/>
                    <a:pt x="961" y="798"/>
                    <a:pt x="961" y="798"/>
                  </a:cubicBezTo>
                  <a:cubicBezTo>
                    <a:pt x="963" y="796"/>
                    <a:pt x="965" y="794"/>
                    <a:pt x="966" y="792"/>
                  </a:cubicBezTo>
                  <a:cubicBezTo>
                    <a:pt x="969" y="788"/>
                    <a:pt x="970" y="783"/>
                    <a:pt x="968" y="778"/>
                  </a:cubicBezTo>
                  <a:cubicBezTo>
                    <a:pt x="967" y="777"/>
                    <a:pt x="966" y="775"/>
                    <a:pt x="964" y="773"/>
                  </a:cubicBezTo>
                  <a:cubicBezTo>
                    <a:pt x="962" y="771"/>
                    <a:pt x="959" y="770"/>
                    <a:pt x="956" y="768"/>
                  </a:cubicBezTo>
                  <a:cubicBezTo>
                    <a:pt x="955" y="767"/>
                    <a:pt x="955" y="766"/>
                    <a:pt x="954" y="765"/>
                  </a:cubicBezTo>
                  <a:cubicBezTo>
                    <a:pt x="954" y="765"/>
                    <a:pt x="953" y="765"/>
                    <a:pt x="953" y="765"/>
                  </a:cubicBezTo>
                  <a:cubicBezTo>
                    <a:pt x="953" y="765"/>
                    <a:pt x="953" y="765"/>
                    <a:pt x="953" y="765"/>
                  </a:cubicBezTo>
                  <a:cubicBezTo>
                    <a:pt x="950" y="767"/>
                    <a:pt x="948" y="769"/>
                    <a:pt x="946" y="772"/>
                  </a:cubicBezTo>
                  <a:cubicBezTo>
                    <a:pt x="944" y="774"/>
                    <a:pt x="942" y="776"/>
                    <a:pt x="939" y="776"/>
                  </a:cubicBezTo>
                  <a:cubicBezTo>
                    <a:pt x="935" y="777"/>
                    <a:pt x="933" y="779"/>
                    <a:pt x="931" y="782"/>
                  </a:cubicBezTo>
                  <a:cubicBezTo>
                    <a:pt x="927" y="790"/>
                    <a:pt x="923" y="800"/>
                    <a:pt x="923" y="810"/>
                  </a:cubicBezTo>
                  <a:cubicBezTo>
                    <a:pt x="924" y="820"/>
                    <a:pt x="918" y="826"/>
                    <a:pt x="910" y="832"/>
                  </a:cubicBezTo>
                  <a:cubicBezTo>
                    <a:pt x="908" y="833"/>
                    <a:pt x="905" y="832"/>
                    <a:pt x="904" y="829"/>
                  </a:cubicBezTo>
                  <a:cubicBezTo>
                    <a:pt x="903" y="820"/>
                    <a:pt x="902" y="812"/>
                    <a:pt x="907" y="804"/>
                  </a:cubicBezTo>
                  <a:cubicBezTo>
                    <a:pt x="910" y="799"/>
                    <a:pt x="911" y="793"/>
                    <a:pt x="914" y="788"/>
                  </a:cubicBezTo>
                  <a:cubicBezTo>
                    <a:pt x="915" y="785"/>
                    <a:pt x="914" y="783"/>
                    <a:pt x="913" y="780"/>
                  </a:cubicBezTo>
                  <a:cubicBezTo>
                    <a:pt x="913" y="779"/>
                    <a:pt x="913" y="778"/>
                    <a:pt x="913" y="777"/>
                  </a:cubicBezTo>
                  <a:cubicBezTo>
                    <a:pt x="913" y="777"/>
                    <a:pt x="914" y="776"/>
                    <a:pt x="914" y="776"/>
                  </a:cubicBezTo>
                  <a:cubicBezTo>
                    <a:pt x="928" y="762"/>
                    <a:pt x="924" y="763"/>
                    <a:pt x="943" y="761"/>
                  </a:cubicBezTo>
                  <a:cubicBezTo>
                    <a:pt x="948" y="760"/>
                    <a:pt x="950" y="762"/>
                    <a:pt x="953" y="765"/>
                  </a:cubicBezTo>
                  <a:cubicBezTo>
                    <a:pt x="953" y="765"/>
                    <a:pt x="953" y="764"/>
                    <a:pt x="954" y="764"/>
                  </a:cubicBezTo>
                  <a:cubicBezTo>
                    <a:pt x="954" y="764"/>
                    <a:pt x="954" y="765"/>
                    <a:pt x="954" y="765"/>
                  </a:cubicBezTo>
                  <a:cubicBezTo>
                    <a:pt x="957" y="764"/>
                    <a:pt x="960" y="763"/>
                    <a:pt x="963" y="762"/>
                  </a:cubicBezTo>
                  <a:cubicBezTo>
                    <a:pt x="963" y="762"/>
                    <a:pt x="964" y="760"/>
                    <a:pt x="964" y="760"/>
                  </a:cubicBezTo>
                  <a:cubicBezTo>
                    <a:pt x="965" y="759"/>
                    <a:pt x="966" y="757"/>
                    <a:pt x="966" y="758"/>
                  </a:cubicBezTo>
                  <a:close/>
                  <a:moveTo>
                    <a:pt x="887" y="728"/>
                  </a:moveTo>
                  <a:cubicBezTo>
                    <a:pt x="894" y="726"/>
                    <a:pt x="901" y="724"/>
                    <a:pt x="906" y="719"/>
                  </a:cubicBezTo>
                  <a:cubicBezTo>
                    <a:pt x="912" y="716"/>
                    <a:pt x="919" y="715"/>
                    <a:pt x="924" y="710"/>
                  </a:cubicBezTo>
                  <a:cubicBezTo>
                    <a:pt x="925" y="709"/>
                    <a:pt x="928" y="709"/>
                    <a:pt x="930" y="710"/>
                  </a:cubicBezTo>
                  <a:cubicBezTo>
                    <a:pt x="931" y="710"/>
                    <a:pt x="933" y="711"/>
                    <a:pt x="934" y="711"/>
                  </a:cubicBezTo>
                  <a:cubicBezTo>
                    <a:pt x="940" y="712"/>
                    <a:pt x="944" y="715"/>
                    <a:pt x="946" y="721"/>
                  </a:cubicBezTo>
                  <a:cubicBezTo>
                    <a:pt x="946" y="724"/>
                    <a:pt x="949" y="727"/>
                    <a:pt x="952" y="727"/>
                  </a:cubicBezTo>
                  <a:cubicBezTo>
                    <a:pt x="956" y="728"/>
                    <a:pt x="957" y="730"/>
                    <a:pt x="957" y="734"/>
                  </a:cubicBezTo>
                  <a:cubicBezTo>
                    <a:pt x="957" y="738"/>
                    <a:pt x="958" y="743"/>
                    <a:pt x="959" y="748"/>
                  </a:cubicBezTo>
                  <a:cubicBezTo>
                    <a:pt x="959" y="750"/>
                    <a:pt x="957" y="751"/>
                    <a:pt x="954" y="750"/>
                  </a:cubicBezTo>
                  <a:cubicBezTo>
                    <a:pt x="952" y="749"/>
                    <a:pt x="951" y="748"/>
                    <a:pt x="948" y="748"/>
                  </a:cubicBezTo>
                  <a:cubicBezTo>
                    <a:pt x="944" y="749"/>
                    <a:pt x="939" y="748"/>
                    <a:pt x="935" y="749"/>
                  </a:cubicBezTo>
                  <a:cubicBezTo>
                    <a:pt x="930" y="751"/>
                    <a:pt x="926" y="749"/>
                    <a:pt x="922" y="745"/>
                  </a:cubicBezTo>
                  <a:cubicBezTo>
                    <a:pt x="922" y="744"/>
                    <a:pt x="921" y="744"/>
                    <a:pt x="920" y="743"/>
                  </a:cubicBezTo>
                  <a:cubicBezTo>
                    <a:pt x="919" y="742"/>
                    <a:pt x="916" y="742"/>
                    <a:pt x="917" y="740"/>
                  </a:cubicBezTo>
                  <a:cubicBezTo>
                    <a:pt x="917" y="739"/>
                    <a:pt x="919" y="738"/>
                    <a:pt x="919" y="737"/>
                  </a:cubicBezTo>
                  <a:cubicBezTo>
                    <a:pt x="920" y="736"/>
                    <a:pt x="920" y="735"/>
                    <a:pt x="919" y="734"/>
                  </a:cubicBezTo>
                  <a:cubicBezTo>
                    <a:pt x="919" y="734"/>
                    <a:pt x="918" y="734"/>
                    <a:pt x="918" y="734"/>
                  </a:cubicBezTo>
                  <a:cubicBezTo>
                    <a:pt x="917" y="734"/>
                    <a:pt x="916" y="733"/>
                    <a:pt x="914" y="734"/>
                  </a:cubicBezTo>
                  <a:cubicBezTo>
                    <a:pt x="913" y="734"/>
                    <a:pt x="912" y="734"/>
                    <a:pt x="912" y="735"/>
                  </a:cubicBezTo>
                  <a:cubicBezTo>
                    <a:pt x="905" y="740"/>
                    <a:pt x="898" y="742"/>
                    <a:pt x="891" y="744"/>
                  </a:cubicBezTo>
                  <a:cubicBezTo>
                    <a:pt x="886" y="746"/>
                    <a:pt x="883" y="747"/>
                    <a:pt x="879" y="742"/>
                  </a:cubicBezTo>
                  <a:cubicBezTo>
                    <a:pt x="877" y="739"/>
                    <a:pt x="874" y="740"/>
                    <a:pt x="871" y="740"/>
                  </a:cubicBezTo>
                  <a:cubicBezTo>
                    <a:pt x="871" y="740"/>
                    <a:pt x="871" y="740"/>
                    <a:pt x="871" y="740"/>
                  </a:cubicBezTo>
                  <a:cubicBezTo>
                    <a:pt x="870" y="740"/>
                    <a:pt x="870" y="740"/>
                    <a:pt x="870" y="740"/>
                  </a:cubicBezTo>
                  <a:cubicBezTo>
                    <a:pt x="869" y="740"/>
                    <a:pt x="869" y="741"/>
                    <a:pt x="869" y="741"/>
                  </a:cubicBezTo>
                  <a:cubicBezTo>
                    <a:pt x="869" y="741"/>
                    <a:pt x="869" y="740"/>
                    <a:pt x="869" y="740"/>
                  </a:cubicBezTo>
                  <a:cubicBezTo>
                    <a:pt x="869" y="740"/>
                    <a:pt x="870" y="740"/>
                    <a:pt x="870" y="740"/>
                  </a:cubicBezTo>
                  <a:cubicBezTo>
                    <a:pt x="870" y="740"/>
                    <a:pt x="870" y="740"/>
                    <a:pt x="870" y="740"/>
                  </a:cubicBezTo>
                  <a:cubicBezTo>
                    <a:pt x="870" y="740"/>
                    <a:pt x="871" y="740"/>
                    <a:pt x="871" y="740"/>
                  </a:cubicBezTo>
                  <a:cubicBezTo>
                    <a:pt x="875" y="734"/>
                    <a:pt x="880" y="730"/>
                    <a:pt x="887" y="728"/>
                  </a:cubicBezTo>
                  <a:close/>
                  <a:moveTo>
                    <a:pt x="817" y="604"/>
                  </a:moveTo>
                  <a:cubicBezTo>
                    <a:pt x="817" y="603"/>
                    <a:pt x="819" y="603"/>
                    <a:pt x="820" y="603"/>
                  </a:cubicBezTo>
                  <a:cubicBezTo>
                    <a:pt x="823" y="604"/>
                    <a:pt x="826" y="606"/>
                    <a:pt x="827" y="609"/>
                  </a:cubicBezTo>
                  <a:cubicBezTo>
                    <a:pt x="828" y="612"/>
                    <a:pt x="829" y="616"/>
                    <a:pt x="828" y="620"/>
                  </a:cubicBezTo>
                  <a:cubicBezTo>
                    <a:pt x="828" y="625"/>
                    <a:pt x="828" y="630"/>
                    <a:pt x="828" y="634"/>
                  </a:cubicBezTo>
                  <a:cubicBezTo>
                    <a:pt x="828" y="637"/>
                    <a:pt x="829" y="638"/>
                    <a:pt x="829" y="640"/>
                  </a:cubicBezTo>
                  <a:cubicBezTo>
                    <a:pt x="829" y="641"/>
                    <a:pt x="829" y="643"/>
                    <a:pt x="828" y="644"/>
                  </a:cubicBezTo>
                  <a:cubicBezTo>
                    <a:pt x="826" y="645"/>
                    <a:pt x="826" y="643"/>
                    <a:pt x="825" y="642"/>
                  </a:cubicBezTo>
                  <a:cubicBezTo>
                    <a:pt x="824" y="640"/>
                    <a:pt x="823" y="639"/>
                    <a:pt x="822" y="638"/>
                  </a:cubicBezTo>
                  <a:cubicBezTo>
                    <a:pt x="818" y="638"/>
                    <a:pt x="817" y="636"/>
                    <a:pt x="816" y="633"/>
                  </a:cubicBezTo>
                  <a:cubicBezTo>
                    <a:pt x="816" y="632"/>
                    <a:pt x="815" y="630"/>
                    <a:pt x="815" y="629"/>
                  </a:cubicBezTo>
                  <a:cubicBezTo>
                    <a:pt x="814" y="625"/>
                    <a:pt x="812" y="621"/>
                    <a:pt x="815" y="617"/>
                  </a:cubicBezTo>
                  <a:cubicBezTo>
                    <a:pt x="814" y="615"/>
                    <a:pt x="813" y="614"/>
                    <a:pt x="812" y="612"/>
                  </a:cubicBezTo>
                  <a:cubicBezTo>
                    <a:pt x="814" y="609"/>
                    <a:pt x="815" y="606"/>
                    <a:pt x="817" y="604"/>
                  </a:cubicBezTo>
                  <a:close/>
                  <a:moveTo>
                    <a:pt x="649" y="398"/>
                  </a:moveTo>
                  <a:cubicBezTo>
                    <a:pt x="648" y="398"/>
                    <a:pt x="648" y="398"/>
                    <a:pt x="648" y="397"/>
                  </a:cubicBezTo>
                  <a:cubicBezTo>
                    <a:pt x="648" y="398"/>
                    <a:pt x="649" y="398"/>
                    <a:pt x="649" y="398"/>
                  </a:cubicBezTo>
                  <a:cubicBezTo>
                    <a:pt x="649" y="399"/>
                    <a:pt x="649" y="399"/>
                    <a:pt x="649" y="399"/>
                  </a:cubicBezTo>
                  <a:lnTo>
                    <a:pt x="649" y="398"/>
                  </a:lnTo>
                  <a:close/>
                  <a:moveTo>
                    <a:pt x="652" y="292"/>
                  </a:moveTo>
                  <a:cubicBezTo>
                    <a:pt x="647" y="295"/>
                    <a:pt x="643" y="295"/>
                    <a:pt x="638" y="292"/>
                  </a:cubicBezTo>
                  <a:cubicBezTo>
                    <a:pt x="636" y="291"/>
                    <a:pt x="635" y="290"/>
                    <a:pt x="637" y="289"/>
                  </a:cubicBezTo>
                  <a:cubicBezTo>
                    <a:pt x="639" y="287"/>
                    <a:pt x="642" y="286"/>
                    <a:pt x="643" y="284"/>
                  </a:cubicBezTo>
                  <a:cubicBezTo>
                    <a:pt x="646" y="281"/>
                    <a:pt x="649" y="279"/>
                    <a:pt x="652" y="278"/>
                  </a:cubicBezTo>
                  <a:cubicBezTo>
                    <a:pt x="655" y="277"/>
                    <a:pt x="656" y="275"/>
                    <a:pt x="657" y="272"/>
                  </a:cubicBezTo>
                  <a:cubicBezTo>
                    <a:pt x="658" y="271"/>
                    <a:pt x="659" y="271"/>
                    <a:pt x="660" y="271"/>
                  </a:cubicBezTo>
                  <a:cubicBezTo>
                    <a:pt x="663" y="271"/>
                    <a:pt x="665" y="273"/>
                    <a:pt x="668" y="272"/>
                  </a:cubicBezTo>
                  <a:cubicBezTo>
                    <a:pt x="670" y="271"/>
                    <a:pt x="672" y="269"/>
                    <a:pt x="670" y="267"/>
                  </a:cubicBezTo>
                  <a:cubicBezTo>
                    <a:pt x="669" y="266"/>
                    <a:pt x="667" y="264"/>
                    <a:pt x="666" y="263"/>
                  </a:cubicBezTo>
                  <a:cubicBezTo>
                    <a:pt x="662" y="261"/>
                    <a:pt x="658" y="260"/>
                    <a:pt x="655" y="260"/>
                  </a:cubicBezTo>
                  <a:cubicBezTo>
                    <a:pt x="647" y="260"/>
                    <a:pt x="640" y="260"/>
                    <a:pt x="633" y="259"/>
                  </a:cubicBezTo>
                  <a:cubicBezTo>
                    <a:pt x="633" y="259"/>
                    <a:pt x="632" y="258"/>
                    <a:pt x="632" y="258"/>
                  </a:cubicBezTo>
                  <a:cubicBezTo>
                    <a:pt x="633" y="257"/>
                    <a:pt x="633" y="256"/>
                    <a:pt x="634" y="255"/>
                  </a:cubicBezTo>
                  <a:cubicBezTo>
                    <a:pt x="635" y="255"/>
                    <a:pt x="636" y="255"/>
                    <a:pt x="637" y="255"/>
                  </a:cubicBezTo>
                  <a:cubicBezTo>
                    <a:pt x="645" y="254"/>
                    <a:pt x="653" y="254"/>
                    <a:pt x="662" y="254"/>
                  </a:cubicBezTo>
                  <a:cubicBezTo>
                    <a:pt x="668" y="254"/>
                    <a:pt x="674" y="253"/>
                    <a:pt x="679" y="251"/>
                  </a:cubicBezTo>
                  <a:cubicBezTo>
                    <a:pt x="685" y="250"/>
                    <a:pt x="690" y="249"/>
                    <a:pt x="696" y="248"/>
                  </a:cubicBezTo>
                  <a:cubicBezTo>
                    <a:pt x="697" y="247"/>
                    <a:pt x="699" y="248"/>
                    <a:pt x="700" y="248"/>
                  </a:cubicBezTo>
                  <a:cubicBezTo>
                    <a:pt x="701" y="248"/>
                    <a:pt x="703" y="249"/>
                    <a:pt x="703" y="249"/>
                  </a:cubicBezTo>
                  <a:cubicBezTo>
                    <a:pt x="703" y="250"/>
                    <a:pt x="702" y="252"/>
                    <a:pt x="702" y="252"/>
                  </a:cubicBezTo>
                  <a:cubicBezTo>
                    <a:pt x="697" y="254"/>
                    <a:pt x="693" y="256"/>
                    <a:pt x="688" y="257"/>
                  </a:cubicBezTo>
                  <a:cubicBezTo>
                    <a:pt x="687" y="258"/>
                    <a:pt x="686" y="260"/>
                    <a:pt x="687" y="261"/>
                  </a:cubicBezTo>
                  <a:cubicBezTo>
                    <a:pt x="687" y="262"/>
                    <a:pt x="687" y="262"/>
                    <a:pt x="688" y="263"/>
                  </a:cubicBezTo>
                  <a:cubicBezTo>
                    <a:pt x="689" y="263"/>
                    <a:pt x="690" y="264"/>
                    <a:pt x="691" y="264"/>
                  </a:cubicBezTo>
                  <a:cubicBezTo>
                    <a:pt x="698" y="270"/>
                    <a:pt x="705" y="272"/>
                    <a:pt x="713" y="265"/>
                  </a:cubicBezTo>
                  <a:cubicBezTo>
                    <a:pt x="713" y="265"/>
                    <a:pt x="714" y="265"/>
                    <a:pt x="714" y="265"/>
                  </a:cubicBezTo>
                  <a:cubicBezTo>
                    <a:pt x="716" y="265"/>
                    <a:pt x="716" y="266"/>
                    <a:pt x="715" y="268"/>
                  </a:cubicBezTo>
                  <a:cubicBezTo>
                    <a:pt x="715" y="270"/>
                    <a:pt x="714" y="272"/>
                    <a:pt x="712" y="273"/>
                  </a:cubicBezTo>
                  <a:cubicBezTo>
                    <a:pt x="710" y="275"/>
                    <a:pt x="708" y="276"/>
                    <a:pt x="706" y="278"/>
                  </a:cubicBezTo>
                  <a:cubicBezTo>
                    <a:pt x="705" y="279"/>
                    <a:pt x="704" y="280"/>
                    <a:pt x="703" y="282"/>
                  </a:cubicBezTo>
                  <a:cubicBezTo>
                    <a:pt x="701" y="287"/>
                    <a:pt x="700" y="288"/>
                    <a:pt x="696" y="284"/>
                  </a:cubicBezTo>
                  <a:cubicBezTo>
                    <a:pt x="691" y="281"/>
                    <a:pt x="687" y="280"/>
                    <a:pt x="682" y="283"/>
                  </a:cubicBezTo>
                  <a:cubicBezTo>
                    <a:pt x="681" y="283"/>
                    <a:pt x="679" y="285"/>
                    <a:pt x="679" y="286"/>
                  </a:cubicBezTo>
                  <a:cubicBezTo>
                    <a:pt x="678" y="291"/>
                    <a:pt x="674" y="293"/>
                    <a:pt x="669" y="294"/>
                  </a:cubicBezTo>
                  <a:cubicBezTo>
                    <a:pt x="669" y="295"/>
                    <a:pt x="669" y="295"/>
                    <a:pt x="669" y="295"/>
                  </a:cubicBezTo>
                  <a:cubicBezTo>
                    <a:pt x="669" y="295"/>
                    <a:pt x="668" y="295"/>
                    <a:pt x="668" y="295"/>
                  </a:cubicBezTo>
                  <a:cubicBezTo>
                    <a:pt x="666" y="296"/>
                    <a:pt x="665" y="297"/>
                    <a:pt x="663" y="297"/>
                  </a:cubicBezTo>
                  <a:cubicBezTo>
                    <a:pt x="663" y="297"/>
                    <a:pt x="662" y="298"/>
                    <a:pt x="662" y="298"/>
                  </a:cubicBezTo>
                  <a:cubicBezTo>
                    <a:pt x="662" y="298"/>
                    <a:pt x="662" y="298"/>
                    <a:pt x="661" y="298"/>
                  </a:cubicBezTo>
                  <a:cubicBezTo>
                    <a:pt x="661" y="298"/>
                    <a:pt x="661" y="299"/>
                    <a:pt x="660" y="299"/>
                  </a:cubicBezTo>
                  <a:cubicBezTo>
                    <a:pt x="660" y="300"/>
                    <a:pt x="659" y="299"/>
                    <a:pt x="659" y="299"/>
                  </a:cubicBezTo>
                  <a:cubicBezTo>
                    <a:pt x="659" y="298"/>
                    <a:pt x="660" y="298"/>
                    <a:pt x="661" y="298"/>
                  </a:cubicBezTo>
                  <a:cubicBezTo>
                    <a:pt x="662" y="298"/>
                    <a:pt x="662" y="298"/>
                    <a:pt x="662" y="297"/>
                  </a:cubicBezTo>
                  <a:cubicBezTo>
                    <a:pt x="662" y="297"/>
                    <a:pt x="662" y="297"/>
                    <a:pt x="663" y="297"/>
                  </a:cubicBezTo>
                  <a:cubicBezTo>
                    <a:pt x="664" y="296"/>
                    <a:pt x="666" y="295"/>
                    <a:pt x="668" y="295"/>
                  </a:cubicBezTo>
                  <a:cubicBezTo>
                    <a:pt x="668" y="295"/>
                    <a:pt x="669" y="295"/>
                    <a:pt x="669" y="295"/>
                  </a:cubicBezTo>
                  <a:cubicBezTo>
                    <a:pt x="669" y="295"/>
                    <a:pt x="669" y="294"/>
                    <a:pt x="669" y="294"/>
                  </a:cubicBezTo>
                  <a:cubicBezTo>
                    <a:pt x="670" y="292"/>
                    <a:pt x="671" y="290"/>
                    <a:pt x="672" y="288"/>
                  </a:cubicBezTo>
                  <a:cubicBezTo>
                    <a:pt x="672" y="285"/>
                    <a:pt x="669" y="282"/>
                    <a:pt x="667" y="283"/>
                  </a:cubicBezTo>
                  <a:cubicBezTo>
                    <a:pt x="664" y="284"/>
                    <a:pt x="661" y="285"/>
                    <a:pt x="658" y="287"/>
                  </a:cubicBezTo>
                  <a:cubicBezTo>
                    <a:pt x="656" y="288"/>
                    <a:pt x="654" y="290"/>
                    <a:pt x="652" y="292"/>
                  </a:cubicBezTo>
                  <a:close/>
                  <a:moveTo>
                    <a:pt x="697" y="409"/>
                  </a:moveTo>
                  <a:cubicBezTo>
                    <a:pt x="695" y="412"/>
                    <a:pt x="692" y="413"/>
                    <a:pt x="689" y="414"/>
                  </a:cubicBezTo>
                  <a:cubicBezTo>
                    <a:pt x="684" y="414"/>
                    <a:pt x="679" y="416"/>
                    <a:pt x="674" y="416"/>
                  </a:cubicBezTo>
                  <a:cubicBezTo>
                    <a:pt x="670" y="417"/>
                    <a:pt x="667" y="416"/>
                    <a:pt x="664" y="412"/>
                  </a:cubicBezTo>
                  <a:cubicBezTo>
                    <a:pt x="662" y="410"/>
                    <a:pt x="661" y="408"/>
                    <a:pt x="659" y="406"/>
                  </a:cubicBezTo>
                  <a:cubicBezTo>
                    <a:pt x="659" y="406"/>
                    <a:pt x="659" y="406"/>
                    <a:pt x="659" y="405"/>
                  </a:cubicBezTo>
                  <a:cubicBezTo>
                    <a:pt x="660" y="405"/>
                    <a:pt x="660" y="405"/>
                    <a:pt x="661" y="405"/>
                  </a:cubicBezTo>
                  <a:cubicBezTo>
                    <a:pt x="663" y="406"/>
                    <a:pt x="665" y="407"/>
                    <a:pt x="667" y="407"/>
                  </a:cubicBezTo>
                  <a:cubicBezTo>
                    <a:pt x="669" y="407"/>
                    <a:pt x="671" y="407"/>
                    <a:pt x="672" y="406"/>
                  </a:cubicBezTo>
                  <a:cubicBezTo>
                    <a:pt x="674" y="404"/>
                    <a:pt x="676" y="401"/>
                    <a:pt x="678" y="399"/>
                  </a:cubicBezTo>
                  <a:cubicBezTo>
                    <a:pt x="681" y="396"/>
                    <a:pt x="683" y="395"/>
                    <a:pt x="687" y="396"/>
                  </a:cubicBezTo>
                  <a:cubicBezTo>
                    <a:pt x="688" y="396"/>
                    <a:pt x="689" y="396"/>
                    <a:pt x="690" y="395"/>
                  </a:cubicBezTo>
                  <a:cubicBezTo>
                    <a:pt x="692" y="395"/>
                    <a:pt x="694" y="393"/>
                    <a:pt x="694" y="391"/>
                  </a:cubicBezTo>
                  <a:cubicBezTo>
                    <a:pt x="694" y="389"/>
                    <a:pt x="694" y="388"/>
                    <a:pt x="693" y="386"/>
                  </a:cubicBezTo>
                  <a:cubicBezTo>
                    <a:pt x="693" y="383"/>
                    <a:pt x="692" y="380"/>
                    <a:pt x="692" y="377"/>
                  </a:cubicBezTo>
                  <a:cubicBezTo>
                    <a:pt x="691" y="376"/>
                    <a:pt x="691" y="375"/>
                    <a:pt x="693" y="375"/>
                  </a:cubicBezTo>
                  <a:cubicBezTo>
                    <a:pt x="693" y="375"/>
                    <a:pt x="694" y="375"/>
                    <a:pt x="694" y="375"/>
                  </a:cubicBezTo>
                  <a:cubicBezTo>
                    <a:pt x="699" y="379"/>
                    <a:pt x="702" y="384"/>
                    <a:pt x="705" y="389"/>
                  </a:cubicBezTo>
                  <a:cubicBezTo>
                    <a:pt x="707" y="391"/>
                    <a:pt x="709" y="392"/>
                    <a:pt x="712" y="393"/>
                  </a:cubicBezTo>
                  <a:cubicBezTo>
                    <a:pt x="719" y="393"/>
                    <a:pt x="726" y="391"/>
                    <a:pt x="732" y="387"/>
                  </a:cubicBezTo>
                  <a:cubicBezTo>
                    <a:pt x="737" y="383"/>
                    <a:pt x="743" y="381"/>
                    <a:pt x="750" y="380"/>
                  </a:cubicBezTo>
                  <a:cubicBezTo>
                    <a:pt x="752" y="379"/>
                    <a:pt x="755" y="380"/>
                    <a:pt x="758" y="380"/>
                  </a:cubicBezTo>
                  <a:cubicBezTo>
                    <a:pt x="758" y="380"/>
                    <a:pt x="758" y="380"/>
                    <a:pt x="758" y="380"/>
                  </a:cubicBezTo>
                  <a:cubicBezTo>
                    <a:pt x="758" y="379"/>
                    <a:pt x="758" y="378"/>
                    <a:pt x="759" y="379"/>
                  </a:cubicBezTo>
                  <a:cubicBezTo>
                    <a:pt x="759" y="379"/>
                    <a:pt x="758" y="380"/>
                    <a:pt x="758" y="380"/>
                  </a:cubicBezTo>
                  <a:cubicBezTo>
                    <a:pt x="758" y="380"/>
                    <a:pt x="758" y="380"/>
                    <a:pt x="758" y="380"/>
                  </a:cubicBezTo>
                  <a:cubicBezTo>
                    <a:pt x="756" y="381"/>
                    <a:pt x="755" y="383"/>
                    <a:pt x="754" y="384"/>
                  </a:cubicBezTo>
                  <a:cubicBezTo>
                    <a:pt x="752" y="386"/>
                    <a:pt x="749" y="387"/>
                    <a:pt x="746" y="388"/>
                  </a:cubicBezTo>
                  <a:cubicBezTo>
                    <a:pt x="741" y="390"/>
                    <a:pt x="736" y="393"/>
                    <a:pt x="731" y="396"/>
                  </a:cubicBezTo>
                  <a:cubicBezTo>
                    <a:pt x="725" y="400"/>
                    <a:pt x="718" y="403"/>
                    <a:pt x="712" y="406"/>
                  </a:cubicBezTo>
                  <a:cubicBezTo>
                    <a:pt x="711" y="406"/>
                    <a:pt x="710" y="406"/>
                    <a:pt x="709" y="406"/>
                  </a:cubicBezTo>
                  <a:cubicBezTo>
                    <a:pt x="704" y="404"/>
                    <a:pt x="700" y="406"/>
                    <a:pt x="697" y="409"/>
                  </a:cubicBezTo>
                  <a:close/>
                  <a:moveTo>
                    <a:pt x="882" y="1287"/>
                  </a:moveTo>
                  <a:cubicBezTo>
                    <a:pt x="882" y="1287"/>
                    <a:pt x="882" y="1288"/>
                    <a:pt x="881" y="1288"/>
                  </a:cubicBezTo>
                  <a:cubicBezTo>
                    <a:pt x="878" y="1289"/>
                    <a:pt x="874" y="1286"/>
                    <a:pt x="875" y="1283"/>
                  </a:cubicBezTo>
                  <a:cubicBezTo>
                    <a:pt x="875" y="1282"/>
                    <a:pt x="876" y="1282"/>
                    <a:pt x="876" y="1282"/>
                  </a:cubicBezTo>
                  <a:cubicBezTo>
                    <a:pt x="879" y="1282"/>
                    <a:pt x="881" y="1283"/>
                    <a:pt x="882" y="1285"/>
                  </a:cubicBezTo>
                  <a:cubicBezTo>
                    <a:pt x="883" y="1286"/>
                    <a:pt x="882" y="1286"/>
                    <a:pt x="882" y="1287"/>
                  </a:cubicBezTo>
                  <a:close/>
                  <a:moveTo>
                    <a:pt x="1147" y="2245"/>
                  </a:moveTo>
                  <a:cubicBezTo>
                    <a:pt x="1147" y="2245"/>
                    <a:pt x="1147" y="2244"/>
                    <a:pt x="1147" y="2244"/>
                  </a:cubicBezTo>
                  <a:cubicBezTo>
                    <a:pt x="1147" y="2244"/>
                    <a:pt x="1147" y="2244"/>
                    <a:pt x="1148" y="2244"/>
                  </a:cubicBezTo>
                  <a:cubicBezTo>
                    <a:pt x="1148" y="2244"/>
                    <a:pt x="1148" y="2244"/>
                    <a:pt x="1148" y="2245"/>
                  </a:cubicBezTo>
                  <a:cubicBezTo>
                    <a:pt x="1148" y="2245"/>
                    <a:pt x="1147" y="2245"/>
                    <a:pt x="1147" y="2245"/>
                  </a:cubicBezTo>
                  <a:close/>
                  <a:moveTo>
                    <a:pt x="1348" y="1446"/>
                  </a:moveTo>
                  <a:cubicBezTo>
                    <a:pt x="1346" y="1448"/>
                    <a:pt x="1344" y="1448"/>
                    <a:pt x="1342" y="1447"/>
                  </a:cubicBezTo>
                  <a:cubicBezTo>
                    <a:pt x="1341" y="1446"/>
                    <a:pt x="1341" y="1445"/>
                    <a:pt x="1341" y="1443"/>
                  </a:cubicBezTo>
                  <a:cubicBezTo>
                    <a:pt x="1342" y="1442"/>
                    <a:pt x="1342" y="1441"/>
                    <a:pt x="1343" y="1440"/>
                  </a:cubicBezTo>
                  <a:cubicBezTo>
                    <a:pt x="1343" y="1441"/>
                    <a:pt x="1343" y="1442"/>
                    <a:pt x="1344" y="1442"/>
                  </a:cubicBezTo>
                  <a:cubicBezTo>
                    <a:pt x="1344" y="1444"/>
                    <a:pt x="1346" y="1444"/>
                    <a:pt x="1347" y="1444"/>
                  </a:cubicBezTo>
                  <a:cubicBezTo>
                    <a:pt x="1348" y="1444"/>
                    <a:pt x="1349" y="1444"/>
                    <a:pt x="1349" y="1443"/>
                  </a:cubicBezTo>
                  <a:cubicBezTo>
                    <a:pt x="1349" y="1444"/>
                    <a:pt x="1348" y="1445"/>
                    <a:pt x="1348" y="1446"/>
                  </a:cubicBezTo>
                  <a:close/>
                </a:path>
              </a:pathLst>
            </a:custGeom>
            <a:grpFill/>
            <a:ln w="22225"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7" name="Text Placeholder 2">
            <a:extLst>
              <a:ext uri="{FF2B5EF4-FFF2-40B4-BE49-F238E27FC236}">
                <a16:creationId xmlns:a16="http://schemas.microsoft.com/office/drawing/2014/main" id="{B8E3713C-BED7-4D55-ACBE-830946ACE748}"/>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8CAD007E-9709-4E13-B7A7-69C5CE274F2B}"/>
              </a:ext>
            </a:extLst>
          </p:cNvPr>
          <p:cNvSpPr>
            <a:spLocks noGrp="1"/>
          </p:cNvSpPr>
          <p:nvPr>
            <p:ph type="sldNum" sz="quarter" idx="18"/>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38149614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cxnSp>
        <p:nvCxnSpPr>
          <p:cNvPr id="5" name="Straight Connector 4"/>
          <p:cNvCxnSpPr>
            <a:cxnSpLocks/>
            <a:stCxn id="6" idx="0"/>
          </p:cNvCxnSpPr>
          <p:nvPr/>
        </p:nvCxnSpPr>
        <p:spPr>
          <a:xfrm>
            <a:off x="2155766" y="4804368"/>
            <a:ext cx="9585384" cy="0"/>
          </a:xfrm>
          <a:prstGeom prst="line">
            <a:avLst/>
          </a:pr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6" name="Freeform 5"/>
          <p:cNvSpPr>
            <a:spLocks noChangeAspect="1"/>
          </p:cNvSpPr>
          <p:nvPr/>
        </p:nvSpPr>
        <p:spPr bwMode="auto">
          <a:xfrm>
            <a:off x="1808294" y="4804368"/>
            <a:ext cx="347472" cy="347472"/>
          </a:xfrm>
          <a:custGeom>
            <a:avLst/>
            <a:gdLst>
              <a:gd name="T0" fmla="*/ 2794 w 2794"/>
              <a:gd name="T1" fmla="*/ 0 h 2723"/>
              <a:gd name="T2" fmla="*/ 0 w 2794"/>
              <a:gd name="T3" fmla="*/ 2723 h 2723"/>
              <a:gd name="T4" fmla="*/ 0 w 2794"/>
              <a:gd name="T5" fmla="*/ 0 h 2723"/>
            </a:gdLst>
            <a:ahLst/>
            <a:cxnLst>
              <a:cxn ang="0">
                <a:pos x="T0" y="T1"/>
              </a:cxn>
              <a:cxn ang="0">
                <a:pos x="T2" y="T3"/>
              </a:cxn>
              <a:cxn ang="0">
                <a:pos x="T4" y="T5"/>
              </a:cxn>
            </a:cxnLst>
            <a:rect l="0" t="0" r="r" b="b"/>
            <a:pathLst>
              <a:path w="2794" h="2723">
                <a:moveTo>
                  <a:pt x="2794" y="0"/>
                </a:moveTo>
                <a:lnTo>
                  <a:pt x="0" y="2723"/>
                </a:lnTo>
                <a:lnTo>
                  <a:pt x="0" y="0"/>
                </a:lnTo>
              </a:path>
            </a:pathLst>
          </a:cu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cxnSp>
        <p:nvCxnSpPr>
          <p:cNvPr id="7" name="Straight Connector 6"/>
          <p:cNvCxnSpPr>
            <a:cxnSpLocks/>
          </p:cNvCxnSpPr>
          <p:nvPr/>
        </p:nvCxnSpPr>
        <p:spPr>
          <a:xfrm>
            <a:off x="457200" y="4804368"/>
            <a:ext cx="1351094" cy="0"/>
          </a:xfrm>
          <a:prstGeom prst="line">
            <a:avLst/>
          </a:pr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9" name="Title 17"/>
          <p:cNvSpPr>
            <a:spLocks noGrp="1"/>
          </p:cNvSpPr>
          <p:nvPr>
            <p:ph type="title"/>
          </p:nvPr>
        </p:nvSpPr>
        <p:spPr>
          <a:xfrm>
            <a:off x="914400" y="3626438"/>
            <a:ext cx="10363200" cy="609398"/>
          </a:xfrm>
        </p:spPr>
        <p:txBody>
          <a:bodyPr anchor="b"/>
          <a:lstStyle>
            <a:lvl1pPr algn="l">
              <a:defRPr sz="4400"/>
            </a:lvl1pPr>
          </a:lstStyle>
          <a:p>
            <a:r>
              <a:rPr lang="en-US"/>
              <a:t>Click to edit Master title style</a:t>
            </a:r>
          </a:p>
        </p:txBody>
      </p:sp>
      <p:sp>
        <p:nvSpPr>
          <p:cNvPr id="13" name="Text Placeholder 2"/>
          <p:cNvSpPr>
            <a:spLocks noGrp="1"/>
          </p:cNvSpPr>
          <p:nvPr>
            <p:ph type="body" idx="1"/>
          </p:nvPr>
        </p:nvSpPr>
        <p:spPr>
          <a:xfrm>
            <a:off x="914400" y="5364529"/>
            <a:ext cx="10363200" cy="276999"/>
          </a:xfrm>
        </p:spPr>
        <p:txBody>
          <a:bodyPr wrap="square" anchor="t">
            <a:spAutoFit/>
          </a:bodyPr>
          <a:lstStyle>
            <a:lvl1pPr marL="0" indent="0">
              <a:buNone/>
              <a:defRPr sz="20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Slide Number Placeholder 2">
            <a:extLst>
              <a:ext uri="{FF2B5EF4-FFF2-40B4-BE49-F238E27FC236}">
                <a16:creationId xmlns:a16="http://schemas.microsoft.com/office/drawing/2014/main" id="{7CE4516B-E619-4990-8BD8-C50CF97B7513}"/>
              </a:ext>
            </a:extLst>
          </p:cNvPr>
          <p:cNvSpPr>
            <a:spLocks noGrp="1"/>
          </p:cNvSpPr>
          <p:nvPr>
            <p:ph type="sldNum" sz="quarter" idx="11"/>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11139051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Quote (Red)">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a:cxnSpLocks/>
            <a:stCxn id="6" idx="0"/>
          </p:cNvCxnSpPr>
          <p:nvPr/>
        </p:nvCxnSpPr>
        <p:spPr>
          <a:xfrm>
            <a:off x="2155766" y="4804368"/>
            <a:ext cx="9585384" cy="0"/>
          </a:xfrm>
          <a:prstGeom prst="line">
            <a:avLst/>
          </a:prstGeom>
          <a:ln w="9525" cap="rnd">
            <a:solidFill>
              <a:schemeClr val="bg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6" name="Freeform 5"/>
          <p:cNvSpPr>
            <a:spLocks noChangeAspect="1"/>
          </p:cNvSpPr>
          <p:nvPr/>
        </p:nvSpPr>
        <p:spPr bwMode="auto">
          <a:xfrm>
            <a:off x="1808294" y="4804368"/>
            <a:ext cx="347472" cy="347472"/>
          </a:xfrm>
          <a:custGeom>
            <a:avLst/>
            <a:gdLst>
              <a:gd name="T0" fmla="*/ 2794 w 2794"/>
              <a:gd name="T1" fmla="*/ 0 h 2723"/>
              <a:gd name="T2" fmla="*/ 0 w 2794"/>
              <a:gd name="T3" fmla="*/ 2723 h 2723"/>
              <a:gd name="T4" fmla="*/ 0 w 2794"/>
              <a:gd name="T5" fmla="*/ 0 h 2723"/>
            </a:gdLst>
            <a:ahLst/>
            <a:cxnLst>
              <a:cxn ang="0">
                <a:pos x="T0" y="T1"/>
              </a:cxn>
              <a:cxn ang="0">
                <a:pos x="T2" y="T3"/>
              </a:cxn>
              <a:cxn ang="0">
                <a:pos x="T4" y="T5"/>
              </a:cxn>
            </a:cxnLst>
            <a:rect l="0" t="0" r="r" b="b"/>
            <a:pathLst>
              <a:path w="2794" h="2723">
                <a:moveTo>
                  <a:pt x="2794" y="0"/>
                </a:moveTo>
                <a:lnTo>
                  <a:pt x="0" y="2723"/>
                </a:lnTo>
                <a:lnTo>
                  <a:pt x="0" y="0"/>
                </a:lnTo>
              </a:path>
            </a:pathLst>
          </a:custGeom>
          <a:ln w="9525" cap="rnd">
            <a:solidFill>
              <a:schemeClr val="bg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cxnSp>
        <p:nvCxnSpPr>
          <p:cNvPr id="7" name="Straight Connector 6"/>
          <p:cNvCxnSpPr>
            <a:cxnSpLocks/>
          </p:cNvCxnSpPr>
          <p:nvPr/>
        </p:nvCxnSpPr>
        <p:spPr>
          <a:xfrm>
            <a:off x="457200" y="4804368"/>
            <a:ext cx="1351094" cy="0"/>
          </a:xfrm>
          <a:prstGeom prst="line">
            <a:avLst/>
          </a:prstGeom>
          <a:ln w="9525" cap="rnd">
            <a:solidFill>
              <a:schemeClr val="bg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9" name="Title 17"/>
          <p:cNvSpPr>
            <a:spLocks noGrp="1"/>
          </p:cNvSpPr>
          <p:nvPr>
            <p:ph type="title"/>
          </p:nvPr>
        </p:nvSpPr>
        <p:spPr>
          <a:xfrm>
            <a:off x="914400" y="3626438"/>
            <a:ext cx="10363200" cy="609398"/>
          </a:xfrm>
        </p:spPr>
        <p:txBody>
          <a:bodyPr anchor="b"/>
          <a:lstStyle>
            <a:lvl1pPr algn="l">
              <a:defRPr sz="4400">
                <a:ln w="3175">
                  <a:noFill/>
                </a:ln>
                <a:solidFill>
                  <a:schemeClr val="bg1"/>
                </a:solidFill>
              </a:defRPr>
            </a:lvl1pPr>
          </a:lstStyle>
          <a:p>
            <a:r>
              <a:rPr lang="en-US"/>
              <a:t>Click to edit Master title style</a:t>
            </a:r>
          </a:p>
        </p:txBody>
      </p:sp>
      <p:sp>
        <p:nvSpPr>
          <p:cNvPr id="13" name="Text Placeholder 2"/>
          <p:cNvSpPr>
            <a:spLocks noGrp="1"/>
          </p:cNvSpPr>
          <p:nvPr>
            <p:ph type="body" idx="1"/>
          </p:nvPr>
        </p:nvSpPr>
        <p:spPr>
          <a:xfrm>
            <a:off x="914400" y="5364529"/>
            <a:ext cx="10363200" cy="276999"/>
          </a:xfrm>
        </p:spPr>
        <p:txBody>
          <a:bodyPr wrap="square" anchor="t">
            <a:spAutoFit/>
          </a:bodyPr>
          <a:lstStyle>
            <a:lvl1pPr marL="0" indent="0">
              <a:buNone/>
              <a:defRPr sz="2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Slide Number Placeholder 2">
            <a:extLst>
              <a:ext uri="{FF2B5EF4-FFF2-40B4-BE49-F238E27FC236}">
                <a16:creationId xmlns:a16="http://schemas.microsoft.com/office/drawing/2014/main" id="{058178CD-4143-4C66-925F-AC8FFA466347}"/>
              </a:ext>
            </a:extLst>
          </p:cNvPr>
          <p:cNvSpPr>
            <a:spLocks noGrp="1"/>
          </p:cNvSpPr>
          <p:nvPr>
            <p:ph type="sldNum" sz="quarter" idx="11"/>
          </p:nvPr>
        </p:nvSpPr>
        <p:spPr/>
        <p:txBody>
          <a:bodyPr/>
          <a:lstStyle>
            <a:lvl1pPr>
              <a:defRPr>
                <a:solidFill>
                  <a:schemeClr val="accent2">
                    <a:lumMod val="75000"/>
                  </a:schemeClr>
                </a:solidFill>
              </a:defRPr>
            </a:lvl1pPr>
          </a:lstStyle>
          <a:p>
            <a:fld id="{54939E03-9150-4A70-B4B2-A2AFB6334D4D}" type="slidenum">
              <a:rPr lang="en-SG" smtClean="0"/>
              <a:t>‹#›</a:t>
            </a:fld>
            <a:endParaRPr lang="en-SG"/>
          </a:p>
        </p:txBody>
      </p:sp>
      <p:grpSp>
        <p:nvGrpSpPr>
          <p:cNvPr id="14" name="Group 13">
            <a:extLst>
              <a:ext uri="{FF2B5EF4-FFF2-40B4-BE49-F238E27FC236}">
                <a16:creationId xmlns:a16="http://schemas.microsoft.com/office/drawing/2014/main" id="{42D9EC72-3059-4641-AE5F-FB0B767E077F}"/>
              </a:ext>
            </a:extLst>
          </p:cNvPr>
          <p:cNvGrpSpPr/>
          <p:nvPr/>
        </p:nvGrpSpPr>
        <p:grpSpPr>
          <a:xfrm>
            <a:off x="11410950" y="457200"/>
            <a:ext cx="323850" cy="324895"/>
            <a:chOff x="11693125" y="130630"/>
            <a:chExt cx="368246" cy="369434"/>
          </a:xfrm>
          <a:solidFill>
            <a:schemeClr val="bg1"/>
          </a:solidFill>
        </p:grpSpPr>
        <p:sp>
          <p:nvSpPr>
            <p:cNvPr id="16" name="Freeform 5">
              <a:extLst>
                <a:ext uri="{FF2B5EF4-FFF2-40B4-BE49-F238E27FC236}">
                  <a16:creationId xmlns:a16="http://schemas.microsoft.com/office/drawing/2014/main" id="{391CDA20-780B-4FE8-B1F6-389E39779D95}"/>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C55A5F01-D8A0-4A1A-9698-423051F673A4}"/>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EF4F30B-30A7-4ED8-95C3-984FC36D5132}"/>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18104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Quote (Black)">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3744FF6-E1D8-486B-837A-CB7C69F5E59C}"/>
              </a:ext>
            </a:extLst>
          </p:cNvPr>
          <p:cNvGrpSpPr/>
          <p:nvPr/>
        </p:nvGrpSpPr>
        <p:grpSpPr>
          <a:xfrm>
            <a:off x="457200" y="4804368"/>
            <a:ext cx="11283950" cy="347472"/>
            <a:chOff x="457200" y="4804368"/>
            <a:chExt cx="11283950" cy="347472"/>
          </a:xfrm>
        </p:grpSpPr>
        <p:cxnSp>
          <p:nvCxnSpPr>
            <p:cNvPr id="5" name="Straight Connector 4"/>
            <p:cNvCxnSpPr>
              <a:cxnSpLocks/>
              <a:stCxn id="6" idx="0"/>
            </p:cNvCxnSpPr>
            <p:nvPr userDrawn="1"/>
          </p:nvCxnSpPr>
          <p:spPr>
            <a:xfrm>
              <a:off x="2155766" y="4804368"/>
              <a:ext cx="9585384" cy="0"/>
            </a:xfrm>
            <a:prstGeom prst="line">
              <a:avLst/>
            </a:pr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6" name="Freeform 5"/>
            <p:cNvSpPr>
              <a:spLocks noChangeAspect="1"/>
            </p:cNvSpPr>
            <p:nvPr userDrawn="1"/>
          </p:nvSpPr>
          <p:spPr bwMode="auto">
            <a:xfrm>
              <a:off x="1808294" y="4804368"/>
              <a:ext cx="347472" cy="347472"/>
            </a:xfrm>
            <a:custGeom>
              <a:avLst/>
              <a:gdLst>
                <a:gd name="T0" fmla="*/ 2794 w 2794"/>
                <a:gd name="T1" fmla="*/ 0 h 2723"/>
                <a:gd name="T2" fmla="*/ 0 w 2794"/>
                <a:gd name="T3" fmla="*/ 2723 h 2723"/>
                <a:gd name="T4" fmla="*/ 0 w 2794"/>
                <a:gd name="T5" fmla="*/ 0 h 2723"/>
              </a:gdLst>
              <a:ahLst/>
              <a:cxnLst>
                <a:cxn ang="0">
                  <a:pos x="T0" y="T1"/>
                </a:cxn>
                <a:cxn ang="0">
                  <a:pos x="T2" y="T3"/>
                </a:cxn>
                <a:cxn ang="0">
                  <a:pos x="T4" y="T5"/>
                </a:cxn>
              </a:cxnLst>
              <a:rect l="0" t="0" r="r" b="b"/>
              <a:pathLst>
                <a:path w="2794" h="2723">
                  <a:moveTo>
                    <a:pt x="2794" y="0"/>
                  </a:moveTo>
                  <a:lnTo>
                    <a:pt x="0" y="2723"/>
                  </a:lnTo>
                  <a:lnTo>
                    <a:pt x="0" y="0"/>
                  </a:lnTo>
                </a:path>
              </a:pathLst>
            </a:cu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cxnSp>
          <p:nvCxnSpPr>
            <p:cNvPr id="7" name="Straight Connector 6"/>
            <p:cNvCxnSpPr>
              <a:cxnSpLocks/>
            </p:cNvCxnSpPr>
            <p:nvPr userDrawn="1"/>
          </p:nvCxnSpPr>
          <p:spPr>
            <a:xfrm>
              <a:off x="457200" y="4804368"/>
              <a:ext cx="1351094" cy="0"/>
            </a:xfrm>
            <a:prstGeom prst="line">
              <a:avLst/>
            </a:prstGeom>
            <a:ln w="9525" cap="rnd">
              <a:solidFill>
                <a:schemeClr val="accent1"/>
              </a:solidFill>
              <a:rou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
        <p:nvSpPr>
          <p:cNvPr id="9" name="Title 17"/>
          <p:cNvSpPr>
            <a:spLocks noGrp="1"/>
          </p:cNvSpPr>
          <p:nvPr>
            <p:ph type="title"/>
          </p:nvPr>
        </p:nvSpPr>
        <p:spPr>
          <a:xfrm>
            <a:off x="914400" y="3626438"/>
            <a:ext cx="10363200" cy="609398"/>
          </a:xfrm>
        </p:spPr>
        <p:txBody>
          <a:bodyPr anchor="b"/>
          <a:lstStyle>
            <a:lvl1pPr algn="l">
              <a:defRPr sz="4400">
                <a:ln w="3175">
                  <a:noFill/>
                </a:ln>
                <a:solidFill>
                  <a:schemeClr val="bg1"/>
                </a:solidFill>
              </a:defRPr>
            </a:lvl1pPr>
          </a:lstStyle>
          <a:p>
            <a:r>
              <a:rPr lang="en-US"/>
              <a:t>Click to edit Master title style</a:t>
            </a:r>
          </a:p>
        </p:txBody>
      </p:sp>
      <p:sp>
        <p:nvSpPr>
          <p:cNvPr id="13" name="Text Placeholder 2"/>
          <p:cNvSpPr>
            <a:spLocks noGrp="1"/>
          </p:cNvSpPr>
          <p:nvPr>
            <p:ph type="body" idx="1"/>
          </p:nvPr>
        </p:nvSpPr>
        <p:spPr>
          <a:xfrm>
            <a:off x="914400" y="5364529"/>
            <a:ext cx="10363200" cy="276999"/>
          </a:xfrm>
        </p:spPr>
        <p:txBody>
          <a:bodyPr wrap="square" anchor="t">
            <a:spAutoFit/>
          </a:bodyPr>
          <a:lstStyle>
            <a:lvl1pPr marL="0" indent="0">
              <a:buNone/>
              <a:defRPr sz="2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Slide Number Placeholder 3">
            <a:extLst>
              <a:ext uri="{FF2B5EF4-FFF2-40B4-BE49-F238E27FC236}">
                <a16:creationId xmlns:a16="http://schemas.microsoft.com/office/drawing/2014/main" id="{F7C32B61-0FEE-435D-A558-248296352D0B}"/>
              </a:ext>
            </a:extLst>
          </p:cNvPr>
          <p:cNvSpPr>
            <a:spLocks noGrp="1"/>
          </p:cNvSpPr>
          <p:nvPr>
            <p:ph type="sldNum" sz="quarter" idx="11"/>
          </p:nvPr>
        </p:nvSpPr>
        <p:spPr/>
        <p:txBody>
          <a:bodyPr/>
          <a:lstStyle/>
          <a:p>
            <a:fld id="{54939E03-9150-4A70-B4B2-A2AFB6334D4D}" type="slidenum">
              <a:rPr lang="en-SG" smtClean="0"/>
              <a:t>‹#›</a:t>
            </a:fld>
            <a:endParaRPr lang="en-SG"/>
          </a:p>
        </p:txBody>
      </p:sp>
      <p:sp>
        <p:nvSpPr>
          <p:cNvPr id="15" name="TextBox 14">
            <a:extLst>
              <a:ext uri="{FF2B5EF4-FFF2-40B4-BE49-F238E27FC236}">
                <a16:creationId xmlns:a16="http://schemas.microsoft.com/office/drawing/2014/main" id="{0636E184-8239-4217-AEED-A42591643203}"/>
              </a:ext>
            </a:extLst>
          </p:cNvPr>
          <p:cNvSpPr txBox="1"/>
          <p:nvPr/>
        </p:nvSpPr>
        <p:spPr>
          <a:xfrm>
            <a:off x="457200" y="6423496"/>
            <a:ext cx="1282700" cy="230832"/>
          </a:xfrm>
          <a:prstGeom prst="rect">
            <a:avLst/>
          </a:prstGeom>
          <a:noFill/>
        </p:spPr>
        <p:txBody>
          <a:bodyPr wrap="square" lIns="0" rtlCol="0">
            <a:spAutoFit/>
          </a:bodyPr>
          <a:lstStyle/>
          <a:p>
            <a:r>
              <a:rPr lang="en-US" sz="900">
                <a:solidFill>
                  <a:schemeClr val="bg2"/>
                </a:solidFill>
              </a:rPr>
              <a:t>© Trustwave 2018</a:t>
            </a:r>
          </a:p>
        </p:txBody>
      </p:sp>
      <p:grpSp>
        <p:nvGrpSpPr>
          <p:cNvPr id="14" name="Group 13">
            <a:extLst>
              <a:ext uri="{FF2B5EF4-FFF2-40B4-BE49-F238E27FC236}">
                <a16:creationId xmlns:a16="http://schemas.microsoft.com/office/drawing/2014/main" id="{C303A57C-682D-47D1-8055-6D8733D22409}"/>
              </a:ext>
            </a:extLst>
          </p:cNvPr>
          <p:cNvGrpSpPr/>
          <p:nvPr/>
        </p:nvGrpSpPr>
        <p:grpSpPr>
          <a:xfrm>
            <a:off x="11410950" y="457200"/>
            <a:ext cx="323850" cy="324895"/>
            <a:chOff x="11693125" y="130630"/>
            <a:chExt cx="368246" cy="369434"/>
          </a:xfrm>
          <a:solidFill>
            <a:schemeClr val="bg1"/>
          </a:solidFill>
        </p:grpSpPr>
        <p:sp>
          <p:nvSpPr>
            <p:cNvPr id="16" name="Freeform 5">
              <a:extLst>
                <a:ext uri="{FF2B5EF4-FFF2-40B4-BE49-F238E27FC236}">
                  <a16:creationId xmlns:a16="http://schemas.microsoft.com/office/drawing/2014/main" id="{8DD075C7-0C47-4EF2-943A-8A1D5645260D}"/>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D5CA915B-DEAC-44AA-8308-021C5D333D19}"/>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271287DC-67A9-4280-BD18-E1FCDE703103}"/>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37638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Large Statement">
    <p:spTree>
      <p:nvGrpSpPr>
        <p:cNvPr id="1" name=""/>
        <p:cNvGrpSpPr/>
        <p:nvPr/>
      </p:nvGrpSpPr>
      <p:grpSpPr>
        <a:xfrm>
          <a:off x="0" y="0"/>
          <a:ext cx="0" cy="0"/>
          <a:chOff x="0" y="0"/>
          <a:chExt cx="0" cy="0"/>
        </a:xfrm>
      </p:grpSpPr>
      <p:sp>
        <p:nvSpPr>
          <p:cNvPr id="18" name="Title 17"/>
          <p:cNvSpPr>
            <a:spLocks noGrp="1"/>
          </p:cNvSpPr>
          <p:nvPr>
            <p:ph type="title"/>
          </p:nvPr>
        </p:nvSpPr>
        <p:spPr>
          <a:xfrm>
            <a:off x="914400" y="3055053"/>
            <a:ext cx="10363200" cy="747897"/>
          </a:xfrm>
        </p:spPr>
        <p:txBody>
          <a:bodyPr anchor="ctr"/>
          <a:lstStyle>
            <a:lvl1pPr algn="ctr">
              <a:defRPr sz="5400"/>
            </a:lvl1pPr>
          </a:lstStyle>
          <a:p>
            <a:r>
              <a:rPr lang="en-US"/>
              <a:t>Click to edit Master title style</a:t>
            </a:r>
          </a:p>
        </p:txBody>
      </p:sp>
      <p:cxnSp>
        <p:nvCxnSpPr>
          <p:cNvPr id="6" name="Straight Connector 5">
            <a:extLst>
              <a:ext uri="{FF2B5EF4-FFF2-40B4-BE49-F238E27FC236}">
                <a16:creationId xmlns:a16="http://schemas.microsoft.com/office/drawing/2014/main" id="{0A592FB5-44CA-4B86-9ACA-1ED9B33122FD}"/>
              </a:ext>
            </a:extLst>
          </p:cNvPr>
          <p:cNvCxnSpPr>
            <a:cxnSpLocks/>
          </p:cNvCxnSpPr>
          <p:nvPr/>
        </p:nvCxnSpPr>
        <p:spPr>
          <a:xfrm>
            <a:off x="457200" y="5865060"/>
            <a:ext cx="11277600" cy="0"/>
          </a:xfrm>
          <a:prstGeom prst="line">
            <a:avLst/>
          </a:prstGeom>
          <a:noFill/>
          <a:ln w="95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4" name="Straight Connector 3">
            <a:extLst>
              <a:ext uri="{FF2B5EF4-FFF2-40B4-BE49-F238E27FC236}">
                <a16:creationId xmlns:a16="http://schemas.microsoft.com/office/drawing/2014/main" id="{4111E64C-E980-461A-8762-01387B6AE3ED}"/>
              </a:ext>
            </a:extLst>
          </p:cNvPr>
          <p:cNvCxnSpPr>
            <a:cxnSpLocks/>
          </p:cNvCxnSpPr>
          <p:nvPr/>
        </p:nvCxnSpPr>
        <p:spPr>
          <a:xfrm>
            <a:off x="457200" y="972885"/>
            <a:ext cx="11277600" cy="0"/>
          </a:xfrm>
          <a:prstGeom prst="line">
            <a:avLst/>
          </a:prstGeom>
          <a:noFill/>
          <a:ln w="952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cxnSp>
      <p:sp>
        <p:nvSpPr>
          <p:cNvPr id="5" name="Slide Number Placeholder 4">
            <a:extLst>
              <a:ext uri="{FF2B5EF4-FFF2-40B4-BE49-F238E27FC236}">
                <a16:creationId xmlns:a16="http://schemas.microsoft.com/office/drawing/2014/main" id="{9D151306-A9F7-422C-AFB0-0F6D6BB857EC}"/>
              </a:ext>
            </a:extLst>
          </p:cNvPr>
          <p:cNvSpPr>
            <a:spLocks noGrp="1"/>
          </p:cNvSpPr>
          <p:nvPr>
            <p:ph type="sldNum" sz="quarter" idx="11"/>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36610043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Large Statement - Blade">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3E28791-61E4-4A5E-BB6E-2B0DE9C5DD4F}"/>
              </a:ext>
            </a:extLst>
          </p:cNvPr>
          <p:cNvGrpSpPr/>
          <p:nvPr/>
        </p:nvGrpSpPr>
        <p:grpSpPr>
          <a:xfrm>
            <a:off x="1174282" y="0"/>
            <a:ext cx="11043118" cy="3673788"/>
            <a:chOff x="1174282" y="0"/>
            <a:chExt cx="11043118" cy="3673788"/>
          </a:xfrm>
        </p:grpSpPr>
        <p:sp>
          <p:nvSpPr>
            <p:cNvPr id="74" name="Freeform: Shape 73">
              <a:extLst>
                <a:ext uri="{FF2B5EF4-FFF2-40B4-BE49-F238E27FC236}">
                  <a16:creationId xmlns:a16="http://schemas.microsoft.com/office/drawing/2014/main" id="{B8B1BA97-209D-41D4-B65C-7E2A6B130D0F}"/>
                </a:ext>
              </a:extLst>
            </p:cNvPr>
            <p:cNvSpPr/>
            <p:nvPr userDrawn="1"/>
          </p:nvSpPr>
          <p:spPr>
            <a:xfrm>
              <a:off x="2497651" y="0"/>
              <a:ext cx="9719749" cy="3088446"/>
            </a:xfrm>
            <a:custGeom>
              <a:avLst/>
              <a:gdLst>
                <a:gd name="connsiteX0" fmla="*/ 0 w 7899400"/>
                <a:gd name="connsiteY0" fmla="*/ 0 h 3086100"/>
                <a:gd name="connsiteX1" fmla="*/ 7899400 w 7899400"/>
                <a:gd name="connsiteY1" fmla="*/ 0 h 3086100"/>
                <a:gd name="connsiteX2" fmla="*/ 7899400 w 7899400"/>
                <a:gd name="connsiteY2" fmla="*/ 3086100 h 3086100"/>
                <a:gd name="connsiteX3" fmla="*/ 0 w 7899400"/>
                <a:gd name="connsiteY3" fmla="*/ 0 h 3086100"/>
              </a:gdLst>
              <a:ahLst/>
              <a:cxnLst>
                <a:cxn ang="0">
                  <a:pos x="connsiteX0" y="connsiteY0"/>
                </a:cxn>
                <a:cxn ang="0">
                  <a:pos x="connsiteX1" y="connsiteY1"/>
                </a:cxn>
                <a:cxn ang="0">
                  <a:pos x="connsiteX2" y="connsiteY2"/>
                </a:cxn>
                <a:cxn ang="0">
                  <a:pos x="connsiteX3" y="connsiteY3"/>
                </a:cxn>
              </a:cxnLst>
              <a:rect l="l" t="t" r="r" b="b"/>
              <a:pathLst>
                <a:path w="7899400" h="3086100">
                  <a:moveTo>
                    <a:pt x="0" y="0"/>
                  </a:moveTo>
                  <a:lnTo>
                    <a:pt x="7899400" y="0"/>
                  </a:lnTo>
                  <a:lnTo>
                    <a:pt x="7899400" y="30861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Shape 62">
              <a:extLst>
                <a:ext uri="{FF2B5EF4-FFF2-40B4-BE49-F238E27FC236}">
                  <a16:creationId xmlns:a16="http://schemas.microsoft.com/office/drawing/2014/main" id="{0994C931-82A2-4D9B-80B4-A4FBE9EFBD17}"/>
                </a:ext>
              </a:extLst>
            </p:cNvPr>
            <p:cNvSpPr/>
            <p:nvPr userDrawn="1"/>
          </p:nvSpPr>
          <p:spPr>
            <a:xfrm>
              <a:off x="1174282" y="0"/>
              <a:ext cx="11036767" cy="3673788"/>
            </a:xfrm>
            <a:custGeom>
              <a:avLst/>
              <a:gdLst>
                <a:gd name="connsiteX0" fmla="*/ 0 w 7430445"/>
                <a:gd name="connsiteY0" fmla="*/ 0 h 4071206"/>
                <a:gd name="connsiteX1" fmla="*/ 788475 w 7430445"/>
                <a:gd name="connsiteY1" fmla="*/ 0 h 4071206"/>
                <a:gd name="connsiteX2" fmla="*/ 7430445 w 7430445"/>
                <a:gd name="connsiteY2" fmla="*/ 3639193 h 4071206"/>
                <a:gd name="connsiteX3" fmla="*/ 7430445 w 7430445"/>
                <a:gd name="connsiteY3" fmla="*/ 4071206 h 4071206"/>
                <a:gd name="connsiteX4" fmla="*/ 0 w 7430445"/>
                <a:gd name="connsiteY4" fmla="*/ 0 h 4071206"/>
                <a:gd name="connsiteX0" fmla="*/ 0 w 7435741"/>
                <a:gd name="connsiteY0" fmla="*/ 0 h 4071206"/>
                <a:gd name="connsiteX1" fmla="*/ 788475 w 7435741"/>
                <a:gd name="connsiteY1" fmla="*/ 0 h 4071206"/>
                <a:gd name="connsiteX2" fmla="*/ 7435741 w 7435741"/>
                <a:gd name="connsiteY2" fmla="*/ 3066208 h 4071206"/>
                <a:gd name="connsiteX3" fmla="*/ 7430445 w 7435741"/>
                <a:gd name="connsiteY3" fmla="*/ 4071206 h 4071206"/>
                <a:gd name="connsiteX4" fmla="*/ 0 w 7435741"/>
                <a:gd name="connsiteY4" fmla="*/ 0 h 4071206"/>
                <a:gd name="connsiteX0" fmla="*/ 0 w 7435741"/>
                <a:gd name="connsiteY0" fmla="*/ 0 h 3528379"/>
                <a:gd name="connsiteX1" fmla="*/ 788475 w 7435741"/>
                <a:gd name="connsiteY1" fmla="*/ 0 h 3528379"/>
                <a:gd name="connsiteX2" fmla="*/ 7435741 w 7435741"/>
                <a:gd name="connsiteY2" fmla="*/ 3066208 h 3528379"/>
                <a:gd name="connsiteX3" fmla="*/ 7398668 w 7435741"/>
                <a:gd name="connsiteY3" fmla="*/ 3528379 h 3528379"/>
                <a:gd name="connsiteX4" fmla="*/ 0 w 7435741"/>
                <a:gd name="connsiteY4" fmla="*/ 0 h 3528379"/>
                <a:gd name="connsiteX0" fmla="*/ 0 w 7441271"/>
                <a:gd name="connsiteY0" fmla="*/ 0 h 3543458"/>
                <a:gd name="connsiteX1" fmla="*/ 788475 w 7441271"/>
                <a:gd name="connsiteY1" fmla="*/ 0 h 3543458"/>
                <a:gd name="connsiteX2" fmla="*/ 7435741 w 7441271"/>
                <a:gd name="connsiteY2" fmla="*/ 3066208 h 3543458"/>
                <a:gd name="connsiteX3" fmla="*/ 7441037 w 7441271"/>
                <a:gd name="connsiteY3" fmla="*/ 3543458 h 3543458"/>
                <a:gd name="connsiteX4" fmla="*/ 0 w 7441271"/>
                <a:gd name="connsiteY4" fmla="*/ 0 h 3543458"/>
                <a:gd name="connsiteX0" fmla="*/ 0 w 7504824"/>
                <a:gd name="connsiteY0" fmla="*/ 0 h 3543458"/>
                <a:gd name="connsiteX1" fmla="*/ 852028 w 7504824"/>
                <a:gd name="connsiteY1" fmla="*/ 0 h 3543458"/>
                <a:gd name="connsiteX2" fmla="*/ 7499294 w 7504824"/>
                <a:gd name="connsiteY2" fmla="*/ 3066208 h 3543458"/>
                <a:gd name="connsiteX3" fmla="*/ 7504590 w 7504824"/>
                <a:gd name="connsiteY3" fmla="*/ 3543458 h 3543458"/>
                <a:gd name="connsiteX4" fmla="*/ 0 w 7504824"/>
                <a:gd name="connsiteY4" fmla="*/ 0 h 3543458"/>
                <a:gd name="connsiteX0" fmla="*/ 0 w 7499803"/>
                <a:gd name="connsiteY0" fmla="*/ 0 h 3618851"/>
                <a:gd name="connsiteX1" fmla="*/ 852028 w 7499803"/>
                <a:gd name="connsiteY1" fmla="*/ 0 h 3618851"/>
                <a:gd name="connsiteX2" fmla="*/ 7499294 w 7499803"/>
                <a:gd name="connsiteY2" fmla="*/ 3066208 h 3618851"/>
                <a:gd name="connsiteX3" fmla="*/ 7499294 w 7499803"/>
                <a:gd name="connsiteY3" fmla="*/ 3618851 h 3618851"/>
                <a:gd name="connsiteX4" fmla="*/ 0 w 7499803"/>
                <a:gd name="connsiteY4" fmla="*/ 0 h 3618851"/>
                <a:gd name="connsiteX0" fmla="*/ 0 w 7499447"/>
                <a:gd name="connsiteY0" fmla="*/ 0 h 3618851"/>
                <a:gd name="connsiteX1" fmla="*/ 852028 w 7499447"/>
                <a:gd name="connsiteY1" fmla="*/ 0 h 3618851"/>
                <a:gd name="connsiteX2" fmla="*/ 7488702 w 7499447"/>
                <a:gd name="connsiteY2" fmla="*/ 3005894 h 3618851"/>
                <a:gd name="connsiteX3" fmla="*/ 7499294 w 7499447"/>
                <a:gd name="connsiteY3" fmla="*/ 3618851 h 3618851"/>
                <a:gd name="connsiteX4" fmla="*/ 0 w 7499447"/>
                <a:gd name="connsiteY4" fmla="*/ 0 h 3618851"/>
                <a:gd name="connsiteX0" fmla="*/ 0 w 7488702"/>
                <a:gd name="connsiteY0" fmla="*/ 0 h 3596233"/>
                <a:gd name="connsiteX1" fmla="*/ 852028 w 7488702"/>
                <a:gd name="connsiteY1" fmla="*/ 0 h 3596233"/>
                <a:gd name="connsiteX2" fmla="*/ 7488702 w 7488702"/>
                <a:gd name="connsiteY2" fmla="*/ 3005894 h 3596233"/>
                <a:gd name="connsiteX3" fmla="*/ 7478110 w 7488702"/>
                <a:gd name="connsiteY3" fmla="*/ 3596233 h 3596233"/>
                <a:gd name="connsiteX4" fmla="*/ 0 w 7488702"/>
                <a:gd name="connsiteY4" fmla="*/ 0 h 3596233"/>
                <a:gd name="connsiteX0" fmla="*/ 0 w 7589328"/>
                <a:gd name="connsiteY0" fmla="*/ 0 h 3596233"/>
                <a:gd name="connsiteX1" fmla="*/ 952654 w 7589328"/>
                <a:gd name="connsiteY1" fmla="*/ 0 h 3596233"/>
                <a:gd name="connsiteX2" fmla="*/ 7589328 w 7589328"/>
                <a:gd name="connsiteY2" fmla="*/ 3005894 h 3596233"/>
                <a:gd name="connsiteX3" fmla="*/ 7578736 w 7589328"/>
                <a:gd name="connsiteY3" fmla="*/ 3596233 h 3596233"/>
                <a:gd name="connsiteX4" fmla="*/ 0 w 7589328"/>
                <a:gd name="connsiteY4" fmla="*/ 0 h 3596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9328" h="3596233">
                  <a:moveTo>
                    <a:pt x="0" y="0"/>
                  </a:moveTo>
                  <a:lnTo>
                    <a:pt x="952654" y="0"/>
                  </a:lnTo>
                  <a:lnTo>
                    <a:pt x="7589328" y="3005894"/>
                  </a:lnTo>
                  <a:cubicBezTo>
                    <a:pt x="7587563" y="3340893"/>
                    <a:pt x="7580501" y="3261234"/>
                    <a:pt x="7578736" y="3596233"/>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itle 17">
            <a:extLst>
              <a:ext uri="{FF2B5EF4-FFF2-40B4-BE49-F238E27FC236}">
                <a16:creationId xmlns:a16="http://schemas.microsoft.com/office/drawing/2014/main" id="{9F7529C7-3F14-461E-AE5D-8E40FF7DAFE2}"/>
              </a:ext>
            </a:extLst>
          </p:cNvPr>
          <p:cNvSpPr>
            <a:spLocks noGrp="1"/>
          </p:cNvSpPr>
          <p:nvPr>
            <p:ph type="title" hasCustomPrompt="1"/>
          </p:nvPr>
        </p:nvSpPr>
        <p:spPr>
          <a:xfrm>
            <a:off x="457200" y="2278852"/>
            <a:ext cx="8343900" cy="4121948"/>
          </a:xfrm>
        </p:spPr>
        <p:txBody>
          <a:bodyPr anchor="ctr"/>
          <a:lstStyle>
            <a:lvl1pPr algn="l">
              <a:lnSpc>
                <a:spcPct val="80000"/>
              </a:lnSpc>
              <a:defRPr sz="6000">
                <a:ln w="3175">
                  <a:solidFill>
                    <a:schemeClr val="tx1"/>
                  </a:solidFill>
                </a:ln>
                <a:solidFill>
                  <a:schemeClr val="bg1"/>
                </a:solidFill>
              </a:defRPr>
            </a:lvl1pPr>
          </a:lstStyle>
          <a:p>
            <a:r>
              <a:rPr lang="en-US"/>
              <a:t>Large statement goes right here</a:t>
            </a:r>
          </a:p>
        </p:txBody>
      </p:sp>
      <p:sp>
        <p:nvSpPr>
          <p:cNvPr id="3" name="Slide Number Placeholder 2">
            <a:extLst>
              <a:ext uri="{FF2B5EF4-FFF2-40B4-BE49-F238E27FC236}">
                <a16:creationId xmlns:a16="http://schemas.microsoft.com/office/drawing/2014/main" id="{9899BDC3-FF00-4639-80A9-FC953212D222}"/>
              </a:ext>
            </a:extLst>
          </p:cNvPr>
          <p:cNvSpPr>
            <a:spLocks noGrp="1"/>
          </p:cNvSpPr>
          <p:nvPr>
            <p:ph type="sldNum" sz="quarter" idx="11"/>
          </p:nvPr>
        </p:nvSpPr>
        <p:spPr/>
        <p:txBody>
          <a:bodyPr/>
          <a:lstStyle/>
          <a:p>
            <a:fld id="{54939E03-9150-4A70-B4B2-A2AFB6334D4D}" type="slidenum">
              <a:rPr lang="en-SG" smtClean="0"/>
              <a:t>‹#›</a:t>
            </a:fld>
            <a:endParaRPr lang="en-SG"/>
          </a:p>
        </p:txBody>
      </p:sp>
      <p:grpSp>
        <p:nvGrpSpPr>
          <p:cNvPr id="13" name="Group 12">
            <a:extLst>
              <a:ext uri="{FF2B5EF4-FFF2-40B4-BE49-F238E27FC236}">
                <a16:creationId xmlns:a16="http://schemas.microsoft.com/office/drawing/2014/main" id="{80836FC9-EEE3-4124-A6D0-95AD808A429E}"/>
              </a:ext>
            </a:extLst>
          </p:cNvPr>
          <p:cNvGrpSpPr/>
          <p:nvPr/>
        </p:nvGrpSpPr>
        <p:grpSpPr>
          <a:xfrm>
            <a:off x="11410950" y="457200"/>
            <a:ext cx="323850" cy="324895"/>
            <a:chOff x="11693125" y="130630"/>
            <a:chExt cx="368246" cy="369434"/>
          </a:xfrm>
          <a:solidFill>
            <a:schemeClr val="bg1"/>
          </a:solidFill>
        </p:grpSpPr>
        <p:sp>
          <p:nvSpPr>
            <p:cNvPr id="14" name="Freeform 5">
              <a:extLst>
                <a:ext uri="{FF2B5EF4-FFF2-40B4-BE49-F238E27FC236}">
                  <a16:creationId xmlns:a16="http://schemas.microsoft.com/office/drawing/2014/main" id="{6CDF1FFC-4EBE-4ADE-B3A6-381E844BA11C}"/>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C7861B7A-B1A1-4665-8540-2BD577CF300A}"/>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065CC4DE-E8C3-424A-AB60-301FCA5EBC32}"/>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28042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hallenges (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p:nvSpPr>
        <p:spPr>
          <a:xfrm>
            <a:off x="6358467" y="0"/>
            <a:ext cx="583353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2">
            <a:extLst>
              <a:ext uri="{FF2B5EF4-FFF2-40B4-BE49-F238E27FC236}">
                <a16:creationId xmlns:a16="http://schemas.microsoft.com/office/drawing/2014/main" id="{F31C690D-2E33-4B5E-A758-51D5765E0AFF}"/>
              </a:ext>
            </a:extLst>
          </p:cNvPr>
          <p:cNvSpPr>
            <a:spLocks noGrp="1"/>
          </p:cNvSpPr>
          <p:nvPr>
            <p:ph type="title"/>
          </p:nvPr>
        </p:nvSpPr>
        <p:spPr>
          <a:xfrm>
            <a:off x="457200" y="463550"/>
            <a:ext cx="5410195" cy="1107996"/>
          </a:xfrm>
        </p:spPr>
        <p:txBody>
          <a:bodyPr/>
          <a:lstStyle>
            <a:lvl1pPr>
              <a:defRPr>
                <a:solidFill>
                  <a:schemeClr val="accent1"/>
                </a:solidFill>
              </a:defRPr>
            </a:lvl1pPr>
          </a:lstStyle>
          <a:p>
            <a:r>
              <a:rPr lang="en-US"/>
              <a:t>Click to edit Master title style</a:t>
            </a:r>
          </a:p>
        </p:txBody>
      </p:sp>
      <p:sp>
        <p:nvSpPr>
          <p:cNvPr id="12" name="Text Placeholder 4">
            <a:extLst>
              <a:ext uri="{FF2B5EF4-FFF2-40B4-BE49-F238E27FC236}">
                <a16:creationId xmlns:a16="http://schemas.microsoft.com/office/drawing/2014/main" id="{19820A29-569B-40F9-906D-FCB3E33A383A}"/>
              </a:ext>
            </a:extLst>
          </p:cNvPr>
          <p:cNvSpPr>
            <a:spLocks noGrp="1"/>
          </p:cNvSpPr>
          <p:nvPr>
            <p:ph type="body" sz="quarter" idx="10"/>
          </p:nvPr>
        </p:nvSpPr>
        <p:spPr>
          <a:xfrm>
            <a:off x="456672" y="1943100"/>
            <a:ext cx="5410728" cy="4457700"/>
          </a:xfrm>
        </p:spPr>
        <p:txBody>
          <a:bodyPr/>
          <a:lstStyle>
            <a:lvl1pPr>
              <a:defRPr>
                <a:solidFill>
                  <a:sysClr val="windowText" lastClr="000000"/>
                </a:solidFill>
              </a:defRPr>
            </a:lvl1pPr>
            <a:lvl2pPr>
              <a:defRPr>
                <a:solidFill>
                  <a:sysClr val="windowText" lastClr="000000"/>
                </a:solidFill>
              </a:defRPr>
            </a:lvl2pPr>
            <a:lvl3pPr>
              <a:defRPr>
                <a:solidFill>
                  <a:sysClr val="windowText" lastClr="000000"/>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A3640E85-4629-4999-A314-5E593BF6FED2}"/>
              </a:ext>
            </a:extLst>
          </p:cNvPr>
          <p:cNvSpPr>
            <a:spLocks noGrp="1"/>
          </p:cNvSpPr>
          <p:nvPr>
            <p:ph type="sldNum" sz="quarter" idx="12"/>
          </p:nvPr>
        </p:nvSpPr>
        <p:spPr/>
        <p:txBody>
          <a:bodyPr/>
          <a:lstStyle>
            <a:lvl1pPr>
              <a:defRPr>
                <a:solidFill>
                  <a:schemeClr val="accent2">
                    <a:lumMod val="75000"/>
                  </a:schemeClr>
                </a:solidFill>
              </a:defRPr>
            </a:lvl1pPr>
          </a:lstStyle>
          <a:p>
            <a:fld id="{54939E03-9150-4A70-B4B2-A2AFB6334D4D}" type="slidenum">
              <a:rPr lang="en-SG" smtClean="0"/>
              <a:t>‹#›</a:t>
            </a:fld>
            <a:endParaRPr lang="en-SG"/>
          </a:p>
        </p:txBody>
      </p:sp>
      <p:grpSp>
        <p:nvGrpSpPr>
          <p:cNvPr id="10" name="Group 9">
            <a:extLst>
              <a:ext uri="{FF2B5EF4-FFF2-40B4-BE49-F238E27FC236}">
                <a16:creationId xmlns:a16="http://schemas.microsoft.com/office/drawing/2014/main" id="{D05CB879-DA49-4703-9783-2B7DF764B570}"/>
              </a:ext>
            </a:extLst>
          </p:cNvPr>
          <p:cNvGrpSpPr/>
          <p:nvPr/>
        </p:nvGrpSpPr>
        <p:grpSpPr>
          <a:xfrm>
            <a:off x="11410950" y="457200"/>
            <a:ext cx="323850" cy="324895"/>
            <a:chOff x="11693125" y="130630"/>
            <a:chExt cx="368246" cy="369434"/>
          </a:xfrm>
          <a:solidFill>
            <a:schemeClr val="bg1"/>
          </a:solidFill>
        </p:grpSpPr>
        <p:sp>
          <p:nvSpPr>
            <p:cNvPr id="13" name="Freeform 5">
              <a:extLst>
                <a:ext uri="{FF2B5EF4-FFF2-40B4-BE49-F238E27FC236}">
                  <a16:creationId xmlns:a16="http://schemas.microsoft.com/office/drawing/2014/main" id="{6142AF86-85A2-4F12-A0FA-46EE06555915}"/>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E649EC1B-8FEF-49C4-8331-6AD8E780F523}"/>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3A322BAF-1858-41F5-9CB1-8F25EE103763}"/>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405066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hallenges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p:nvSpPr>
        <p:spPr>
          <a:xfrm>
            <a:off x="6358467" y="0"/>
            <a:ext cx="583353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itle 2">
            <a:extLst>
              <a:ext uri="{FF2B5EF4-FFF2-40B4-BE49-F238E27FC236}">
                <a16:creationId xmlns:a16="http://schemas.microsoft.com/office/drawing/2014/main" id="{C60EE54D-D418-4953-A5A3-8FFA8E839E5D}"/>
              </a:ext>
            </a:extLst>
          </p:cNvPr>
          <p:cNvSpPr>
            <a:spLocks noGrp="1"/>
          </p:cNvSpPr>
          <p:nvPr>
            <p:ph type="title"/>
          </p:nvPr>
        </p:nvSpPr>
        <p:spPr>
          <a:xfrm>
            <a:off x="457200" y="463550"/>
            <a:ext cx="5410195" cy="1107996"/>
          </a:xfrm>
        </p:spPr>
        <p:txBody>
          <a:bodyPr/>
          <a:lstStyle>
            <a:lvl1pPr>
              <a:defRPr>
                <a:solidFill>
                  <a:schemeClr val="accent1"/>
                </a:solidFill>
              </a:defRPr>
            </a:lvl1pPr>
          </a:lstStyle>
          <a:p>
            <a:r>
              <a:rPr lang="en-US"/>
              <a:t>Click to edit Master title style</a:t>
            </a:r>
          </a:p>
        </p:txBody>
      </p:sp>
      <p:sp>
        <p:nvSpPr>
          <p:cNvPr id="12" name="Text Placeholder 4">
            <a:extLst>
              <a:ext uri="{FF2B5EF4-FFF2-40B4-BE49-F238E27FC236}">
                <a16:creationId xmlns:a16="http://schemas.microsoft.com/office/drawing/2014/main" id="{B17A0437-ECA7-4866-8C2B-0DDE071FB9BA}"/>
              </a:ext>
            </a:extLst>
          </p:cNvPr>
          <p:cNvSpPr>
            <a:spLocks noGrp="1"/>
          </p:cNvSpPr>
          <p:nvPr>
            <p:ph type="body" sz="quarter" idx="10"/>
          </p:nvPr>
        </p:nvSpPr>
        <p:spPr>
          <a:xfrm>
            <a:off x="456672" y="1943100"/>
            <a:ext cx="5410728" cy="4457700"/>
          </a:xfrm>
        </p:spPr>
        <p:txBody>
          <a:bodyPr/>
          <a:lstStyle>
            <a:lvl1pPr>
              <a:defRPr>
                <a:solidFill>
                  <a:sysClr val="windowText" lastClr="000000"/>
                </a:solidFill>
              </a:defRPr>
            </a:lvl1pPr>
            <a:lvl2pPr>
              <a:defRPr>
                <a:solidFill>
                  <a:sysClr val="windowText" lastClr="000000"/>
                </a:solidFill>
              </a:defRPr>
            </a:lvl2pPr>
            <a:lvl3pPr>
              <a:defRPr>
                <a:solidFill>
                  <a:sysClr val="windowText" lastClr="000000"/>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74A7F3B-76B0-408B-BA03-3D70CC042705}"/>
              </a:ext>
            </a:extLst>
          </p:cNvPr>
          <p:cNvSpPr>
            <a:spLocks noGrp="1"/>
          </p:cNvSpPr>
          <p:nvPr>
            <p:ph type="sldNum" sz="quarter" idx="12"/>
          </p:nvPr>
        </p:nvSpPr>
        <p:spPr/>
        <p:txBody>
          <a:bodyPr/>
          <a:lstStyle/>
          <a:p>
            <a:fld id="{54939E03-9150-4A70-B4B2-A2AFB6334D4D}" type="slidenum">
              <a:rPr lang="en-SG" smtClean="0"/>
              <a:t>‹#›</a:t>
            </a:fld>
            <a:endParaRPr lang="en-SG"/>
          </a:p>
        </p:txBody>
      </p:sp>
      <p:grpSp>
        <p:nvGrpSpPr>
          <p:cNvPr id="10" name="Group 9">
            <a:extLst>
              <a:ext uri="{FF2B5EF4-FFF2-40B4-BE49-F238E27FC236}">
                <a16:creationId xmlns:a16="http://schemas.microsoft.com/office/drawing/2014/main" id="{148E51EF-2076-49A3-B3BA-2C35243FBE7C}"/>
              </a:ext>
            </a:extLst>
          </p:cNvPr>
          <p:cNvGrpSpPr/>
          <p:nvPr/>
        </p:nvGrpSpPr>
        <p:grpSpPr>
          <a:xfrm>
            <a:off x="11410950" y="457200"/>
            <a:ext cx="323850" cy="324895"/>
            <a:chOff x="11693125" y="130630"/>
            <a:chExt cx="368246" cy="369434"/>
          </a:xfrm>
          <a:solidFill>
            <a:schemeClr val="bg1"/>
          </a:solidFill>
        </p:grpSpPr>
        <p:sp>
          <p:nvSpPr>
            <p:cNvPr id="13" name="Freeform 5">
              <a:extLst>
                <a:ext uri="{FF2B5EF4-FFF2-40B4-BE49-F238E27FC236}">
                  <a16:creationId xmlns:a16="http://schemas.microsoft.com/office/drawing/2014/main" id="{81C4F264-583F-45E9-A922-9AE9592562D6}"/>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EE252FE5-DA2E-46A9-A7C9-2A3D7D7064A5}"/>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393B34AB-1B31-40EF-A677-90E05061BCA1}"/>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402061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hallenges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8BEEC-0DDE-498C-9130-57AFBB370C20}"/>
              </a:ext>
            </a:extLst>
          </p:cNvPr>
          <p:cNvSpPr/>
          <p:nvPr/>
        </p:nvSpPr>
        <p:spPr>
          <a:xfrm>
            <a:off x="6356350" y="0"/>
            <a:ext cx="583565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itle 2">
            <a:extLst>
              <a:ext uri="{FF2B5EF4-FFF2-40B4-BE49-F238E27FC236}">
                <a16:creationId xmlns:a16="http://schemas.microsoft.com/office/drawing/2014/main" id="{C1921F19-CA6D-423E-B244-418E3DE55002}"/>
              </a:ext>
            </a:extLst>
          </p:cNvPr>
          <p:cNvSpPr>
            <a:spLocks noGrp="1"/>
          </p:cNvSpPr>
          <p:nvPr>
            <p:ph type="title"/>
          </p:nvPr>
        </p:nvSpPr>
        <p:spPr>
          <a:xfrm>
            <a:off x="457200" y="463550"/>
            <a:ext cx="5410195" cy="1107996"/>
          </a:xfrm>
        </p:spPr>
        <p:txBody>
          <a:bodyPr/>
          <a:lstStyle>
            <a:lvl1pPr>
              <a:defRPr>
                <a:solidFill>
                  <a:schemeClr val="accent1"/>
                </a:solidFill>
              </a:defRPr>
            </a:lvl1pPr>
          </a:lstStyle>
          <a:p>
            <a:r>
              <a:rPr lang="en-US"/>
              <a:t>Click to edit Master title style</a:t>
            </a:r>
          </a:p>
        </p:txBody>
      </p:sp>
      <p:sp>
        <p:nvSpPr>
          <p:cNvPr id="15" name="Text Placeholder 4">
            <a:extLst>
              <a:ext uri="{FF2B5EF4-FFF2-40B4-BE49-F238E27FC236}">
                <a16:creationId xmlns:a16="http://schemas.microsoft.com/office/drawing/2014/main" id="{D0160932-B10A-45FB-8DA0-9FF2640A2C47}"/>
              </a:ext>
            </a:extLst>
          </p:cNvPr>
          <p:cNvSpPr>
            <a:spLocks noGrp="1"/>
          </p:cNvSpPr>
          <p:nvPr>
            <p:ph type="body" sz="quarter" idx="10"/>
          </p:nvPr>
        </p:nvSpPr>
        <p:spPr>
          <a:xfrm>
            <a:off x="456672" y="1943100"/>
            <a:ext cx="5410728" cy="4457700"/>
          </a:xfrm>
        </p:spPr>
        <p:txBody>
          <a:bodyPr/>
          <a:lstStyle>
            <a:lvl1pPr>
              <a:defRPr>
                <a:solidFill>
                  <a:sysClr val="windowText" lastClr="000000"/>
                </a:solidFill>
              </a:defRPr>
            </a:lvl1pPr>
            <a:lvl2pPr>
              <a:defRPr>
                <a:solidFill>
                  <a:sysClr val="windowText" lastClr="000000"/>
                </a:solidFill>
              </a:defRPr>
            </a:lvl2pPr>
            <a:lvl3pPr>
              <a:defRPr>
                <a:solidFill>
                  <a:sysClr val="windowText" lastClr="000000"/>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8620ACB-F2DE-4846-9C91-C211AF162B9B}"/>
              </a:ext>
            </a:extLst>
          </p:cNvPr>
          <p:cNvSpPr>
            <a:spLocks noGrp="1"/>
          </p:cNvSpPr>
          <p:nvPr>
            <p:ph type="sldNum" sz="quarter" idx="12"/>
          </p:nvPr>
        </p:nvSpPr>
        <p:spPr/>
        <p:txBody>
          <a:bodyPr/>
          <a:lstStyle/>
          <a:p>
            <a:fld id="{54939E03-9150-4A70-B4B2-A2AFB6334D4D}" type="slidenum">
              <a:rPr lang="en-SG" smtClean="0"/>
              <a:t>‹#›</a:t>
            </a:fld>
            <a:endParaRPr lang="en-SG"/>
          </a:p>
        </p:txBody>
      </p:sp>
      <p:grpSp>
        <p:nvGrpSpPr>
          <p:cNvPr id="10" name="Group 9">
            <a:extLst>
              <a:ext uri="{FF2B5EF4-FFF2-40B4-BE49-F238E27FC236}">
                <a16:creationId xmlns:a16="http://schemas.microsoft.com/office/drawing/2014/main" id="{EC49D914-2E2D-4ECC-8F63-D618C1CD059C}"/>
              </a:ext>
            </a:extLst>
          </p:cNvPr>
          <p:cNvGrpSpPr/>
          <p:nvPr/>
        </p:nvGrpSpPr>
        <p:grpSpPr>
          <a:xfrm>
            <a:off x="11410950" y="457200"/>
            <a:ext cx="323850" cy="324895"/>
            <a:chOff x="11693125" y="130630"/>
            <a:chExt cx="368246" cy="369434"/>
          </a:xfrm>
          <a:solidFill>
            <a:schemeClr val="bg1"/>
          </a:solidFill>
        </p:grpSpPr>
        <p:sp>
          <p:nvSpPr>
            <p:cNvPr id="11" name="Freeform 5">
              <a:extLst>
                <a:ext uri="{FF2B5EF4-FFF2-40B4-BE49-F238E27FC236}">
                  <a16:creationId xmlns:a16="http://schemas.microsoft.com/office/drawing/2014/main" id="{6E261FE9-AFB6-4C27-842B-1D0741FAD114}"/>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CC9523A2-1EF1-4491-92D1-4032E87BFECD}"/>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F6B0DBA5-D600-4BC8-8B83-F4FC069901B4}"/>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942547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Challenges">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457200" y="2676371"/>
            <a:ext cx="5410200" cy="372861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idx="1"/>
          </p:nvPr>
        </p:nvSpPr>
        <p:spPr>
          <a:xfrm>
            <a:off x="457200" y="1943100"/>
            <a:ext cx="5387805"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26" name="Straight Connector 25"/>
          <p:cNvCxnSpPr>
            <a:cxnSpLocks/>
          </p:cNvCxnSpPr>
          <p:nvPr/>
        </p:nvCxnSpPr>
        <p:spPr>
          <a:xfrm>
            <a:off x="457200" y="2354675"/>
            <a:ext cx="5410200"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35" name="Text Placeholder 2"/>
          <p:cNvSpPr>
            <a:spLocks noGrp="1"/>
          </p:cNvSpPr>
          <p:nvPr>
            <p:ph type="body" idx="12"/>
          </p:nvPr>
        </p:nvSpPr>
        <p:spPr>
          <a:xfrm>
            <a:off x="6340364" y="1943100"/>
            <a:ext cx="5394435"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36" name="Straight Connector 35"/>
          <p:cNvCxnSpPr>
            <a:cxnSpLocks/>
          </p:cNvCxnSpPr>
          <p:nvPr/>
        </p:nvCxnSpPr>
        <p:spPr>
          <a:xfrm>
            <a:off x="6324600" y="2354675"/>
            <a:ext cx="5410200"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1" name="Text Placeholder 10"/>
          <p:cNvSpPr>
            <a:spLocks noGrp="1"/>
          </p:cNvSpPr>
          <p:nvPr>
            <p:ph type="body" sz="quarter" idx="13"/>
          </p:nvPr>
        </p:nvSpPr>
        <p:spPr>
          <a:xfrm>
            <a:off x="6324600" y="2676371"/>
            <a:ext cx="5410200" cy="372861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A5E7CE1-19EA-4A83-94D7-17AD03B77C4D}"/>
              </a:ext>
            </a:extLst>
          </p:cNvPr>
          <p:cNvSpPr>
            <a:spLocks noGrp="1"/>
          </p:cNvSpPr>
          <p:nvPr>
            <p:ph type="title"/>
          </p:nvPr>
        </p:nvSpPr>
        <p:spPr/>
        <p:txBody>
          <a:bodyPr/>
          <a:lstStyle/>
          <a:p>
            <a:r>
              <a:rPr lang="en-US"/>
              <a:t>Click to edit Master title style</a:t>
            </a:r>
          </a:p>
        </p:txBody>
      </p:sp>
      <p:sp>
        <p:nvSpPr>
          <p:cNvPr id="15" name="Text Placeholder 2">
            <a:extLst>
              <a:ext uri="{FF2B5EF4-FFF2-40B4-BE49-F238E27FC236}">
                <a16:creationId xmlns:a16="http://schemas.microsoft.com/office/drawing/2014/main" id="{0134B7F2-7E0C-4664-BBC7-22519AF4EB3B}"/>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8" name="Slide Number Placeholder 7">
            <a:extLst>
              <a:ext uri="{FF2B5EF4-FFF2-40B4-BE49-F238E27FC236}">
                <a16:creationId xmlns:a16="http://schemas.microsoft.com/office/drawing/2014/main" id="{0BFDE132-BF58-4753-BE90-C23BAB4A5A0E}"/>
              </a:ext>
            </a:extLst>
          </p:cNvPr>
          <p:cNvSpPr>
            <a:spLocks noGrp="1"/>
          </p:cNvSpPr>
          <p:nvPr>
            <p:ph type="sldNum" sz="quarter" idx="18"/>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40584287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Callout">
    <p:bg>
      <p:bgPr>
        <a:solidFill>
          <a:schemeClr val="bg1"/>
        </a:solidFill>
        <a:effectLst/>
      </p:bgPr>
    </p:bg>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C1D1E1C1-E558-49A5-83D5-F48735A17B94}"/>
              </a:ext>
            </a:extLst>
          </p:cNvPr>
          <p:cNvSpPr>
            <a:spLocks noGrp="1"/>
          </p:cNvSpPr>
          <p:nvPr>
            <p:ph sz="quarter" idx="19"/>
          </p:nvPr>
        </p:nvSpPr>
        <p:spPr>
          <a:xfrm>
            <a:off x="457200" y="1943099"/>
            <a:ext cx="5410200" cy="4457701"/>
          </a:xfrm>
          <a:noFill/>
        </p:spPr>
        <p:txBody>
          <a:bodyPr lIns="0" tIns="457200" rIns="457200" bIns="4572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a:extLst>
              <a:ext uri="{FF2B5EF4-FFF2-40B4-BE49-F238E27FC236}">
                <a16:creationId xmlns:a16="http://schemas.microsoft.com/office/drawing/2014/main" id="{9A0C2AC7-05BB-4C8B-85DD-EA42CB43B484}"/>
              </a:ext>
            </a:extLst>
          </p:cNvPr>
          <p:cNvSpPr>
            <a:spLocks noGrp="1"/>
          </p:cNvSpPr>
          <p:nvPr>
            <p:ph sz="quarter" idx="20"/>
          </p:nvPr>
        </p:nvSpPr>
        <p:spPr>
          <a:xfrm>
            <a:off x="6324600" y="1943099"/>
            <a:ext cx="5410200" cy="4457701"/>
          </a:xfrm>
          <a:solidFill>
            <a:schemeClr val="tx1"/>
          </a:solidFill>
        </p:spPr>
        <p:txBody>
          <a:bodyPr lIns="457200" tIns="457200" rIns="457200" bIns="457200"/>
          <a:lstStyle>
            <a:lvl1pPr>
              <a:defRPr sz="3200" b="0" spc="-30" baseline="0">
                <a:solidFill>
                  <a:schemeClr val="accent1"/>
                </a:solidFill>
                <a:latin typeface="+mj-lt"/>
              </a:defRPr>
            </a:lvl1pPr>
            <a:lvl2pPr>
              <a:spcBef>
                <a:spcPts val="1800"/>
              </a:spcBef>
              <a:defRPr b="1">
                <a:solidFill>
                  <a:schemeClr val="accent1"/>
                </a:solidFill>
              </a:defRPr>
            </a:lvl2pPr>
            <a:lvl3pPr marL="0" indent="0">
              <a:buFont typeface="CiscoSansTT ExtraLight" panose="020B0303020201020303" pitchFamily="34" charset="0"/>
              <a:buChar char="​"/>
              <a:defRPr>
                <a:solidFill>
                  <a:schemeClr val="bg1"/>
                </a:solidFill>
              </a:defRPr>
            </a:lvl3pPr>
            <a:lvl4pPr marL="228600" indent="-228600">
              <a:buFont typeface="Arial" panose="020B0604020202020204" pitchFamily="34" charset="0"/>
              <a:buChar cha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itle 1">
            <a:extLst>
              <a:ext uri="{FF2B5EF4-FFF2-40B4-BE49-F238E27FC236}">
                <a16:creationId xmlns:a16="http://schemas.microsoft.com/office/drawing/2014/main" id="{914D906C-16B7-4F74-AD03-4AF0FB468530}"/>
              </a:ext>
            </a:extLst>
          </p:cNvPr>
          <p:cNvSpPr>
            <a:spLocks noGrp="1"/>
          </p:cNvSpPr>
          <p:nvPr>
            <p:ph type="title"/>
          </p:nvPr>
        </p:nvSpPr>
        <p:spPr>
          <a:xfrm>
            <a:off x="457200" y="457200"/>
            <a:ext cx="10902950" cy="553998"/>
          </a:xfrm>
        </p:spPr>
        <p:txBody>
          <a:bodyPr/>
          <a:lstStyle>
            <a:lvl1pPr>
              <a:defRPr>
                <a:solidFill>
                  <a:schemeClr val="accent1"/>
                </a:solidFill>
              </a:defRPr>
            </a:lvl1pPr>
          </a:lstStyle>
          <a:p>
            <a:r>
              <a:rPr lang="en-US"/>
              <a:t>Click to edit Master title style</a:t>
            </a:r>
          </a:p>
        </p:txBody>
      </p:sp>
      <p:sp>
        <p:nvSpPr>
          <p:cNvPr id="16" name="Text Placeholder 2">
            <a:extLst>
              <a:ext uri="{FF2B5EF4-FFF2-40B4-BE49-F238E27FC236}">
                <a16:creationId xmlns:a16="http://schemas.microsoft.com/office/drawing/2014/main" id="{CA534328-4F75-4C9A-9E92-CED015DF2554}"/>
              </a:ext>
            </a:extLst>
          </p:cNvPr>
          <p:cNvSpPr>
            <a:spLocks noGrp="1"/>
          </p:cNvSpPr>
          <p:nvPr>
            <p:ph type="body" idx="16" hasCustomPrompt="1"/>
          </p:nvPr>
        </p:nvSpPr>
        <p:spPr>
          <a:xfrm>
            <a:off x="457201" y="1075836"/>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3" name="Slide Number Placeholder 2">
            <a:extLst>
              <a:ext uri="{FF2B5EF4-FFF2-40B4-BE49-F238E27FC236}">
                <a16:creationId xmlns:a16="http://schemas.microsoft.com/office/drawing/2014/main" id="{77DCD92F-3845-498D-A053-0BCA388DCA3B}"/>
              </a:ext>
            </a:extLst>
          </p:cNvPr>
          <p:cNvSpPr>
            <a:spLocks noGrp="1"/>
          </p:cNvSpPr>
          <p:nvPr>
            <p:ph type="sldNum" sz="quarter" idx="22"/>
          </p:nvPr>
        </p:nvSpPr>
        <p:spPr/>
        <p:txBody>
          <a:bodyPr/>
          <a:lstStyle/>
          <a:p>
            <a:fld id="{4C9EABC9-A6DF-4002-BA8F-FA0D4CABB02D}" type="slidenum">
              <a:rPr lang="en-US" smtClean="0"/>
              <a:pPr/>
              <a:t>‹#›</a:t>
            </a:fld>
            <a:endParaRPr lang="en-US"/>
          </a:p>
        </p:txBody>
      </p:sp>
    </p:spTree>
    <p:extLst>
      <p:ext uri="{BB962C8B-B14F-4D97-AF65-F5344CB8AC3E}">
        <p14:creationId xmlns:p14="http://schemas.microsoft.com/office/powerpoint/2010/main" val="19700614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hree Challenges">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457200" y="2676726"/>
            <a:ext cx="3465129" cy="3728258"/>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idx="1"/>
          </p:nvPr>
        </p:nvSpPr>
        <p:spPr>
          <a:xfrm>
            <a:off x="457201" y="1948097"/>
            <a:ext cx="3475086"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26" name="Straight Connector 25"/>
          <p:cNvCxnSpPr>
            <a:cxnSpLocks/>
          </p:cNvCxnSpPr>
          <p:nvPr/>
        </p:nvCxnSpPr>
        <p:spPr>
          <a:xfrm>
            <a:off x="457200" y="2359672"/>
            <a:ext cx="3465129"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35" name="Text Placeholder 2"/>
          <p:cNvSpPr>
            <a:spLocks noGrp="1"/>
          </p:cNvSpPr>
          <p:nvPr>
            <p:ph type="body" idx="12"/>
          </p:nvPr>
        </p:nvSpPr>
        <p:spPr>
          <a:xfrm>
            <a:off x="8259713" y="1948097"/>
            <a:ext cx="3475086"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36" name="Straight Connector 35"/>
          <p:cNvCxnSpPr>
            <a:cxnSpLocks/>
          </p:cNvCxnSpPr>
          <p:nvPr/>
        </p:nvCxnSpPr>
        <p:spPr>
          <a:xfrm>
            <a:off x="8259384" y="2359672"/>
            <a:ext cx="3465129"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1" name="Text Placeholder 10"/>
          <p:cNvSpPr>
            <a:spLocks noGrp="1"/>
          </p:cNvSpPr>
          <p:nvPr>
            <p:ph type="body" sz="quarter" idx="13"/>
          </p:nvPr>
        </p:nvSpPr>
        <p:spPr>
          <a:xfrm>
            <a:off x="8259384" y="2676726"/>
            <a:ext cx="3465129" cy="3728258"/>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A5E7CE1-19EA-4A83-94D7-17AD03B77C4D}"/>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FE083775-0A3A-4879-A268-DF03566E6ACD}"/>
              </a:ext>
            </a:extLst>
          </p:cNvPr>
          <p:cNvSpPr>
            <a:spLocks noGrp="1"/>
          </p:cNvSpPr>
          <p:nvPr>
            <p:ph type="body" idx="14"/>
          </p:nvPr>
        </p:nvSpPr>
        <p:spPr>
          <a:xfrm>
            <a:off x="4358457" y="1948097"/>
            <a:ext cx="3475086" cy="290849"/>
          </a:xfrm>
        </p:spPr>
        <p:txBody>
          <a:bodyPr wrap="square" anchor="b">
            <a:sp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08A5B7C-D666-43D4-8558-F7977E474F11}"/>
              </a:ext>
            </a:extLst>
          </p:cNvPr>
          <p:cNvCxnSpPr>
            <a:cxnSpLocks/>
          </p:cNvCxnSpPr>
          <p:nvPr/>
        </p:nvCxnSpPr>
        <p:spPr>
          <a:xfrm>
            <a:off x="4358128" y="2359672"/>
            <a:ext cx="3465129"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4" name="Text Placeholder 10">
            <a:extLst>
              <a:ext uri="{FF2B5EF4-FFF2-40B4-BE49-F238E27FC236}">
                <a16:creationId xmlns:a16="http://schemas.microsoft.com/office/drawing/2014/main" id="{C909603A-EC91-4B43-9B2F-844AA0C31405}"/>
              </a:ext>
            </a:extLst>
          </p:cNvPr>
          <p:cNvSpPr>
            <a:spLocks noGrp="1"/>
          </p:cNvSpPr>
          <p:nvPr>
            <p:ph type="body" sz="quarter" idx="15"/>
          </p:nvPr>
        </p:nvSpPr>
        <p:spPr>
          <a:xfrm>
            <a:off x="4358128" y="2676726"/>
            <a:ext cx="3465129" cy="3728258"/>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9C3D8A6-A8CC-41DF-AB9F-26ED4E75798E}"/>
              </a:ext>
            </a:extLst>
          </p:cNvPr>
          <p:cNvSpPr>
            <a:spLocks noGrp="1"/>
          </p:cNvSpPr>
          <p:nvPr>
            <p:ph type="body" idx="16"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4" name="Slide Number Placeholder 3">
            <a:extLst>
              <a:ext uri="{FF2B5EF4-FFF2-40B4-BE49-F238E27FC236}">
                <a16:creationId xmlns:a16="http://schemas.microsoft.com/office/drawing/2014/main" id="{71C39306-FE32-497A-96FC-135D35CF19DD}"/>
              </a:ext>
            </a:extLst>
          </p:cNvPr>
          <p:cNvSpPr>
            <a:spLocks noGrp="1"/>
          </p:cNvSpPr>
          <p:nvPr>
            <p:ph type="sldNum" sz="quarter" idx="18"/>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3898063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Four Challenges">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457201" y="2639463"/>
            <a:ext cx="2438399" cy="376133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idx="1"/>
          </p:nvPr>
        </p:nvSpPr>
        <p:spPr>
          <a:xfrm>
            <a:off x="457202" y="1943100"/>
            <a:ext cx="2438398" cy="249299"/>
          </a:xfrm>
        </p:spPr>
        <p:txBody>
          <a:bodyPr wrap="square" anchor="b">
            <a:sp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26" name="Straight Connector 25"/>
          <p:cNvCxnSpPr>
            <a:cxnSpLocks/>
          </p:cNvCxnSpPr>
          <p:nvPr/>
        </p:nvCxnSpPr>
        <p:spPr>
          <a:xfrm>
            <a:off x="457200" y="2313125"/>
            <a:ext cx="2438400"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35" name="Text Placeholder 2"/>
          <p:cNvSpPr>
            <a:spLocks noGrp="1"/>
          </p:cNvSpPr>
          <p:nvPr>
            <p:ph type="body" idx="12"/>
          </p:nvPr>
        </p:nvSpPr>
        <p:spPr>
          <a:xfrm>
            <a:off x="9254606" y="1943100"/>
            <a:ext cx="2483618" cy="249299"/>
          </a:xfrm>
        </p:spPr>
        <p:txBody>
          <a:bodyPr wrap="square" anchor="b">
            <a:sp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36" name="Straight Connector 35"/>
          <p:cNvCxnSpPr>
            <a:cxnSpLocks/>
          </p:cNvCxnSpPr>
          <p:nvPr/>
        </p:nvCxnSpPr>
        <p:spPr>
          <a:xfrm>
            <a:off x="9253657" y="2313125"/>
            <a:ext cx="2476501"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41" name="Text Placeholder 10"/>
          <p:cNvSpPr>
            <a:spLocks noGrp="1"/>
          </p:cNvSpPr>
          <p:nvPr>
            <p:ph type="body" sz="quarter" idx="13"/>
          </p:nvPr>
        </p:nvSpPr>
        <p:spPr>
          <a:xfrm>
            <a:off x="9258299" y="2639463"/>
            <a:ext cx="2476501" cy="376133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A5E7CE1-19EA-4A83-94D7-17AD03B77C4D}"/>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FE083775-0A3A-4879-A268-DF03566E6ACD}"/>
              </a:ext>
            </a:extLst>
          </p:cNvPr>
          <p:cNvSpPr>
            <a:spLocks noGrp="1"/>
          </p:cNvSpPr>
          <p:nvPr>
            <p:ph type="body" idx="14"/>
          </p:nvPr>
        </p:nvSpPr>
        <p:spPr>
          <a:xfrm>
            <a:off x="3391689" y="1943100"/>
            <a:ext cx="2483616" cy="249299"/>
          </a:xfrm>
        </p:spPr>
        <p:txBody>
          <a:bodyPr wrap="square" anchor="b">
            <a:sp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08A5B7C-D666-43D4-8558-F7977E474F11}"/>
              </a:ext>
            </a:extLst>
          </p:cNvPr>
          <p:cNvCxnSpPr>
            <a:cxnSpLocks/>
          </p:cNvCxnSpPr>
          <p:nvPr/>
        </p:nvCxnSpPr>
        <p:spPr>
          <a:xfrm>
            <a:off x="3390899" y="2313125"/>
            <a:ext cx="2476499"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4" name="Text Placeholder 10">
            <a:extLst>
              <a:ext uri="{FF2B5EF4-FFF2-40B4-BE49-F238E27FC236}">
                <a16:creationId xmlns:a16="http://schemas.microsoft.com/office/drawing/2014/main" id="{C909603A-EC91-4B43-9B2F-844AA0C31405}"/>
              </a:ext>
            </a:extLst>
          </p:cNvPr>
          <p:cNvSpPr>
            <a:spLocks noGrp="1"/>
          </p:cNvSpPr>
          <p:nvPr>
            <p:ph type="body" sz="quarter" idx="15"/>
          </p:nvPr>
        </p:nvSpPr>
        <p:spPr>
          <a:xfrm>
            <a:off x="3390900" y="2639463"/>
            <a:ext cx="2476500" cy="376133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D4C5B1B0-5280-4DB8-B6E9-35A3E6D58420}"/>
              </a:ext>
            </a:extLst>
          </p:cNvPr>
          <p:cNvSpPr>
            <a:spLocks noGrp="1"/>
          </p:cNvSpPr>
          <p:nvPr>
            <p:ph type="body" idx="16"/>
          </p:nvPr>
        </p:nvSpPr>
        <p:spPr>
          <a:xfrm>
            <a:off x="6325381" y="1943100"/>
            <a:ext cx="2475717" cy="249299"/>
          </a:xfrm>
        </p:spPr>
        <p:txBody>
          <a:bodyPr wrap="square" anchor="b">
            <a:sp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6" name="Straight Connector 15">
            <a:extLst>
              <a:ext uri="{FF2B5EF4-FFF2-40B4-BE49-F238E27FC236}">
                <a16:creationId xmlns:a16="http://schemas.microsoft.com/office/drawing/2014/main" id="{A21EDC78-E465-4EAC-A0C0-EBCF9F668752}"/>
              </a:ext>
            </a:extLst>
          </p:cNvPr>
          <p:cNvCxnSpPr>
            <a:cxnSpLocks/>
          </p:cNvCxnSpPr>
          <p:nvPr/>
        </p:nvCxnSpPr>
        <p:spPr>
          <a:xfrm>
            <a:off x="6324600" y="2313125"/>
            <a:ext cx="2476500" cy="0"/>
          </a:xfrm>
          <a:prstGeom prst="line">
            <a:avLst/>
          </a:pr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7" name="Text Placeholder 10">
            <a:extLst>
              <a:ext uri="{FF2B5EF4-FFF2-40B4-BE49-F238E27FC236}">
                <a16:creationId xmlns:a16="http://schemas.microsoft.com/office/drawing/2014/main" id="{2BF88E6E-0AE1-4438-80D5-02391AE58312}"/>
              </a:ext>
            </a:extLst>
          </p:cNvPr>
          <p:cNvSpPr>
            <a:spLocks noGrp="1"/>
          </p:cNvSpPr>
          <p:nvPr>
            <p:ph type="body" sz="quarter" idx="17"/>
          </p:nvPr>
        </p:nvSpPr>
        <p:spPr>
          <a:xfrm>
            <a:off x="6324600" y="2639463"/>
            <a:ext cx="2476500" cy="3761336"/>
          </a:xfrm>
        </p:spPr>
        <p:txBody>
          <a:bodyPr/>
          <a:lstStyle>
            <a:lvl1pPr>
              <a:defRPr sz="1400" b="0"/>
            </a:lvl1pPr>
            <a:lvl2pPr marL="117475" indent="-117475">
              <a:lnSpc>
                <a:spcPct val="90000"/>
              </a:lnSpc>
              <a:spcBef>
                <a:spcPts val="600"/>
              </a:spcBef>
              <a:spcAft>
                <a:spcPts val="200"/>
              </a:spcAft>
              <a:buFont typeface="Arial" panose="020B0604020202020204" pitchFamily="34" charset="0"/>
              <a:buChar char="•"/>
              <a:defRPr sz="1400" spc="0"/>
            </a:lvl2pPr>
            <a:lvl3pPr marL="284163" indent="-111125">
              <a:lnSpc>
                <a:spcPct val="90000"/>
              </a:lnSpc>
              <a:spcBef>
                <a:spcPts val="600"/>
              </a:spcBef>
              <a:spcAft>
                <a:spcPts val="200"/>
              </a:spcAft>
              <a:buFont typeface="Century Gothic" panose="020B0502020202020204" pitchFamily="34" charset="0"/>
              <a:buChar char="–"/>
              <a:defRPr sz="1400" spc="0"/>
            </a:lvl3pPr>
            <a:lvl4pPr marL="401638" indent="-117475">
              <a:lnSpc>
                <a:spcPct val="90000"/>
              </a:lnSpc>
              <a:spcBef>
                <a:spcPts val="600"/>
              </a:spcBef>
              <a:spcAft>
                <a:spcPts val="200"/>
              </a:spcAft>
              <a:buFont typeface="Arial" panose="020B0604020202020204" pitchFamily="34" charset="0"/>
              <a:buChar char="•"/>
              <a:defRPr sz="1400" b="0" spc="0">
                <a:solidFill>
                  <a:schemeClr val="bg2">
                    <a:lumMod val="75000"/>
                  </a:schemeClr>
                </a:solidFill>
              </a:defRPr>
            </a:lvl4pPr>
            <a:lvl5pPr marL="0" indent="0">
              <a:lnSpc>
                <a:spcPct val="90000"/>
              </a:lnSpc>
              <a:spcBef>
                <a:spcPts val="1200"/>
              </a:spcBef>
              <a:spcAft>
                <a:spcPts val="200"/>
              </a:spcAft>
              <a:buFont typeface="Arial" panose="020B0604020202020204" pitchFamily="34" charset="0"/>
              <a:buChar char="​"/>
              <a:defRPr sz="1400" b="1" spc="0">
                <a:solidFill>
                  <a:schemeClr val="accent1"/>
                </a:solidFill>
              </a:defRPr>
            </a:lvl5pPr>
            <a:lvl6pPr marL="0" indent="0">
              <a:lnSpc>
                <a:spcPct val="90000"/>
              </a:lnSpc>
              <a:spcBef>
                <a:spcPts val="0"/>
              </a:spcBef>
              <a:spcAft>
                <a:spcPts val="200"/>
              </a:spcAft>
              <a:buFont typeface="Arial" panose="020B0604020202020204" pitchFamily="34" charset="0"/>
              <a:buChar char="​"/>
              <a:defRPr sz="1200" b="0" spc="0">
                <a:solidFill>
                  <a:schemeClr val="bg2">
                    <a:lumMod val="75000"/>
                  </a:schemeClr>
                </a:solidFill>
              </a:defRPr>
            </a:lvl6pPr>
            <a:lvl7pPr marL="0" indent="0">
              <a:lnSpc>
                <a:spcPct val="110000"/>
              </a:lnSpc>
              <a:spcBef>
                <a:spcPts val="600"/>
              </a:spcBef>
              <a:spcAft>
                <a:spcPts val="200"/>
              </a:spcAft>
              <a:buFont typeface="Arial" panose="020B0604020202020204" pitchFamily="34" charset="0"/>
              <a:buChar char="​"/>
              <a:defRPr sz="1400" spc="0"/>
            </a:lvl7pPr>
            <a:lvl8pPr marL="117475" indent="-117475">
              <a:lnSpc>
                <a:spcPct val="90000"/>
              </a:lnSpc>
              <a:spcBef>
                <a:spcPts val="600"/>
              </a:spcBef>
              <a:spcAft>
                <a:spcPts val="200"/>
              </a:spcAft>
              <a:buFont typeface="Arial" panose="020B0604020202020204" pitchFamily="34" charset="0"/>
              <a:buChar char="•"/>
              <a:defRPr sz="1400" spc="0"/>
            </a:lvl8pPr>
            <a:lvl9pPr marL="0" indent="0">
              <a:lnSpc>
                <a:spcPct val="90000"/>
              </a:lnSpc>
              <a:spcBef>
                <a:spcPts val="600"/>
              </a:spcBef>
              <a:spcAft>
                <a:spcPts val="200"/>
              </a:spcAft>
              <a:buFont typeface="CiscoSansTT ExtraLight" panose="020B0303020201020303" pitchFamily="34" charset="0"/>
              <a:buChar char="​"/>
              <a:defRPr sz="1400" b="1" spc="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
            <a:extLst>
              <a:ext uri="{FF2B5EF4-FFF2-40B4-BE49-F238E27FC236}">
                <a16:creationId xmlns:a16="http://schemas.microsoft.com/office/drawing/2014/main" id="{C9108F82-6402-47EF-9639-8427F4F32267}"/>
              </a:ext>
            </a:extLst>
          </p:cNvPr>
          <p:cNvSpPr>
            <a:spLocks noGrp="1"/>
          </p:cNvSpPr>
          <p:nvPr>
            <p:ph type="body" idx="18" hasCustomPrompt="1"/>
          </p:nvPr>
        </p:nvSpPr>
        <p:spPr>
          <a:xfrm>
            <a:off x="457201" y="1073873"/>
            <a:ext cx="11277599" cy="276999"/>
          </a:xfrm>
        </p:spPr>
        <p:txBody>
          <a:bodyPr wrap="square" anchor="t">
            <a:spAutoFit/>
          </a:bodyPr>
          <a:lstStyle>
            <a:lvl1pPr marL="0" indent="0">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styles text</a:t>
            </a:r>
          </a:p>
        </p:txBody>
      </p:sp>
      <p:sp>
        <p:nvSpPr>
          <p:cNvPr id="25" name="Slide Number Placeholder 24">
            <a:extLst>
              <a:ext uri="{FF2B5EF4-FFF2-40B4-BE49-F238E27FC236}">
                <a16:creationId xmlns:a16="http://schemas.microsoft.com/office/drawing/2014/main" id="{7FF01208-54B9-48E9-B465-1DBE39BF7122}"/>
              </a:ext>
            </a:extLst>
          </p:cNvPr>
          <p:cNvSpPr>
            <a:spLocks noGrp="1"/>
          </p:cNvSpPr>
          <p:nvPr>
            <p:ph type="sldNum" sz="quarter" idx="20"/>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11476618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Case Study - Animated">
    <p:spTree>
      <p:nvGrpSpPr>
        <p:cNvPr id="1" name=""/>
        <p:cNvGrpSpPr/>
        <p:nvPr/>
      </p:nvGrpSpPr>
      <p:grpSpPr>
        <a:xfrm>
          <a:off x="0" y="0"/>
          <a:ext cx="0" cy="0"/>
          <a:chOff x="0" y="0"/>
          <a:chExt cx="0" cy="0"/>
        </a:xfrm>
      </p:grpSpPr>
      <p:grpSp>
        <p:nvGrpSpPr>
          <p:cNvPr id="41" name="Group 40" hidden="1"/>
          <p:cNvGrpSpPr/>
          <p:nvPr/>
        </p:nvGrpSpPr>
        <p:grpSpPr>
          <a:xfrm>
            <a:off x="1588" y="-9173"/>
            <a:ext cx="12188825" cy="6876064"/>
            <a:chOff x="1588" y="-9173"/>
            <a:chExt cx="12188825" cy="6876064"/>
          </a:xfrm>
        </p:grpSpPr>
        <p:pic>
          <p:nvPicPr>
            <p:cNvPr id="42" name="Content Placeholder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88" y="0"/>
              <a:ext cx="12188825" cy="6858000"/>
            </a:xfrm>
            <a:prstGeom prst="rect">
              <a:avLst/>
            </a:prstGeom>
          </p:spPr>
        </p:pic>
        <p:grpSp>
          <p:nvGrpSpPr>
            <p:cNvPr id="43" name="Group 42"/>
            <p:cNvGrpSpPr/>
            <p:nvPr/>
          </p:nvGrpSpPr>
          <p:grpSpPr>
            <a:xfrm>
              <a:off x="1588" y="-9173"/>
              <a:ext cx="12188825" cy="6876064"/>
              <a:chOff x="1588" y="-9173"/>
              <a:chExt cx="12188825" cy="6876064"/>
            </a:xfrm>
          </p:grpSpPr>
          <p:grpSp>
            <p:nvGrpSpPr>
              <p:cNvPr id="44" name="Group 43"/>
              <p:cNvGrpSpPr/>
              <p:nvPr/>
            </p:nvGrpSpPr>
            <p:grpSpPr>
              <a:xfrm>
                <a:off x="1588" y="-9173"/>
                <a:ext cx="12188825" cy="6876064"/>
                <a:chOff x="1588" y="-9173"/>
                <a:chExt cx="12188825" cy="6876064"/>
              </a:xfrm>
            </p:grpSpPr>
            <p:cxnSp>
              <p:nvCxnSpPr>
                <p:cNvPr id="58" name="Straight Connector 57"/>
                <p:cNvCxnSpPr/>
                <p:nvPr/>
              </p:nvCxnSpPr>
              <p:spPr>
                <a:xfrm>
                  <a:off x="1588" y="1365843"/>
                  <a:ext cx="12188825" cy="0"/>
                </a:xfrm>
                <a:prstGeom prst="line">
                  <a:avLst/>
                </a:prstGeom>
                <a:noFill/>
                <a:ln w="3175" cap="rnd" cmpd="sng" algn="ctr">
                  <a:solidFill>
                    <a:srgbClr val="C6007E">
                      <a:alpha val="30000"/>
                    </a:srgbClr>
                  </a:solidFill>
                  <a:prstDash val="sysDash"/>
                  <a:round/>
                </a:ln>
                <a:effectLst/>
              </p:spPr>
            </p:cxnSp>
            <p:cxnSp>
              <p:nvCxnSpPr>
                <p:cNvPr id="59" name="Straight Connector 58"/>
                <p:cNvCxnSpPr/>
                <p:nvPr/>
              </p:nvCxnSpPr>
              <p:spPr>
                <a:xfrm>
                  <a:off x="1588" y="1709597"/>
                  <a:ext cx="12188825" cy="0"/>
                </a:xfrm>
                <a:prstGeom prst="line">
                  <a:avLst/>
                </a:prstGeom>
                <a:noFill/>
                <a:ln w="3175" cap="rnd" cmpd="sng" algn="ctr">
                  <a:solidFill>
                    <a:srgbClr val="C6007E">
                      <a:alpha val="30000"/>
                    </a:srgbClr>
                  </a:solidFill>
                  <a:prstDash val="sysDash"/>
                  <a:round/>
                </a:ln>
                <a:effectLst/>
              </p:spPr>
            </p:cxnSp>
            <p:cxnSp>
              <p:nvCxnSpPr>
                <p:cNvPr id="60" name="Straight Connector 59"/>
                <p:cNvCxnSpPr/>
                <p:nvPr/>
              </p:nvCxnSpPr>
              <p:spPr>
                <a:xfrm>
                  <a:off x="1588" y="1022089"/>
                  <a:ext cx="12188825" cy="0"/>
                </a:xfrm>
                <a:prstGeom prst="line">
                  <a:avLst/>
                </a:prstGeom>
                <a:noFill/>
                <a:ln w="3175" cap="rnd" cmpd="sng" algn="ctr">
                  <a:solidFill>
                    <a:srgbClr val="C6007E">
                      <a:alpha val="30000"/>
                    </a:srgbClr>
                  </a:solidFill>
                  <a:prstDash val="sysDash"/>
                  <a:round/>
                </a:ln>
                <a:effectLst/>
              </p:spPr>
            </p:cxnSp>
            <p:cxnSp>
              <p:nvCxnSpPr>
                <p:cNvPr id="61" name="Straight Connector 60"/>
                <p:cNvCxnSpPr/>
                <p:nvPr/>
              </p:nvCxnSpPr>
              <p:spPr>
                <a:xfrm>
                  <a:off x="1588" y="678335"/>
                  <a:ext cx="12188825" cy="0"/>
                </a:xfrm>
                <a:prstGeom prst="line">
                  <a:avLst/>
                </a:prstGeom>
                <a:noFill/>
                <a:ln w="3175" cap="rnd" cmpd="sng" algn="ctr">
                  <a:solidFill>
                    <a:srgbClr val="C6007E">
                      <a:alpha val="30000"/>
                    </a:srgbClr>
                  </a:solidFill>
                  <a:prstDash val="sysDash"/>
                  <a:round/>
                </a:ln>
                <a:effectLst/>
              </p:spPr>
            </p:cxnSp>
            <p:cxnSp>
              <p:nvCxnSpPr>
                <p:cNvPr id="62" name="Straight Connector 61"/>
                <p:cNvCxnSpPr/>
                <p:nvPr/>
              </p:nvCxnSpPr>
              <p:spPr>
                <a:xfrm>
                  <a:off x="1588" y="334581"/>
                  <a:ext cx="12188825" cy="0"/>
                </a:xfrm>
                <a:prstGeom prst="line">
                  <a:avLst/>
                </a:prstGeom>
                <a:noFill/>
                <a:ln w="3175" cap="rnd" cmpd="sng" algn="ctr">
                  <a:solidFill>
                    <a:srgbClr val="C6007E">
                      <a:alpha val="30000"/>
                    </a:srgbClr>
                  </a:solidFill>
                  <a:prstDash val="sysDash"/>
                  <a:round/>
                </a:ln>
                <a:effectLst/>
              </p:spPr>
            </p:cxnSp>
            <p:cxnSp>
              <p:nvCxnSpPr>
                <p:cNvPr id="63" name="Straight Connector 62"/>
                <p:cNvCxnSpPr/>
                <p:nvPr/>
              </p:nvCxnSpPr>
              <p:spPr>
                <a:xfrm>
                  <a:off x="1588" y="-9173"/>
                  <a:ext cx="12188825" cy="0"/>
                </a:xfrm>
                <a:prstGeom prst="line">
                  <a:avLst/>
                </a:prstGeom>
                <a:noFill/>
                <a:ln w="3175" cap="rnd" cmpd="sng" algn="ctr">
                  <a:solidFill>
                    <a:srgbClr val="C6007E">
                      <a:alpha val="30000"/>
                    </a:srgbClr>
                  </a:solidFill>
                  <a:prstDash val="sysDash"/>
                  <a:round/>
                </a:ln>
                <a:effectLst/>
              </p:spPr>
            </p:cxnSp>
            <p:cxnSp>
              <p:nvCxnSpPr>
                <p:cNvPr id="64" name="Straight Connector 63"/>
                <p:cNvCxnSpPr/>
                <p:nvPr/>
              </p:nvCxnSpPr>
              <p:spPr>
                <a:xfrm>
                  <a:off x="1588" y="3084613"/>
                  <a:ext cx="12188825" cy="0"/>
                </a:xfrm>
                <a:prstGeom prst="line">
                  <a:avLst/>
                </a:prstGeom>
                <a:noFill/>
                <a:ln w="3175" cap="rnd" cmpd="sng" algn="ctr">
                  <a:solidFill>
                    <a:srgbClr val="C6007E">
                      <a:alpha val="30000"/>
                    </a:srgbClr>
                  </a:solidFill>
                  <a:prstDash val="sysDash"/>
                  <a:round/>
                </a:ln>
                <a:effectLst/>
              </p:spPr>
            </p:cxnSp>
            <p:cxnSp>
              <p:nvCxnSpPr>
                <p:cNvPr id="65" name="Straight Connector 64"/>
                <p:cNvCxnSpPr/>
                <p:nvPr/>
              </p:nvCxnSpPr>
              <p:spPr>
                <a:xfrm>
                  <a:off x="1588" y="3428366"/>
                  <a:ext cx="12188825" cy="0"/>
                </a:xfrm>
                <a:prstGeom prst="line">
                  <a:avLst/>
                </a:prstGeom>
                <a:noFill/>
                <a:ln w="3175" cap="rnd" cmpd="sng" algn="ctr">
                  <a:solidFill>
                    <a:srgbClr val="C6007E">
                      <a:alpha val="30000"/>
                    </a:srgbClr>
                  </a:solidFill>
                  <a:prstDash val="sysDash"/>
                  <a:round/>
                </a:ln>
                <a:effectLst/>
              </p:spPr>
            </p:cxnSp>
            <p:cxnSp>
              <p:nvCxnSpPr>
                <p:cNvPr id="66" name="Straight Connector 65"/>
                <p:cNvCxnSpPr/>
                <p:nvPr/>
              </p:nvCxnSpPr>
              <p:spPr>
                <a:xfrm>
                  <a:off x="1588" y="2740859"/>
                  <a:ext cx="12188825" cy="0"/>
                </a:xfrm>
                <a:prstGeom prst="line">
                  <a:avLst/>
                </a:prstGeom>
                <a:noFill/>
                <a:ln w="3175" cap="rnd" cmpd="sng" algn="ctr">
                  <a:solidFill>
                    <a:srgbClr val="C6007E">
                      <a:alpha val="30000"/>
                    </a:srgbClr>
                  </a:solidFill>
                  <a:prstDash val="sysDash"/>
                  <a:round/>
                </a:ln>
                <a:effectLst/>
              </p:spPr>
            </p:cxnSp>
            <p:cxnSp>
              <p:nvCxnSpPr>
                <p:cNvPr id="67" name="Straight Connector 66"/>
                <p:cNvCxnSpPr/>
                <p:nvPr/>
              </p:nvCxnSpPr>
              <p:spPr>
                <a:xfrm>
                  <a:off x="1588" y="2397105"/>
                  <a:ext cx="12188825" cy="0"/>
                </a:xfrm>
                <a:prstGeom prst="line">
                  <a:avLst/>
                </a:prstGeom>
                <a:noFill/>
                <a:ln w="3175" cap="rnd" cmpd="sng" algn="ctr">
                  <a:solidFill>
                    <a:srgbClr val="C6007E">
                      <a:alpha val="30000"/>
                    </a:srgbClr>
                  </a:solidFill>
                  <a:prstDash val="sysDash"/>
                  <a:round/>
                </a:ln>
                <a:effectLst/>
              </p:spPr>
            </p:cxnSp>
            <p:cxnSp>
              <p:nvCxnSpPr>
                <p:cNvPr id="68" name="Straight Connector 67"/>
                <p:cNvCxnSpPr/>
                <p:nvPr/>
              </p:nvCxnSpPr>
              <p:spPr>
                <a:xfrm>
                  <a:off x="1588" y="2053351"/>
                  <a:ext cx="12188825" cy="0"/>
                </a:xfrm>
                <a:prstGeom prst="line">
                  <a:avLst/>
                </a:prstGeom>
                <a:noFill/>
                <a:ln w="3175" cap="rnd" cmpd="sng" algn="ctr">
                  <a:solidFill>
                    <a:srgbClr val="C6007E">
                      <a:alpha val="30000"/>
                    </a:srgbClr>
                  </a:solidFill>
                  <a:prstDash val="sysDash"/>
                  <a:round/>
                </a:ln>
                <a:effectLst/>
              </p:spPr>
            </p:cxnSp>
            <p:cxnSp>
              <p:nvCxnSpPr>
                <p:cNvPr id="69" name="Straight Connector 68"/>
                <p:cNvCxnSpPr/>
                <p:nvPr/>
              </p:nvCxnSpPr>
              <p:spPr>
                <a:xfrm>
                  <a:off x="1588" y="4804368"/>
                  <a:ext cx="12188825" cy="0"/>
                </a:xfrm>
                <a:prstGeom prst="line">
                  <a:avLst/>
                </a:prstGeom>
                <a:noFill/>
                <a:ln w="3175" cap="rnd" cmpd="sng" algn="ctr">
                  <a:solidFill>
                    <a:srgbClr val="C6007E">
                      <a:alpha val="30000"/>
                    </a:srgbClr>
                  </a:solidFill>
                  <a:prstDash val="sysDash"/>
                  <a:round/>
                </a:ln>
                <a:effectLst/>
              </p:spPr>
            </p:cxnSp>
            <p:cxnSp>
              <p:nvCxnSpPr>
                <p:cNvPr id="70" name="Straight Connector 69"/>
                <p:cNvCxnSpPr/>
                <p:nvPr/>
              </p:nvCxnSpPr>
              <p:spPr>
                <a:xfrm>
                  <a:off x="1588" y="5148122"/>
                  <a:ext cx="12188825" cy="0"/>
                </a:xfrm>
                <a:prstGeom prst="line">
                  <a:avLst/>
                </a:prstGeom>
                <a:noFill/>
                <a:ln w="3175" cap="rnd" cmpd="sng" algn="ctr">
                  <a:solidFill>
                    <a:srgbClr val="C6007E">
                      <a:alpha val="30000"/>
                    </a:srgbClr>
                  </a:solidFill>
                  <a:prstDash val="sysDash"/>
                  <a:round/>
                </a:ln>
                <a:effectLst/>
              </p:spPr>
            </p:cxnSp>
            <p:cxnSp>
              <p:nvCxnSpPr>
                <p:cNvPr id="71" name="Straight Connector 70"/>
                <p:cNvCxnSpPr/>
                <p:nvPr/>
              </p:nvCxnSpPr>
              <p:spPr>
                <a:xfrm>
                  <a:off x="1588" y="4460614"/>
                  <a:ext cx="12188825" cy="0"/>
                </a:xfrm>
                <a:prstGeom prst="line">
                  <a:avLst/>
                </a:prstGeom>
                <a:noFill/>
                <a:ln w="3175" cap="rnd" cmpd="sng" algn="ctr">
                  <a:solidFill>
                    <a:srgbClr val="C6007E">
                      <a:alpha val="30000"/>
                    </a:srgbClr>
                  </a:solidFill>
                  <a:prstDash val="sysDash"/>
                  <a:round/>
                </a:ln>
                <a:effectLst/>
              </p:spPr>
            </p:cxnSp>
            <p:cxnSp>
              <p:nvCxnSpPr>
                <p:cNvPr id="72" name="Straight Connector 71"/>
                <p:cNvCxnSpPr/>
                <p:nvPr/>
              </p:nvCxnSpPr>
              <p:spPr>
                <a:xfrm>
                  <a:off x="1588" y="4116860"/>
                  <a:ext cx="12188825" cy="0"/>
                </a:xfrm>
                <a:prstGeom prst="line">
                  <a:avLst/>
                </a:prstGeom>
                <a:noFill/>
                <a:ln w="3175" cap="rnd" cmpd="sng" algn="ctr">
                  <a:solidFill>
                    <a:srgbClr val="C6007E">
                      <a:alpha val="30000"/>
                    </a:srgbClr>
                  </a:solidFill>
                  <a:prstDash val="sysDash"/>
                  <a:round/>
                </a:ln>
                <a:effectLst/>
              </p:spPr>
            </p:cxnSp>
            <p:cxnSp>
              <p:nvCxnSpPr>
                <p:cNvPr id="73" name="Straight Connector 72"/>
                <p:cNvCxnSpPr/>
                <p:nvPr/>
              </p:nvCxnSpPr>
              <p:spPr>
                <a:xfrm>
                  <a:off x="1588" y="3773106"/>
                  <a:ext cx="12188825" cy="0"/>
                </a:xfrm>
                <a:prstGeom prst="line">
                  <a:avLst/>
                </a:prstGeom>
                <a:noFill/>
                <a:ln w="3175" cap="rnd" cmpd="sng" algn="ctr">
                  <a:solidFill>
                    <a:srgbClr val="C6007E">
                      <a:alpha val="30000"/>
                    </a:srgbClr>
                  </a:solidFill>
                  <a:prstDash val="sysDash"/>
                  <a:round/>
                </a:ln>
                <a:effectLst/>
              </p:spPr>
            </p:cxnSp>
            <p:cxnSp>
              <p:nvCxnSpPr>
                <p:cNvPr id="74" name="Straight Connector 73"/>
                <p:cNvCxnSpPr/>
                <p:nvPr/>
              </p:nvCxnSpPr>
              <p:spPr>
                <a:xfrm>
                  <a:off x="1588" y="6523138"/>
                  <a:ext cx="12188825" cy="0"/>
                </a:xfrm>
                <a:prstGeom prst="line">
                  <a:avLst/>
                </a:prstGeom>
                <a:noFill/>
                <a:ln w="3175" cap="rnd" cmpd="sng" algn="ctr">
                  <a:solidFill>
                    <a:srgbClr val="C6007E">
                      <a:alpha val="30000"/>
                    </a:srgbClr>
                  </a:solidFill>
                  <a:prstDash val="sysDash"/>
                  <a:round/>
                </a:ln>
                <a:effectLst/>
              </p:spPr>
            </p:cxnSp>
            <p:cxnSp>
              <p:nvCxnSpPr>
                <p:cNvPr id="75" name="Straight Connector 74"/>
                <p:cNvCxnSpPr/>
                <p:nvPr/>
              </p:nvCxnSpPr>
              <p:spPr>
                <a:xfrm>
                  <a:off x="1588" y="6866891"/>
                  <a:ext cx="12188825" cy="0"/>
                </a:xfrm>
                <a:prstGeom prst="line">
                  <a:avLst/>
                </a:prstGeom>
                <a:noFill/>
                <a:ln w="3175" cap="rnd" cmpd="sng" algn="ctr">
                  <a:solidFill>
                    <a:srgbClr val="C6007E">
                      <a:alpha val="30000"/>
                    </a:srgbClr>
                  </a:solidFill>
                  <a:prstDash val="sysDash"/>
                  <a:round/>
                </a:ln>
                <a:effectLst/>
              </p:spPr>
            </p:cxnSp>
            <p:cxnSp>
              <p:nvCxnSpPr>
                <p:cNvPr id="76" name="Straight Connector 75"/>
                <p:cNvCxnSpPr/>
                <p:nvPr/>
              </p:nvCxnSpPr>
              <p:spPr>
                <a:xfrm>
                  <a:off x="1588" y="6179384"/>
                  <a:ext cx="12188825" cy="0"/>
                </a:xfrm>
                <a:prstGeom prst="line">
                  <a:avLst/>
                </a:prstGeom>
                <a:noFill/>
                <a:ln w="3175" cap="rnd" cmpd="sng" algn="ctr">
                  <a:solidFill>
                    <a:srgbClr val="C6007E">
                      <a:alpha val="30000"/>
                    </a:srgbClr>
                  </a:solidFill>
                  <a:prstDash val="sysDash"/>
                  <a:round/>
                </a:ln>
                <a:effectLst/>
              </p:spPr>
            </p:cxnSp>
            <p:cxnSp>
              <p:nvCxnSpPr>
                <p:cNvPr id="77" name="Straight Connector 76"/>
                <p:cNvCxnSpPr/>
                <p:nvPr/>
              </p:nvCxnSpPr>
              <p:spPr>
                <a:xfrm>
                  <a:off x="1588" y="5835630"/>
                  <a:ext cx="12188825" cy="0"/>
                </a:xfrm>
                <a:prstGeom prst="line">
                  <a:avLst/>
                </a:prstGeom>
                <a:noFill/>
                <a:ln w="3175" cap="rnd" cmpd="sng" algn="ctr">
                  <a:solidFill>
                    <a:srgbClr val="C6007E">
                      <a:alpha val="30000"/>
                    </a:srgbClr>
                  </a:solidFill>
                  <a:prstDash val="sysDash"/>
                  <a:round/>
                </a:ln>
                <a:effectLst/>
              </p:spPr>
            </p:cxnSp>
            <p:cxnSp>
              <p:nvCxnSpPr>
                <p:cNvPr id="78" name="Straight Connector 77"/>
                <p:cNvCxnSpPr/>
                <p:nvPr/>
              </p:nvCxnSpPr>
              <p:spPr>
                <a:xfrm>
                  <a:off x="1588" y="5491876"/>
                  <a:ext cx="12188825" cy="0"/>
                </a:xfrm>
                <a:prstGeom prst="line">
                  <a:avLst/>
                </a:prstGeom>
                <a:noFill/>
                <a:ln w="3175" cap="rnd" cmpd="sng" algn="ctr">
                  <a:solidFill>
                    <a:srgbClr val="C6007E">
                      <a:alpha val="30000"/>
                    </a:srgbClr>
                  </a:solidFill>
                  <a:prstDash val="sysDash"/>
                  <a:round/>
                </a:ln>
                <a:effectLst/>
              </p:spPr>
            </p:cxnSp>
          </p:grpSp>
          <p:grpSp>
            <p:nvGrpSpPr>
              <p:cNvPr id="45" name="Group 44"/>
              <p:cNvGrpSpPr/>
              <p:nvPr/>
            </p:nvGrpSpPr>
            <p:grpSpPr>
              <a:xfrm>
                <a:off x="850106" y="0"/>
                <a:ext cx="10472738" cy="6858000"/>
                <a:chOff x="850106" y="0"/>
                <a:chExt cx="10472738" cy="6858000"/>
              </a:xfrm>
            </p:grpSpPr>
            <p:cxnSp>
              <p:nvCxnSpPr>
                <p:cNvPr id="46" name="Straight Connector 45"/>
                <p:cNvCxnSpPr/>
                <p:nvPr/>
              </p:nvCxnSpPr>
              <p:spPr>
                <a:xfrm>
                  <a:off x="850106" y="0"/>
                  <a:ext cx="0" cy="6858000"/>
                </a:xfrm>
                <a:prstGeom prst="line">
                  <a:avLst/>
                </a:prstGeom>
                <a:noFill/>
                <a:ln w="3175" cap="rnd" cmpd="sng" algn="ctr">
                  <a:solidFill>
                    <a:srgbClr val="C6007E">
                      <a:alpha val="30000"/>
                    </a:srgbClr>
                  </a:solidFill>
                  <a:prstDash val="sysDash"/>
                  <a:round/>
                </a:ln>
                <a:effectLst/>
              </p:spPr>
            </p:cxnSp>
            <p:cxnSp>
              <p:nvCxnSpPr>
                <p:cNvPr id="47" name="Straight Connector 46"/>
                <p:cNvCxnSpPr/>
                <p:nvPr/>
              </p:nvCxnSpPr>
              <p:spPr>
                <a:xfrm>
                  <a:off x="11322844" y="0"/>
                  <a:ext cx="0" cy="6858000"/>
                </a:xfrm>
                <a:prstGeom prst="line">
                  <a:avLst/>
                </a:prstGeom>
                <a:noFill/>
                <a:ln w="3175" cap="rnd" cmpd="sng" algn="ctr">
                  <a:solidFill>
                    <a:srgbClr val="C6007E">
                      <a:alpha val="30000"/>
                    </a:srgbClr>
                  </a:solidFill>
                  <a:prstDash val="sysDash"/>
                  <a:round/>
                </a:ln>
                <a:effectLst/>
              </p:spPr>
            </p:cxnSp>
            <p:cxnSp>
              <p:nvCxnSpPr>
                <p:cNvPr id="48" name="Straight Connector 47"/>
                <p:cNvCxnSpPr/>
                <p:nvPr/>
              </p:nvCxnSpPr>
              <p:spPr>
                <a:xfrm>
                  <a:off x="10370776" y="0"/>
                  <a:ext cx="0" cy="6858000"/>
                </a:xfrm>
                <a:prstGeom prst="line">
                  <a:avLst/>
                </a:prstGeom>
                <a:noFill/>
                <a:ln w="3175" cap="rnd" cmpd="sng" algn="ctr">
                  <a:solidFill>
                    <a:srgbClr val="C6007E">
                      <a:alpha val="30000"/>
                    </a:srgbClr>
                  </a:solidFill>
                  <a:prstDash val="sysDash"/>
                  <a:round/>
                </a:ln>
                <a:effectLst/>
              </p:spPr>
            </p:cxnSp>
            <p:cxnSp>
              <p:nvCxnSpPr>
                <p:cNvPr id="49" name="Straight Connector 48"/>
                <p:cNvCxnSpPr/>
                <p:nvPr/>
              </p:nvCxnSpPr>
              <p:spPr>
                <a:xfrm>
                  <a:off x="9418709" y="0"/>
                  <a:ext cx="0" cy="6858000"/>
                </a:xfrm>
                <a:prstGeom prst="line">
                  <a:avLst/>
                </a:prstGeom>
                <a:noFill/>
                <a:ln w="3175" cap="rnd" cmpd="sng" algn="ctr">
                  <a:solidFill>
                    <a:srgbClr val="C6007E">
                      <a:alpha val="30000"/>
                    </a:srgbClr>
                  </a:solidFill>
                  <a:prstDash val="sysDash"/>
                  <a:round/>
                </a:ln>
                <a:effectLst/>
              </p:spPr>
            </p:cxnSp>
            <p:cxnSp>
              <p:nvCxnSpPr>
                <p:cNvPr id="50" name="Straight Connector 49"/>
                <p:cNvCxnSpPr/>
                <p:nvPr/>
              </p:nvCxnSpPr>
              <p:spPr>
                <a:xfrm>
                  <a:off x="8466642" y="0"/>
                  <a:ext cx="0" cy="6858000"/>
                </a:xfrm>
                <a:prstGeom prst="line">
                  <a:avLst/>
                </a:prstGeom>
                <a:noFill/>
                <a:ln w="3175" cap="rnd" cmpd="sng" algn="ctr">
                  <a:solidFill>
                    <a:srgbClr val="C6007E">
                      <a:alpha val="30000"/>
                    </a:srgbClr>
                  </a:solidFill>
                  <a:prstDash val="sysDash"/>
                  <a:round/>
                </a:ln>
                <a:effectLst/>
              </p:spPr>
            </p:cxnSp>
            <p:cxnSp>
              <p:nvCxnSpPr>
                <p:cNvPr id="51" name="Straight Connector 50"/>
                <p:cNvCxnSpPr/>
                <p:nvPr/>
              </p:nvCxnSpPr>
              <p:spPr>
                <a:xfrm>
                  <a:off x="7514575" y="0"/>
                  <a:ext cx="0" cy="6858000"/>
                </a:xfrm>
                <a:prstGeom prst="line">
                  <a:avLst/>
                </a:prstGeom>
                <a:noFill/>
                <a:ln w="3175" cap="rnd" cmpd="sng" algn="ctr">
                  <a:solidFill>
                    <a:srgbClr val="C6007E">
                      <a:alpha val="30000"/>
                    </a:srgbClr>
                  </a:solidFill>
                  <a:prstDash val="sysDash"/>
                  <a:round/>
                </a:ln>
                <a:effectLst/>
              </p:spPr>
            </p:cxnSp>
            <p:cxnSp>
              <p:nvCxnSpPr>
                <p:cNvPr id="52" name="Straight Connector 51"/>
                <p:cNvCxnSpPr/>
                <p:nvPr/>
              </p:nvCxnSpPr>
              <p:spPr>
                <a:xfrm>
                  <a:off x="6562508" y="0"/>
                  <a:ext cx="0" cy="6858000"/>
                </a:xfrm>
                <a:prstGeom prst="line">
                  <a:avLst/>
                </a:prstGeom>
                <a:noFill/>
                <a:ln w="3175" cap="rnd" cmpd="sng" algn="ctr">
                  <a:solidFill>
                    <a:srgbClr val="C6007E">
                      <a:alpha val="30000"/>
                    </a:srgbClr>
                  </a:solidFill>
                  <a:prstDash val="sysDash"/>
                  <a:round/>
                </a:ln>
                <a:effectLst/>
              </p:spPr>
            </p:cxnSp>
            <p:cxnSp>
              <p:nvCxnSpPr>
                <p:cNvPr id="53" name="Straight Connector 52"/>
                <p:cNvCxnSpPr/>
                <p:nvPr/>
              </p:nvCxnSpPr>
              <p:spPr>
                <a:xfrm>
                  <a:off x="5610441" y="0"/>
                  <a:ext cx="0" cy="6858000"/>
                </a:xfrm>
                <a:prstGeom prst="line">
                  <a:avLst/>
                </a:prstGeom>
                <a:noFill/>
                <a:ln w="3175" cap="rnd" cmpd="sng" algn="ctr">
                  <a:solidFill>
                    <a:srgbClr val="C6007E">
                      <a:alpha val="30000"/>
                    </a:srgbClr>
                  </a:solidFill>
                  <a:prstDash val="sysDash"/>
                  <a:round/>
                </a:ln>
                <a:effectLst/>
              </p:spPr>
            </p:cxnSp>
            <p:cxnSp>
              <p:nvCxnSpPr>
                <p:cNvPr id="54" name="Straight Connector 53"/>
                <p:cNvCxnSpPr/>
                <p:nvPr/>
              </p:nvCxnSpPr>
              <p:spPr>
                <a:xfrm>
                  <a:off x="4658374" y="0"/>
                  <a:ext cx="0" cy="6858000"/>
                </a:xfrm>
                <a:prstGeom prst="line">
                  <a:avLst/>
                </a:prstGeom>
                <a:noFill/>
                <a:ln w="3175" cap="rnd" cmpd="sng" algn="ctr">
                  <a:solidFill>
                    <a:srgbClr val="C6007E">
                      <a:alpha val="30000"/>
                    </a:srgbClr>
                  </a:solidFill>
                  <a:prstDash val="sysDash"/>
                  <a:round/>
                </a:ln>
                <a:effectLst/>
              </p:spPr>
            </p:cxnSp>
            <p:cxnSp>
              <p:nvCxnSpPr>
                <p:cNvPr id="55" name="Straight Connector 54"/>
                <p:cNvCxnSpPr/>
                <p:nvPr/>
              </p:nvCxnSpPr>
              <p:spPr>
                <a:xfrm>
                  <a:off x="3706307" y="0"/>
                  <a:ext cx="0" cy="6858000"/>
                </a:xfrm>
                <a:prstGeom prst="line">
                  <a:avLst/>
                </a:prstGeom>
                <a:noFill/>
                <a:ln w="3175" cap="rnd" cmpd="sng" algn="ctr">
                  <a:solidFill>
                    <a:srgbClr val="C6007E">
                      <a:alpha val="30000"/>
                    </a:srgbClr>
                  </a:solidFill>
                  <a:prstDash val="sysDash"/>
                  <a:round/>
                </a:ln>
                <a:effectLst/>
              </p:spPr>
            </p:cxnSp>
            <p:cxnSp>
              <p:nvCxnSpPr>
                <p:cNvPr id="56" name="Straight Connector 55"/>
                <p:cNvCxnSpPr/>
                <p:nvPr/>
              </p:nvCxnSpPr>
              <p:spPr>
                <a:xfrm>
                  <a:off x="2754240" y="0"/>
                  <a:ext cx="0" cy="6858000"/>
                </a:xfrm>
                <a:prstGeom prst="line">
                  <a:avLst/>
                </a:prstGeom>
                <a:noFill/>
                <a:ln w="3175" cap="rnd" cmpd="sng" algn="ctr">
                  <a:solidFill>
                    <a:srgbClr val="C6007E">
                      <a:alpha val="30000"/>
                    </a:srgbClr>
                  </a:solidFill>
                  <a:prstDash val="sysDash"/>
                  <a:round/>
                </a:ln>
                <a:effectLst/>
              </p:spPr>
            </p:cxnSp>
            <p:cxnSp>
              <p:nvCxnSpPr>
                <p:cNvPr id="57" name="Straight Connector 56"/>
                <p:cNvCxnSpPr/>
                <p:nvPr/>
              </p:nvCxnSpPr>
              <p:spPr>
                <a:xfrm>
                  <a:off x="1802173" y="0"/>
                  <a:ext cx="0" cy="6858000"/>
                </a:xfrm>
                <a:prstGeom prst="line">
                  <a:avLst/>
                </a:prstGeom>
                <a:noFill/>
                <a:ln w="3175" cap="rnd" cmpd="sng" algn="ctr">
                  <a:solidFill>
                    <a:srgbClr val="C6007E">
                      <a:alpha val="30000"/>
                    </a:srgbClr>
                  </a:solidFill>
                  <a:prstDash val="sysDash"/>
                  <a:round/>
                </a:ln>
                <a:effectLst/>
              </p:spPr>
            </p:cxnSp>
          </p:grpSp>
        </p:grpSp>
      </p:grpSp>
      <p:sp>
        <p:nvSpPr>
          <p:cNvPr id="37" name="Picture Placeholder 36"/>
          <p:cNvSpPr>
            <a:spLocks noGrp="1"/>
          </p:cNvSpPr>
          <p:nvPr>
            <p:ph type="pic" sz="quarter" idx="15"/>
          </p:nvPr>
        </p:nvSpPr>
        <p:spPr>
          <a:xfrm>
            <a:off x="5221858" y="0"/>
            <a:ext cx="6970142" cy="6858000"/>
          </a:xfrm>
          <a:solidFill>
            <a:schemeClr val="bg2">
              <a:lumMod val="20000"/>
              <a:lumOff val="80000"/>
            </a:schemeClr>
          </a:solidFill>
        </p:spPr>
        <p:txBody>
          <a:bodyPr lIns="0" tIns="2103120" rIns="1280160"/>
          <a:lstStyle>
            <a:lvl1pPr algn="r">
              <a:defRPr/>
            </a:lvl1pPr>
          </a:lstStyle>
          <a:p>
            <a:r>
              <a:rPr lang="en-US"/>
              <a:t>Click icon to add picture</a:t>
            </a:r>
          </a:p>
        </p:txBody>
      </p:sp>
      <p:sp>
        <p:nvSpPr>
          <p:cNvPr id="24" name="Text Placeholder 23"/>
          <p:cNvSpPr>
            <a:spLocks noGrp="1"/>
          </p:cNvSpPr>
          <p:nvPr>
            <p:ph type="body" sz="quarter" idx="11" hasCustomPrompt="1"/>
          </p:nvPr>
        </p:nvSpPr>
        <p:spPr>
          <a:xfrm>
            <a:off x="457201" y="438537"/>
            <a:ext cx="4202414" cy="193899"/>
          </a:xfrm>
        </p:spPr>
        <p:txBody>
          <a:bodyPr/>
          <a:lstStyle>
            <a:lvl1pPr>
              <a:defRPr kumimoji="0" lang="en-US" sz="1400" b="1" i="0" u="none" strike="noStrike" kern="1200" cap="all" spc="200" normalizeH="0" baseline="0" dirty="0">
                <a:ln>
                  <a:noFill/>
                </a:ln>
                <a:solidFill>
                  <a:schemeClr val="tx2"/>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t>CASE STUDY</a:t>
            </a:r>
          </a:p>
        </p:txBody>
      </p:sp>
      <p:sp>
        <p:nvSpPr>
          <p:cNvPr id="26" name="Text Placeholder 25"/>
          <p:cNvSpPr>
            <a:spLocks noGrp="1"/>
          </p:cNvSpPr>
          <p:nvPr>
            <p:ph type="body" sz="quarter" idx="12"/>
          </p:nvPr>
        </p:nvSpPr>
        <p:spPr>
          <a:xfrm>
            <a:off x="457202" y="1943100"/>
            <a:ext cx="4199584" cy="4457698"/>
          </a:xfrm>
        </p:spPr>
        <p:txBody>
          <a:bodyPr/>
          <a:lstStyle>
            <a:lvl1pPr>
              <a:lnSpc>
                <a:spcPct val="100000"/>
              </a:lnSpc>
              <a:defRPr sz="1400">
                <a:solidFill>
                  <a:schemeClr val="accent1"/>
                </a:solidFill>
              </a:defRPr>
            </a:lvl1pPr>
            <a:lvl2pPr marL="0" indent="0">
              <a:lnSpc>
                <a:spcPct val="100000"/>
              </a:lnSpc>
              <a:spcBef>
                <a:spcPts val="800"/>
              </a:spcBef>
              <a:buFont typeface="Arial" panose="020B0604020202020204" pitchFamily="34" charset="0"/>
              <a:buChar char="​"/>
              <a:defRPr sz="1200" b="1">
                <a:solidFill>
                  <a:schemeClr val="tx1"/>
                </a:solidFill>
              </a:defRPr>
            </a:lvl2pPr>
            <a:lvl3pPr marL="0" indent="0">
              <a:lnSpc>
                <a:spcPct val="100000"/>
              </a:lnSpc>
              <a:spcBef>
                <a:spcPts val="0"/>
              </a:spcBef>
              <a:spcAft>
                <a:spcPts val="600"/>
              </a:spcAft>
              <a:buFont typeface="Arial" panose="020B0604020202020204" pitchFamily="34" charset="0"/>
              <a:buChar char="​"/>
              <a:defRPr sz="1200" baseline="0"/>
            </a:lvl3pPr>
            <a:lvl4pPr marL="174625" indent="-174625">
              <a:lnSpc>
                <a:spcPct val="100000"/>
              </a:lnSpc>
              <a:spcBef>
                <a:spcPts val="600"/>
              </a:spcBef>
              <a:spcAft>
                <a:spcPts val="200"/>
              </a:spcAft>
              <a:buFont typeface="Arial" panose="020B0604020202020204" pitchFamily="34" charset="0"/>
              <a:buChar char="•"/>
              <a:defRPr sz="1200" b="0" spc="0" baseline="0">
                <a:solidFill>
                  <a:schemeClr val="tx1"/>
                </a:solidFill>
              </a:defRPr>
            </a:lvl4pPr>
            <a:lvl5pPr marL="0" indent="0">
              <a:lnSpc>
                <a:spcPct val="100000"/>
              </a:lnSpc>
              <a:spcBef>
                <a:spcPts val="600"/>
              </a:spcBef>
              <a:spcAft>
                <a:spcPts val="200"/>
              </a:spcAft>
              <a:buFont typeface="CiscoSansTT ExtraLight" panose="020B0303020201020303" pitchFamily="34" charset="0"/>
              <a:buChar char="​"/>
              <a:defRPr sz="1600" spc="0">
                <a:solidFill>
                  <a:schemeClr val="tx2"/>
                </a:solidFill>
              </a:defRPr>
            </a:lvl5pPr>
            <a:lvl6pPr marL="914400" indent="-228600">
              <a:spcBef>
                <a:spcPts val="600"/>
              </a:spcBef>
              <a:buFont typeface="Arial" panose="020B0604020202020204" pitchFamily="34" charset="0"/>
              <a:buChar char="•"/>
              <a:defRPr sz="1200" b="0">
                <a:solidFill>
                  <a:schemeClr val="accent3"/>
                </a:solidFill>
              </a:defRPr>
            </a:lvl6pPr>
            <a:lvl7pPr marL="1143000" indent="-228600">
              <a:lnSpc>
                <a:spcPct val="90000"/>
              </a:lnSpc>
              <a:spcBef>
                <a:spcPts val="600"/>
              </a:spcBef>
              <a:spcAft>
                <a:spcPts val="200"/>
              </a:spcAft>
              <a:buFont typeface="Century Gothic" panose="020B0502020202020204" pitchFamily="34" charset="0"/>
              <a:buChar char="–"/>
              <a:defRPr sz="1200">
                <a:solidFill>
                  <a:schemeClr val="accent3"/>
                </a:solidFill>
              </a:defRPr>
            </a:lvl7pPr>
            <a:lvl8pPr marL="1371600" indent="-228600">
              <a:lnSpc>
                <a:spcPct val="90000"/>
              </a:lnSpc>
              <a:spcBef>
                <a:spcPts val="600"/>
              </a:spcBef>
              <a:buFont typeface="Arial" panose="020B0604020202020204" pitchFamily="34" charset="0"/>
              <a:buChar char="•"/>
              <a:defRPr/>
            </a:lvl8pPr>
            <a:lvl9pPr marL="1371600" indent="0">
              <a:spcBef>
                <a:spcPts val="600"/>
              </a:spcBef>
              <a:buFont typeface="Century Gothic" panose="020B0502020202020204" pitchFamily="34" charse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EC46F5D-DEC2-4E4B-A612-CF3575299E02}"/>
              </a:ext>
            </a:extLst>
          </p:cNvPr>
          <p:cNvSpPr>
            <a:spLocks noGrp="1"/>
          </p:cNvSpPr>
          <p:nvPr>
            <p:ph type="title" hasCustomPrompt="1"/>
          </p:nvPr>
        </p:nvSpPr>
        <p:spPr>
          <a:xfrm>
            <a:off x="457200" y="796476"/>
            <a:ext cx="4199585" cy="498598"/>
          </a:xfrm>
        </p:spPr>
        <p:txBody>
          <a:bodyPr/>
          <a:lstStyle>
            <a:lvl1pPr>
              <a:defRPr sz="3600"/>
            </a:lvl1pPr>
          </a:lstStyle>
          <a:p>
            <a:r>
              <a:rPr lang="en-US"/>
              <a:t>Click to Add Title</a:t>
            </a:r>
          </a:p>
        </p:txBody>
      </p:sp>
      <p:cxnSp>
        <p:nvCxnSpPr>
          <p:cNvPr id="80" name="Straight Connector 79">
            <a:extLst>
              <a:ext uri="{FF2B5EF4-FFF2-40B4-BE49-F238E27FC236}">
                <a16:creationId xmlns:a16="http://schemas.microsoft.com/office/drawing/2014/main" id="{FF2ECB71-4CA6-4755-935E-E841A25C3FAF}"/>
              </a:ext>
            </a:extLst>
          </p:cNvPr>
          <p:cNvCxnSpPr>
            <a:cxnSpLocks/>
          </p:cNvCxnSpPr>
          <p:nvPr/>
        </p:nvCxnSpPr>
        <p:spPr>
          <a:xfrm>
            <a:off x="457200" y="1467443"/>
            <a:ext cx="4932608" cy="0"/>
          </a:xfrm>
          <a:prstGeom prst="line">
            <a:avLst/>
          </a:prstGeom>
          <a:ln w="9525"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81" name="Text Placeholder 25">
            <a:extLst>
              <a:ext uri="{FF2B5EF4-FFF2-40B4-BE49-F238E27FC236}">
                <a16:creationId xmlns:a16="http://schemas.microsoft.com/office/drawing/2014/main" id="{617116D5-1D7B-4635-9866-EC6A31DD86F9}"/>
              </a:ext>
            </a:extLst>
          </p:cNvPr>
          <p:cNvSpPr>
            <a:spLocks noGrp="1"/>
          </p:cNvSpPr>
          <p:nvPr>
            <p:ph type="body" sz="quarter" idx="17"/>
          </p:nvPr>
        </p:nvSpPr>
        <p:spPr>
          <a:xfrm>
            <a:off x="4921837" y="-1"/>
            <a:ext cx="3068771" cy="6857999"/>
          </a:xfrm>
          <a:solidFill>
            <a:schemeClr val="bg1"/>
          </a:solidFill>
        </p:spPr>
        <p:txBody>
          <a:bodyPr lIns="365760" tIns="1920240"/>
          <a:lstStyle>
            <a:lvl1pPr>
              <a:lnSpc>
                <a:spcPct val="100000"/>
              </a:lnSpc>
              <a:spcAft>
                <a:spcPts val="600"/>
              </a:spcAft>
              <a:defRPr sz="1400">
                <a:solidFill>
                  <a:schemeClr val="accent1"/>
                </a:solidFill>
              </a:defRPr>
            </a:lvl1pPr>
            <a:lvl2pPr marL="0" indent="0">
              <a:lnSpc>
                <a:spcPct val="100000"/>
              </a:lnSpc>
              <a:spcBef>
                <a:spcPts val="800"/>
              </a:spcBef>
              <a:buFont typeface="Arial" panose="020B0604020202020204" pitchFamily="34" charset="0"/>
              <a:buChar char="​"/>
              <a:defRPr sz="1200" b="1">
                <a:solidFill>
                  <a:schemeClr val="accent1"/>
                </a:solidFill>
              </a:defRPr>
            </a:lvl2pPr>
            <a:lvl3pPr marL="0" indent="0">
              <a:lnSpc>
                <a:spcPct val="100000"/>
              </a:lnSpc>
              <a:spcBef>
                <a:spcPts val="0"/>
              </a:spcBef>
              <a:spcAft>
                <a:spcPts val="600"/>
              </a:spcAft>
              <a:buFont typeface="Arial" panose="020B0604020202020204" pitchFamily="34" charset="0"/>
              <a:buChar char="​"/>
              <a:defRPr sz="1200" baseline="0">
                <a:solidFill>
                  <a:schemeClr val="accent1"/>
                </a:solidFill>
              </a:defRPr>
            </a:lvl3pPr>
            <a:lvl4pPr marL="174625" indent="-174625">
              <a:lnSpc>
                <a:spcPct val="100000"/>
              </a:lnSpc>
              <a:spcBef>
                <a:spcPts val="600"/>
              </a:spcBef>
              <a:spcAft>
                <a:spcPts val="200"/>
              </a:spcAft>
              <a:buFont typeface="Arial" panose="020B0604020202020204" pitchFamily="34" charset="0"/>
              <a:buChar char="•"/>
              <a:defRPr sz="1200" b="0" spc="0" baseline="0">
                <a:solidFill>
                  <a:schemeClr val="accent1"/>
                </a:solidFill>
              </a:defRPr>
            </a:lvl4pPr>
            <a:lvl5pPr marL="0" indent="0">
              <a:lnSpc>
                <a:spcPct val="100000"/>
              </a:lnSpc>
              <a:spcBef>
                <a:spcPts val="600"/>
              </a:spcBef>
              <a:spcAft>
                <a:spcPts val="200"/>
              </a:spcAft>
              <a:buFont typeface="CiscoSansTT ExtraLight" panose="020B0303020201020303" pitchFamily="34" charset="0"/>
              <a:buChar char="​"/>
              <a:defRPr sz="1600" spc="0">
                <a:solidFill>
                  <a:schemeClr val="tx2"/>
                </a:solidFill>
              </a:defRPr>
            </a:lvl5pPr>
            <a:lvl6pPr marL="914400" indent="-228600">
              <a:spcBef>
                <a:spcPts val="600"/>
              </a:spcBef>
              <a:buFont typeface="Arial" panose="020B0604020202020204" pitchFamily="34" charset="0"/>
              <a:buChar char="•"/>
              <a:defRPr sz="1200" b="0">
                <a:solidFill>
                  <a:schemeClr val="accent3"/>
                </a:solidFill>
              </a:defRPr>
            </a:lvl6pPr>
            <a:lvl7pPr marL="1143000" indent="-228600">
              <a:lnSpc>
                <a:spcPct val="90000"/>
              </a:lnSpc>
              <a:spcBef>
                <a:spcPts val="600"/>
              </a:spcBef>
              <a:spcAft>
                <a:spcPts val="200"/>
              </a:spcAft>
              <a:buFont typeface="Century Gothic" panose="020B0502020202020204" pitchFamily="34" charset="0"/>
              <a:buChar char="–"/>
              <a:defRPr sz="1200">
                <a:solidFill>
                  <a:schemeClr val="accent3"/>
                </a:solidFill>
              </a:defRPr>
            </a:lvl7pPr>
            <a:lvl8pPr marL="1371600" indent="-228600">
              <a:lnSpc>
                <a:spcPct val="90000"/>
              </a:lnSpc>
              <a:spcBef>
                <a:spcPts val="600"/>
              </a:spcBef>
              <a:buFont typeface="Arial" panose="020B0604020202020204" pitchFamily="34" charset="0"/>
              <a:buChar char="•"/>
              <a:defRPr/>
            </a:lvl8pPr>
            <a:lvl9pPr marL="1371600" indent="0">
              <a:spcBef>
                <a:spcPts val="600"/>
              </a:spcBef>
              <a:buFont typeface="Century Gothic" panose="020B0502020202020204" pitchFamily="34" charse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CE739A7B-79FA-48A5-92FB-15F713FE8304}"/>
              </a:ext>
            </a:extLst>
          </p:cNvPr>
          <p:cNvSpPr>
            <a:spLocks noGrp="1"/>
          </p:cNvSpPr>
          <p:nvPr>
            <p:ph type="sldNum" sz="quarter" idx="19"/>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3290805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1">
                                            <p:bg/>
                                          </p:spTgt>
                                        </p:tgtEl>
                                        <p:attrNameLst>
                                          <p:attrName>style.visibility</p:attrName>
                                        </p:attrNameLst>
                                      </p:cBhvr>
                                      <p:to>
                                        <p:strVal val="visible"/>
                                      </p:to>
                                    </p:set>
                                    <p:animEffect transition="in" filter="wipe(left)">
                                      <p:cBhvr>
                                        <p:cTn id="7" dur="500"/>
                                        <p:tgtEl>
                                          <p:spTgt spid="81">
                                            <p:bg/>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1">
                                            <p:txEl>
                                              <p:pRg st="0" end="0"/>
                                            </p:txEl>
                                          </p:spTgt>
                                        </p:tgtEl>
                                        <p:attrNameLst>
                                          <p:attrName>style.visibility</p:attrName>
                                        </p:attrNameLst>
                                      </p:cBhvr>
                                      <p:to>
                                        <p:strVal val="visible"/>
                                      </p:to>
                                    </p:set>
                                    <p:animEffect transition="in" filter="wipe(left)">
                                      <p:cBhvr>
                                        <p:cTn id="10" dur="500"/>
                                        <p:tgtEl>
                                          <p:spTgt spid="81">
                                            <p:txEl>
                                              <p:pRg st="0" end="0"/>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81">
                                            <p:txEl>
                                              <p:pRg st="1" end="1"/>
                                            </p:txEl>
                                          </p:spTgt>
                                        </p:tgtEl>
                                        <p:attrNameLst>
                                          <p:attrName>style.visibility</p:attrName>
                                        </p:attrNameLst>
                                      </p:cBhvr>
                                      <p:to>
                                        <p:strVal val="visible"/>
                                      </p:to>
                                    </p:set>
                                    <p:animEffect transition="in" filter="wipe(left)">
                                      <p:cBhvr>
                                        <p:cTn id="13" dur="500"/>
                                        <p:tgtEl>
                                          <p:spTgt spid="81">
                                            <p:txEl>
                                              <p:pRg st="1" end="1"/>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81">
                                            <p:txEl>
                                              <p:pRg st="2" end="2"/>
                                            </p:txEl>
                                          </p:spTgt>
                                        </p:tgtEl>
                                        <p:attrNameLst>
                                          <p:attrName>style.visibility</p:attrName>
                                        </p:attrNameLst>
                                      </p:cBhvr>
                                      <p:to>
                                        <p:strVal val="visible"/>
                                      </p:to>
                                    </p:set>
                                    <p:animEffect transition="in" filter="wipe(left)">
                                      <p:cBhvr>
                                        <p:cTn id="16" dur="500"/>
                                        <p:tgtEl>
                                          <p:spTgt spid="81">
                                            <p:txEl>
                                              <p:pRg st="2" end="2"/>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1">
                                            <p:txEl>
                                              <p:pRg st="3" end="3"/>
                                            </p:txEl>
                                          </p:spTgt>
                                        </p:tgtEl>
                                        <p:attrNameLst>
                                          <p:attrName>style.visibility</p:attrName>
                                        </p:attrNameLst>
                                      </p:cBhvr>
                                      <p:to>
                                        <p:strVal val="visible"/>
                                      </p:to>
                                    </p:set>
                                    <p:animEffect transition="in" filter="wipe(left)">
                                      <p:cBhvr>
                                        <p:cTn id="19" dur="500"/>
                                        <p:tgtEl>
                                          <p:spTgt spid="81">
                                            <p:txEl>
                                              <p:pRg st="3" end="3"/>
                                            </p:txEl>
                                          </p:spTgt>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81">
                                            <p:txEl>
                                              <p:pRg st="4" end="4"/>
                                            </p:txEl>
                                          </p:spTgt>
                                        </p:tgtEl>
                                        <p:attrNameLst>
                                          <p:attrName>style.visibility</p:attrName>
                                        </p:attrNameLst>
                                      </p:cBhvr>
                                      <p:to>
                                        <p:strVal val="visible"/>
                                      </p:to>
                                    </p:set>
                                    <p:animEffect transition="in" filter="wipe(left)">
                                      <p:cBhvr>
                                        <p:cTn id="22" dur="500"/>
                                        <p:tgtEl>
                                          <p:spTgt spid="8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uiExpand="1" build="p" animBg="1">
        <p:tmplLst>
          <p:tmpl>
            <p:tnLst>
              <p:par>
                <p:cTn presetID="22" presetClass="entr" presetSubtype="8" fill="hold" nodeType="click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1">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2">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3">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4">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 lvl="5">
            <p:tnLst>
              <p:par>
                <p:cTn presetID="22" presetClass="entr" presetSubtype="8" fill="hold" nodeType="withEffect">
                  <p:stCondLst>
                    <p:cond delay="0"/>
                  </p:stCondLst>
                  <p:childTnLst>
                    <p:set>
                      <p:cBhvr>
                        <p:cTn dur="1" fill="hold">
                          <p:stCondLst>
                            <p:cond delay="0"/>
                          </p:stCondLst>
                        </p:cTn>
                        <p:tgtEl>
                          <p:spTgt spid="81"/>
                        </p:tgtEl>
                        <p:attrNameLst>
                          <p:attrName>style.visibility</p:attrName>
                        </p:attrNameLst>
                      </p:cBhvr>
                      <p:to>
                        <p:strVal val="visible"/>
                      </p:to>
                    </p:set>
                    <p:animEffect transition="in" filter="wipe(left)">
                      <p:cBhvr>
                        <p:cTn dur="500"/>
                        <p:tgtEl>
                          <p:spTgt spid="81"/>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Half Photo w/ Text">
    <p:spTree>
      <p:nvGrpSpPr>
        <p:cNvPr id="1" name=""/>
        <p:cNvGrpSpPr/>
        <p:nvPr/>
      </p:nvGrpSpPr>
      <p:grpSpPr>
        <a:xfrm>
          <a:off x="0" y="0"/>
          <a:ext cx="0" cy="0"/>
          <a:chOff x="0" y="0"/>
          <a:chExt cx="0" cy="0"/>
        </a:xfrm>
      </p:grpSpPr>
      <p:sp>
        <p:nvSpPr>
          <p:cNvPr id="7" name="Picture Placeholder 21"/>
          <p:cNvSpPr>
            <a:spLocks noGrp="1"/>
          </p:cNvSpPr>
          <p:nvPr>
            <p:ph type="pic" sz="quarter" idx="10" hasCustomPrompt="1"/>
          </p:nvPr>
        </p:nvSpPr>
        <p:spPr>
          <a:xfrm>
            <a:off x="0" y="0"/>
            <a:ext cx="5867400" cy="6858000"/>
          </a:xfrm>
        </p:spPr>
        <p:txBody>
          <a:bodyPr lIns="457200" tIns="365760" rIns="457200" bIns="365760" anchor="ctr"/>
          <a:lstStyle>
            <a:lvl1pPr marL="0" indent="0" algn="ctr">
              <a:buFontTx/>
              <a:buNone/>
              <a:defRPr sz="2000"/>
            </a:lvl1pPr>
          </a:lstStyle>
          <a:p>
            <a:r>
              <a:rPr lang="en-US"/>
              <a:t>Click icon below to insert an image, </a:t>
            </a:r>
            <a:br>
              <a:rPr lang="en-US"/>
            </a:br>
            <a:r>
              <a:rPr lang="en-US"/>
              <a:t>or delete placeholder box to </a:t>
            </a:r>
            <a:br>
              <a:rPr lang="en-US"/>
            </a:br>
            <a:r>
              <a:rPr lang="en-US"/>
              <a:t>place a diagram </a:t>
            </a:r>
          </a:p>
        </p:txBody>
      </p:sp>
      <p:sp>
        <p:nvSpPr>
          <p:cNvPr id="8" name="Rectangle 7">
            <a:extLst>
              <a:ext uri="{FF2B5EF4-FFF2-40B4-BE49-F238E27FC236}">
                <a16:creationId xmlns:a16="http://schemas.microsoft.com/office/drawing/2014/main" id="{4F72E82D-9AAD-4530-8DBD-499DCE49B905}"/>
              </a:ext>
            </a:extLst>
          </p:cNvPr>
          <p:cNvSpPr/>
          <p:nvPr/>
        </p:nvSpPr>
        <p:spPr>
          <a:xfrm>
            <a:off x="5867400" y="656823"/>
            <a:ext cx="457198" cy="167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CB9D8E32-FF93-49B6-83C5-C41CB00BBA11}"/>
              </a:ext>
            </a:extLst>
          </p:cNvPr>
          <p:cNvSpPr txBox="1">
            <a:spLocks/>
          </p:cNvSpPr>
          <p:nvPr/>
        </p:nvSpPr>
        <p:spPr>
          <a:xfrm>
            <a:off x="6324600" y="458908"/>
            <a:ext cx="5010248" cy="11079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000" kern="1200">
                <a:ln w="3175">
                  <a:noFill/>
                </a:ln>
                <a:solidFill>
                  <a:schemeClr val="accent1"/>
                </a:solidFill>
                <a:latin typeface="+mj-lt"/>
                <a:ea typeface="+mj-ea"/>
                <a:cs typeface="+mj-cs"/>
              </a:defRPr>
            </a:lvl1pPr>
          </a:lstStyle>
          <a:p>
            <a:r>
              <a:rPr lang="en-US"/>
              <a:t>Click to edit Master title style</a:t>
            </a:r>
          </a:p>
        </p:txBody>
      </p:sp>
      <p:sp>
        <p:nvSpPr>
          <p:cNvPr id="10" name="Text Placeholder 4">
            <a:extLst>
              <a:ext uri="{FF2B5EF4-FFF2-40B4-BE49-F238E27FC236}">
                <a16:creationId xmlns:a16="http://schemas.microsoft.com/office/drawing/2014/main" id="{7E80D7BE-CC62-4DDB-B974-F7EDB115917E}"/>
              </a:ext>
            </a:extLst>
          </p:cNvPr>
          <p:cNvSpPr>
            <a:spLocks noGrp="1"/>
          </p:cNvSpPr>
          <p:nvPr>
            <p:ph type="body" sz="quarter" idx="13"/>
          </p:nvPr>
        </p:nvSpPr>
        <p:spPr>
          <a:xfrm>
            <a:off x="6326990" y="1829526"/>
            <a:ext cx="5407761" cy="4571274"/>
          </a:xfrm>
        </p:spPr>
        <p:txBody>
          <a:bodyPr/>
          <a:lstStyle>
            <a:lvl1pPr>
              <a:defRPr>
                <a:solidFill>
                  <a:schemeClr val="tx1"/>
                </a:solidFill>
              </a:defRPr>
            </a:lvl1pPr>
            <a:lvl2pPr>
              <a:defRPr>
                <a:solidFill>
                  <a:schemeClr val="tx1"/>
                </a:solidFill>
              </a:defRPr>
            </a:lvl2pPr>
            <a:lvl3pPr>
              <a:defRPr>
                <a:solidFill>
                  <a:schemeClr val="tx1"/>
                </a:solidFill>
              </a:defRPr>
            </a:lvl3pPr>
            <a:lvl4pPr marL="0" indent="0">
              <a:buFont typeface="CiscoSansTT ExtraLight" panose="020B0303020201020303" pitchFamily="34" charset="0"/>
              <a:buChar char="​"/>
              <a:defRPr sz="2400">
                <a:solidFill>
                  <a:schemeClr val="accent1"/>
                </a:solidFill>
                <a:latin typeface="+mj-lt"/>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64FCA620-D2E3-4A61-9365-6465EED9B7F2}"/>
              </a:ext>
            </a:extLst>
          </p:cNvPr>
          <p:cNvSpPr>
            <a:spLocks noGrp="1"/>
          </p:cNvSpPr>
          <p:nvPr>
            <p:ph type="sldNum" sz="quarter" idx="15"/>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40063015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hreat Repor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733" y="782095"/>
            <a:ext cx="7541874" cy="553998"/>
          </a:xfrm>
        </p:spPr>
        <p:txBody>
          <a:bodyPr/>
          <a:lstStyle>
            <a:lvl1pPr>
              <a:defRPr/>
            </a:lvl1pPr>
          </a:lstStyle>
          <a:p>
            <a:r>
              <a:rPr lang="en-US"/>
              <a:t>Click to Add Title</a:t>
            </a:r>
          </a:p>
        </p:txBody>
      </p:sp>
      <p:sp>
        <p:nvSpPr>
          <p:cNvPr id="4" name="Content Placeholder 3"/>
          <p:cNvSpPr>
            <a:spLocks noGrp="1"/>
          </p:cNvSpPr>
          <p:nvPr>
            <p:ph sz="half" idx="2"/>
          </p:nvPr>
        </p:nvSpPr>
        <p:spPr>
          <a:xfrm>
            <a:off x="448733" y="1943100"/>
            <a:ext cx="7541874" cy="4457700"/>
          </a:xfrm>
        </p:spPr>
        <p:txBody>
          <a:bodyPr/>
          <a:lstStyle>
            <a:lvl1pPr>
              <a:defRPr>
                <a:solidFill>
                  <a:schemeClr val="bg1"/>
                </a:solidFill>
              </a:defRPr>
            </a:lvl1pPr>
            <a:lvl2pPr>
              <a:defRPr>
                <a:solidFill>
                  <a:schemeClr val="bg1"/>
                </a:solidFill>
              </a:defRPr>
            </a:lvl2pPr>
            <a:lvl3pPr>
              <a:defRPr>
                <a:solidFill>
                  <a:schemeClr val="bg1"/>
                </a:solidFill>
              </a:defRPr>
            </a:lvl3pPr>
            <a:lvl4pPr marL="685800" indent="-228600">
              <a:spcBef>
                <a:spcPts val="600"/>
              </a:spcBef>
              <a:spcAft>
                <a:spcPts val="200"/>
              </a:spcAft>
              <a:buFont typeface="Arial" panose="020B0604020202020204" pitchFamily="34" charset="0"/>
              <a:buChar char="•"/>
              <a:defRPr sz="1400" b="0">
                <a:solidFill>
                  <a:schemeClr val="bg1"/>
                </a:solidFill>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3"/>
          <p:cNvSpPr>
            <a:spLocks noGrp="1"/>
          </p:cNvSpPr>
          <p:nvPr>
            <p:ph type="body" sz="quarter" idx="11" hasCustomPrompt="1"/>
          </p:nvPr>
        </p:nvSpPr>
        <p:spPr>
          <a:xfrm>
            <a:off x="448733" y="482600"/>
            <a:ext cx="4533604" cy="193899"/>
          </a:xfrm>
        </p:spPr>
        <p:txBody>
          <a:bodyPr/>
          <a:lstStyle>
            <a:lvl1pPr>
              <a:defRPr kumimoji="0" lang="en-US" sz="1400" b="1" i="0" u="none" strike="noStrike" kern="1200" cap="all" spc="200" normalizeH="0" baseline="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t>THREAT REPORT </a:t>
            </a:r>
          </a:p>
        </p:txBody>
      </p:sp>
      <p:sp>
        <p:nvSpPr>
          <p:cNvPr id="5" name="Slide Number Placeholder 4">
            <a:extLst>
              <a:ext uri="{FF2B5EF4-FFF2-40B4-BE49-F238E27FC236}">
                <a16:creationId xmlns:a16="http://schemas.microsoft.com/office/drawing/2014/main" id="{032C03D0-BCFD-479A-B55E-DCC6FB1624AF}"/>
              </a:ext>
            </a:extLst>
          </p:cNvPr>
          <p:cNvSpPr>
            <a:spLocks noGrp="1"/>
          </p:cNvSpPr>
          <p:nvPr>
            <p:ph type="sldNum" sz="quarter" idx="13"/>
          </p:nvPr>
        </p:nvSpPr>
        <p:spPr/>
        <p:txBody>
          <a:bodyPr/>
          <a:lstStyle/>
          <a:p>
            <a:fld id="{54939E03-9150-4A70-B4B2-A2AFB6334D4D}" type="slidenum">
              <a:rPr lang="en-SG" smtClean="0"/>
              <a:t>‹#›</a:t>
            </a:fld>
            <a:endParaRPr lang="en-SG"/>
          </a:p>
        </p:txBody>
      </p:sp>
      <p:grpSp>
        <p:nvGrpSpPr>
          <p:cNvPr id="18" name="Group 17">
            <a:extLst>
              <a:ext uri="{FF2B5EF4-FFF2-40B4-BE49-F238E27FC236}">
                <a16:creationId xmlns:a16="http://schemas.microsoft.com/office/drawing/2014/main" id="{DBCD0353-1425-483A-BE87-2D2D4A4A604E}"/>
              </a:ext>
            </a:extLst>
          </p:cNvPr>
          <p:cNvGrpSpPr/>
          <p:nvPr/>
        </p:nvGrpSpPr>
        <p:grpSpPr>
          <a:xfrm>
            <a:off x="11410950" y="457200"/>
            <a:ext cx="323850" cy="324895"/>
            <a:chOff x="11693125" y="130630"/>
            <a:chExt cx="368246" cy="369434"/>
          </a:xfrm>
          <a:solidFill>
            <a:schemeClr val="bg1"/>
          </a:solidFill>
        </p:grpSpPr>
        <p:sp>
          <p:nvSpPr>
            <p:cNvPr id="19" name="Freeform 5">
              <a:extLst>
                <a:ext uri="{FF2B5EF4-FFF2-40B4-BE49-F238E27FC236}">
                  <a16:creationId xmlns:a16="http://schemas.microsoft.com/office/drawing/2014/main" id="{502AB813-D882-4F72-AE27-6E189FE26F44}"/>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BBA1936E-924E-4C1D-844D-371431F5904E}"/>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1AE6B4AD-A96D-4B8D-BF58-E9E53220294D}"/>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Picture Placeholder 5">
            <a:extLst>
              <a:ext uri="{FF2B5EF4-FFF2-40B4-BE49-F238E27FC236}">
                <a16:creationId xmlns:a16="http://schemas.microsoft.com/office/drawing/2014/main" id="{81F6F1AA-6601-4A6D-BB03-E597468E0A02}"/>
              </a:ext>
            </a:extLst>
          </p:cNvPr>
          <p:cNvSpPr>
            <a:spLocks noGrp="1"/>
          </p:cNvSpPr>
          <p:nvPr>
            <p:ph type="pic" sz="quarter" idx="16" hasCustomPrompt="1"/>
          </p:nvPr>
        </p:nvSpPr>
        <p:spPr>
          <a:xfrm>
            <a:off x="7989888" y="0"/>
            <a:ext cx="4202112" cy="6858000"/>
          </a:xfrm>
          <a:solidFill>
            <a:schemeClr val="tx1">
              <a:lumMod val="95000"/>
              <a:lumOff val="5000"/>
            </a:schemeClr>
          </a:solidFill>
        </p:spPr>
        <p:txBody>
          <a:bodyPr anchor="ctr"/>
          <a:lstStyle>
            <a:lvl1pPr algn="ctr">
              <a:defRPr>
                <a:solidFill>
                  <a:schemeClr val="tx1">
                    <a:lumMod val="75000"/>
                    <a:lumOff val="25000"/>
                  </a:schemeClr>
                </a:solidFill>
              </a:defRPr>
            </a:lvl1pPr>
          </a:lstStyle>
          <a:p>
            <a:r>
              <a:rPr lang="en-US"/>
              <a:t>Tap icon to insert picture</a:t>
            </a:r>
          </a:p>
        </p:txBody>
      </p:sp>
    </p:spTree>
    <p:extLst>
      <p:ext uri="{BB962C8B-B14F-4D97-AF65-F5344CB8AC3E}">
        <p14:creationId xmlns:p14="http://schemas.microsoft.com/office/powerpoint/2010/main" val="8130367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Questions">
    <p:bg>
      <p:bgPr>
        <a:solidFill>
          <a:schemeClr val="accent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A366BE16-112B-4C16-A2A5-CF08F2DB3250}"/>
              </a:ext>
            </a:extLst>
          </p:cNvPr>
          <p:cNvGrpSpPr/>
          <p:nvPr/>
        </p:nvGrpSpPr>
        <p:grpSpPr>
          <a:xfrm>
            <a:off x="5430371" y="2042540"/>
            <a:ext cx="1331259" cy="988526"/>
            <a:chOff x="673100" y="827547"/>
            <a:chExt cx="1633916" cy="1213264"/>
          </a:xfrm>
          <a:solidFill>
            <a:schemeClr val="bg1"/>
          </a:solidFill>
        </p:grpSpPr>
        <p:grpSp>
          <p:nvGrpSpPr>
            <p:cNvPr id="11" name="Group 10">
              <a:extLst>
                <a:ext uri="{FF2B5EF4-FFF2-40B4-BE49-F238E27FC236}">
                  <a16:creationId xmlns:a16="http://schemas.microsoft.com/office/drawing/2014/main" id="{DCF5D9C8-0C37-43EB-82EB-62806C0F2F37}"/>
                </a:ext>
              </a:extLst>
            </p:cNvPr>
            <p:cNvGrpSpPr>
              <a:grpSpLocks noChangeAspect="1"/>
            </p:cNvGrpSpPr>
            <p:nvPr userDrawn="1"/>
          </p:nvGrpSpPr>
          <p:grpSpPr>
            <a:xfrm>
              <a:off x="673100" y="827547"/>
              <a:ext cx="1633916" cy="1213264"/>
              <a:chOff x="2671763" y="5032376"/>
              <a:chExt cx="1331913" cy="989013"/>
            </a:xfrm>
            <a:grpFill/>
          </p:grpSpPr>
          <p:sp>
            <p:nvSpPr>
              <p:cNvPr id="12" name="Freeform 73">
                <a:extLst>
                  <a:ext uri="{FF2B5EF4-FFF2-40B4-BE49-F238E27FC236}">
                    <a16:creationId xmlns:a16="http://schemas.microsoft.com/office/drawing/2014/main" id="{B6AB954F-1989-467E-A063-D25D9B8E6B71}"/>
                  </a:ext>
                </a:extLst>
              </p:cNvPr>
              <p:cNvSpPr>
                <a:spLocks/>
              </p:cNvSpPr>
              <p:nvPr/>
            </p:nvSpPr>
            <p:spPr bwMode="auto">
              <a:xfrm>
                <a:off x="3109913" y="5292726"/>
                <a:ext cx="893763" cy="728663"/>
              </a:xfrm>
              <a:custGeom>
                <a:avLst/>
                <a:gdLst>
                  <a:gd name="T0" fmla="*/ 1445 w 2252"/>
                  <a:gd name="T1" fmla="*/ 30 h 1837"/>
                  <a:gd name="T2" fmla="*/ 1656 w 2252"/>
                  <a:gd name="T3" fmla="*/ 102 h 1837"/>
                  <a:gd name="T4" fmla="*/ 1833 w 2252"/>
                  <a:gd name="T5" fmla="*/ 197 h 1837"/>
                  <a:gd name="T6" fmla="*/ 1984 w 2252"/>
                  <a:gd name="T7" fmla="*/ 314 h 1837"/>
                  <a:gd name="T8" fmla="*/ 2109 w 2252"/>
                  <a:gd name="T9" fmla="*/ 455 h 1837"/>
                  <a:gd name="T10" fmla="*/ 2201 w 2252"/>
                  <a:gd name="T11" fmla="*/ 622 h 1837"/>
                  <a:gd name="T12" fmla="*/ 2249 w 2252"/>
                  <a:gd name="T13" fmla="*/ 816 h 1837"/>
                  <a:gd name="T14" fmla="*/ 2242 w 2252"/>
                  <a:gd name="T15" fmla="*/ 1012 h 1837"/>
                  <a:gd name="T16" fmla="*/ 2184 w 2252"/>
                  <a:gd name="T17" fmla="*/ 1198 h 1837"/>
                  <a:gd name="T18" fmla="*/ 2078 w 2252"/>
                  <a:gd name="T19" fmla="*/ 1369 h 1837"/>
                  <a:gd name="T20" fmla="*/ 2180 w 2252"/>
                  <a:gd name="T21" fmla="*/ 1648 h 1837"/>
                  <a:gd name="T22" fmla="*/ 2211 w 2252"/>
                  <a:gd name="T23" fmla="*/ 1782 h 1837"/>
                  <a:gd name="T24" fmla="*/ 2180 w 2252"/>
                  <a:gd name="T25" fmla="*/ 1826 h 1837"/>
                  <a:gd name="T26" fmla="*/ 2123 w 2252"/>
                  <a:gd name="T27" fmla="*/ 1836 h 1837"/>
                  <a:gd name="T28" fmla="*/ 1858 w 2252"/>
                  <a:gd name="T29" fmla="*/ 1768 h 1837"/>
                  <a:gd name="T30" fmla="*/ 1617 w 2252"/>
                  <a:gd name="T31" fmla="*/ 1704 h 1837"/>
                  <a:gd name="T32" fmla="*/ 1579 w 2252"/>
                  <a:gd name="T33" fmla="*/ 1710 h 1837"/>
                  <a:gd name="T34" fmla="*/ 1513 w 2252"/>
                  <a:gd name="T35" fmla="*/ 1733 h 1837"/>
                  <a:gd name="T36" fmla="*/ 1345 w 2252"/>
                  <a:gd name="T37" fmla="*/ 1773 h 1837"/>
                  <a:gd name="T38" fmla="*/ 1140 w 2252"/>
                  <a:gd name="T39" fmla="*/ 1795 h 1837"/>
                  <a:gd name="T40" fmla="*/ 929 w 2252"/>
                  <a:gd name="T41" fmla="*/ 1789 h 1837"/>
                  <a:gd name="T42" fmla="*/ 721 w 2252"/>
                  <a:gd name="T43" fmla="*/ 1756 h 1837"/>
                  <a:gd name="T44" fmla="*/ 520 w 2252"/>
                  <a:gd name="T45" fmla="*/ 1693 h 1837"/>
                  <a:gd name="T46" fmla="*/ 336 w 2252"/>
                  <a:gd name="T47" fmla="*/ 1598 h 1837"/>
                  <a:gd name="T48" fmla="*/ 172 w 2252"/>
                  <a:gd name="T49" fmla="*/ 1474 h 1837"/>
                  <a:gd name="T50" fmla="*/ 37 w 2252"/>
                  <a:gd name="T51" fmla="*/ 1316 h 1837"/>
                  <a:gd name="T52" fmla="*/ 165 w 2252"/>
                  <a:gd name="T53" fmla="*/ 1269 h 1837"/>
                  <a:gd name="T54" fmla="*/ 190 w 2252"/>
                  <a:gd name="T55" fmla="*/ 1280 h 1837"/>
                  <a:gd name="T56" fmla="*/ 217 w 2252"/>
                  <a:gd name="T57" fmla="*/ 1313 h 1837"/>
                  <a:gd name="T58" fmla="*/ 320 w 2252"/>
                  <a:gd name="T59" fmla="*/ 1411 h 1837"/>
                  <a:gd name="T60" fmla="*/ 511 w 2252"/>
                  <a:gd name="T61" fmla="*/ 1530 h 1837"/>
                  <a:gd name="T62" fmla="*/ 723 w 2252"/>
                  <a:gd name="T63" fmla="*/ 1611 h 1837"/>
                  <a:gd name="T64" fmla="*/ 948 w 2252"/>
                  <a:gd name="T65" fmla="*/ 1650 h 1837"/>
                  <a:gd name="T66" fmla="*/ 1176 w 2252"/>
                  <a:gd name="T67" fmla="*/ 1651 h 1837"/>
                  <a:gd name="T68" fmla="*/ 1400 w 2252"/>
                  <a:gd name="T69" fmla="*/ 1616 h 1837"/>
                  <a:gd name="T70" fmla="*/ 1517 w 2252"/>
                  <a:gd name="T71" fmla="*/ 1579 h 1837"/>
                  <a:gd name="T72" fmla="*/ 1586 w 2252"/>
                  <a:gd name="T73" fmla="*/ 1560 h 1837"/>
                  <a:gd name="T74" fmla="*/ 1771 w 2252"/>
                  <a:gd name="T75" fmla="*/ 1597 h 1837"/>
                  <a:gd name="T76" fmla="*/ 1931 w 2252"/>
                  <a:gd name="T77" fmla="*/ 1385 h 1837"/>
                  <a:gd name="T78" fmla="*/ 1929 w 2252"/>
                  <a:gd name="T79" fmla="*/ 1331 h 1837"/>
                  <a:gd name="T80" fmla="*/ 1983 w 2252"/>
                  <a:gd name="T81" fmla="*/ 1251 h 1837"/>
                  <a:gd name="T82" fmla="*/ 2055 w 2252"/>
                  <a:gd name="T83" fmla="*/ 1134 h 1837"/>
                  <a:gd name="T84" fmla="*/ 2105 w 2252"/>
                  <a:gd name="T85" fmla="*/ 965 h 1837"/>
                  <a:gd name="T86" fmla="*/ 2101 w 2252"/>
                  <a:gd name="T87" fmla="*/ 791 h 1837"/>
                  <a:gd name="T88" fmla="*/ 2047 w 2252"/>
                  <a:gd name="T89" fmla="*/ 630 h 1837"/>
                  <a:gd name="T90" fmla="*/ 1952 w 2252"/>
                  <a:gd name="T91" fmla="*/ 486 h 1837"/>
                  <a:gd name="T92" fmla="*/ 1811 w 2252"/>
                  <a:gd name="T93" fmla="*/ 355 h 1837"/>
                  <a:gd name="T94" fmla="*/ 1646 w 2252"/>
                  <a:gd name="T95" fmla="*/ 254 h 1837"/>
                  <a:gd name="T96" fmla="*/ 1460 w 2252"/>
                  <a:gd name="T97" fmla="*/ 182 h 1837"/>
                  <a:gd name="T98" fmla="*/ 1369 w 2252"/>
                  <a:gd name="T99" fmla="*/ 158 h 1837"/>
                  <a:gd name="T100" fmla="*/ 1354 w 2252"/>
                  <a:gd name="T101" fmla="*/ 140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2" h="1837">
                    <a:moveTo>
                      <a:pt x="1298" y="0"/>
                    </a:moveTo>
                    <a:lnTo>
                      <a:pt x="1371" y="12"/>
                    </a:lnTo>
                    <a:lnTo>
                      <a:pt x="1445" y="30"/>
                    </a:lnTo>
                    <a:lnTo>
                      <a:pt x="1516" y="50"/>
                    </a:lnTo>
                    <a:lnTo>
                      <a:pt x="1587" y="73"/>
                    </a:lnTo>
                    <a:lnTo>
                      <a:pt x="1656" y="102"/>
                    </a:lnTo>
                    <a:lnTo>
                      <a:pt x="1724" y="133"/>
                    </a:lnTo>
                    <a:lnTo>
                      <a:pt x="1780" y="164"/>
                    </a:lnTo>
                    <a:lnTo>
                      <a:pt x="1833" y="197"/>
                    </a:lnTo>
                    <a:lnTo>
                      <a:pt x="1885" y="233"/>
                    </a:lnTo>
                    <a:lnTo>
                      <a:pt x="1936" y="271"/>
                    </a:lnTo>
                    <a:lnTo>
                      <a:pt x="1984" y="314"/>
                    </a:lnTo>
                    <a:lnTo>
                      <a:pt x="2029" y="359"/>
                    </a:lnTo>
                    <a:lnTo>
                      <a:pt x="2071" y="405"/>
                    </a:lnTo>
                    <a:lnTo>
                      <a:pt x="2109" y="455"/>
                    </a:lnTo>
                    <a:lnTo>
                      <a:pt x="2144" y="508"/>
                    </a:lnTo>
                    <a:lnTo>
                      <a:pt x="2175" y="564"/>
                    </a:lnTo>
                    <a:lnTo>
                      <a:pt x="2201" y="622"/>
                    </a:lnTo>
                    <a:lnTo>
                      <a:pt x="2223" y="686"/>
                    </a:lnTo>
                    <a:lnTo>
                      <a:pt x="2240" y="751"/>
                    </a:lnTo>
                    <a:lnTo>
                      <a:pt x="2249" y="816"/>
                    </a:lnTo>
                    <a:lnTo>
                      <a:pt x="2252" y="881"/>
                    </a:lnTo>
                    <a:lnTo>
                      <a:pt x="2250" y="947"/>
                    </a:lnTo>
                    <a:lnTo>
                      <a:pt x="2242" y="1012"/>
                    </a:lnTo>
                    <a:lnTo>
                      <a:pt x="2228" y="1075"/>
                    </a:lnTo>
                    <a:lnTo>
                      <a:pt x="2208" y="1137"/>
                    </a:lnTo>
                    <a:lnTo>
                      <a:pt x="2184" y="1198"/>
                    </a:lnTo>
                    <a:lnTo>
                      <a:pt x="2153" y="1257"/>
                    </a:lnTo>
                    <a:lnTo>
                      <a:pt x="2119" y="1314"/>
                    </a:lnTo>
                    <a:lnTo>
                      <a:pt x="2078" y="1369"/>
                    </a:lnTo>
                    <a:lnTo>
                      <a:pt x="2112" y="1461"/>
                    </a:lnTo>
                    <a:lnTo>
                      <a:pt x="2147" y="1555"/>
                    </a:lnTo>
                    <a:lnTo>
                      <a:pt x="2180" y="1648"/>
                    </a:lnTo>
                    <a:lnTo>
                      <a:pt x="2209" y="1743"/>
                    </a:lnTo>
                    <a:lnTo>
                      <a:pt x="2213" y="1763"/>
                    </a:lnTo>
                    <a:lnTo>
                      <a:pt x="2211" y="1782"/>
                    </a:lnTo>
                    <a:lnTo>
                      <a:pt x="2204" y="1799"/>
                    </a:lnTo>
                    <a:lnTo>
                      <a:pt x="2194" y="1815"/>
                    </a:lnTo>
                    <a:lnTo>
                      <a:pt x="2180" y="1826"/>
                    </a:lnTo>
                    <a:lnTo>
                      <a:pt x="2163" y="1834"/>
                    </a:lnTo>
                    <a:lnTo>
                      <a:pt x="2144" y="1837"/>
                    </a:lnTo>
                    <a:lnTo>
                      <a:pt x="2123" y="1836"/>
                    </a:lnTo>
                    <a:lnTo>
                      <a:pt x="2100" y="1830"/>
                    </a:lnTo>
                    <a:lnTo>
                      <a:pt x="2078" y="1824"/>
                    </a:lnTo>
                    <a:lnTo>
                      <a:pt x="1858" y="1768"/>
                    </a:lnTo>
                    <a:lnTo>
                      <a:pt x="1643" y="1712"/>
                    </a:lnTo>
                    <a:lnTo>
                      <a:pt x="1630" y="1708"/>
                    </a:lnTo>
                    <a:lnTo>
                      <a:pt x="1617" y="1704"/>
                    </a:lnTo>
                    <a:lnTo>
                      <a:pt x="1604" y="1703"/>
                    </a:lnTo>
                    <a:lnTo>
                      <a:pt x="1592" y="1705"/>
                    </a:lnTo>
                    <a:lnTo>
                      <a:pt x="1579" y="1710"/>
                    </a:lnTo>
                    <a:lnTo>
                      <a:pt x="1566" y="1715"/>
                    </a:lnTo>
                    <a:lnTo>
                      <a:pt x="1555" y="1720"/>
                    </a:lnTo>
                    <a:lnTo>
                      <a:pt x="1513" y="1733"/>
                    </a:lnTo>
                    <a:lnTo>
                      <a:pt x="1462" y="1748"/>
                    </a:lnTo>
                    <a:lnTo>
                      <a:pt x="1411" y="1760"/>
                    </a:lnTo>
                    <a:lnTo>
                      <a:pt x="1345" y="1773"/>
                    </a:lnTo>
                    <a:lnTo>
                      <a:pt x="1278" y="1783"/>
                    </a:lnTo>
                    <a:lnTo>
                      <a:pt x="1209" y="1790"/>
                    </a:lnTo>
                    <a:lnTo>
                      <a:pt x="1140" y="1795"/>
                    </a:lnTo>
                    <a:lnTo>
                      <a:pt x="1070" y="1796"/>
                    </a:lnTo>
                    <a:lnTo>
                      <a:pt x="1000" y="1794"/>
                    </a:lnTo>
                    <a:lnTo>
                      <a:pt x="929" y="1789"/>
                    </a:lnTo>
                    <a:lnTo>
                      <a:pt x="859" y="1781"/>
                    </a:lnTo>
                    <a:lnTo>
                      <a:pt x="790" y="1770"/>
                    </a:lnTo>
                    <a:lnTo>
                      <a:pt x="721" y="1756"/>
                    </a:lnTo>
                    <a:lnTo>
                      <a:pt x="652" y="1737"/>
                    </a:lnTo>
                    <a:lnTo>
                      <a:pt x="586" y="1717"/>
                    </a:lnTo>
                    <a:lnTo>
                      <a:pt x="520" y="1693"/>
                    </a:lnTo>
                    <a:lnTo>
                      <a:pt x="457" y="1664"/>
                    </a:lnTo>
                    <a:lnTo>
                      <a:pt x="395" y="1634"/>
                    </a:lnTo>
                    <a:lnTo>
                      <a:pt x="336" y="1598"/>
                    </a:lnTo>
                    <a:lnTo>
                      <a:pt x="278" y="1561"/>
                    </a:lnTo>
                    <a:lnTo>
                      <a:pt x="224" y="1519"/>
                    </a:lnTo>
                    <a:lnTo>
                      <a:pt x="172" y="1474"/>
                    </a:lnTo>
                    <a:lnTo>
                      <a:pt x="123" y="1425"/>
                    </a:lnTo>
                    <a:lnTo>
                      <a:pt x="78" y="1372"/>
                    </a:lnTo>
                    <a:lnTo>
                      <a:pt x="37" y="1316"/>
                    </a:lnTo>
                    <a:lnTo>
                      <a:pt x="0" y="1256"/>
                    </a:lnTo>
                    <a:lnTo>
                      <a:pt x="157" y="1269"/>
                    </a:lnTo>
                    <a:lnTo>
                      <a:pt x="165" y="1269"/>
                    </a:lnTo>
                    <a:lnTo>
                      <a:pt x="174" y="1269"/>
                    </a:lnTo>
                    <a:lnTo>
                      <a:pt x="181" y="1271"/>
                    </a:lnTo>
                    <a:lnTo>
                      <a:pt x="190" y="1280"/>
                    </a:lnTo>
                    <a:lnTo>
                      <a:pt x="200" y="1291"/>
                    </a:lnTo>
                    <a:lnTo>
                      <a:pt x="208" y="1303"/>
                    </a:lnTo>
                    <a:lnTo>
                      <a:pt x="217" y="1313"/>
                    </a:lnTo>
                    <a:lnTo>
                      <a:pt x="249" y="1348"/>
                    </a:lnTo>
                    <a:lnTo>
                      <a:pt x="284" y="1380"/>
                    </a:lnTo>
                    <a:lnTo>
                      <a:pt x="320" y="1411"/>
                    </a:lnTo>
                    <a:lnTo>
                      <a:pt x="382" y="1455"/>
                    </a:lnTo>
                    <a:lnTo>
                      <a:pt x="445" y="1495"/>
                    </a:lnTo>
                    <a:lnTo>
                      <a:pt x="511" y="1530"/>
                    </a:lnTo>
                    <a:lnTo>
                      <a:pt x="580" y="1562"/>
                    </a:lnTo>
                    <a:lnTo>
                      <a:pt x="650" y="1588"/>
                    </a:lnTo>
                    <a:lnTo>
                      <a:pt x="723" y="1611"/>
                    </a:lnTo>
                    <a:lnTo>
                      <a:pt x="797" y="1628"/>
                    </a:lnTo>
                    <a:lnTo>
                      <a:pt x="872" y="1641"/>
                    </a:lnTo>
                    <a:lnTo>
                      <a:pt x="948" y="1650"/>
                    </a:lnTo>
                    <a:lnTo>
                      <a:pt x="1024" y="1655"/>
                    </a:lnTo>
                    <a:lnTo>
                      <a:pt x="1100" y="1655"/>
                    </a:lnTo>
                    <a:lnTo>
                      <a:pt x="1176" y="1651"/>
                    </a:lnTo>
                    <a:lnTo>
                      <a:pt x="1251" y="1644"/>
                    </a:lnTo>
                    <a:lnTo>
                      <a:pt x="1326" y="1632"/>
                    </a:lnTo>
                    <a:lnTo>
                      <a:pt x="1400" y="1616"/>
                    </a:lnTo>
                    <a:lnTo>
                      <a:pt x="1471" y="1596"/>
                    </a:lnTo>
                    <a:lnTo>
                      <a:pt x="1494" y="1588"/>
                    </a:lnTo>
                    <a:lnTo>
                      <a:pt x="1517" y="1579"/>
                    </a:lnTo>
                    <a:lnTo>
                      <a:pt x="1540" y="1571"/>
                    </a:lnTo>
                    <a:lnTo>
                      <a:pt x="1563" y="1564"/>
                    </a:lnTo>
                    <a:lnTo>
                      <a:pt x="1586" y="1560"/>
                    </a:lnTo>
                    <a:lnTo>
                      <a:pt x="1609" y="1559"/>
                    </a:lnTo>
                    <a:lnTo>
                      <a:pt x="1634" y="1562"/>
                    </a:lnTo>
                    <a:lnTo>
                      <a:pt x="1771" y="1597"/>
                    </a:lnTo>
                    <a:lnTo>
                      <a:pt x="2029" y="1663"/>
                    </a:lnTo>
                    <a:lnTo>
                      <a:pt x="1980" y="1524"/>
                    </a:lnTo>
                    <a:lnTo>
                      <a:pt x="1931" y="1385"/>
                    </a:lnTo>
                    <a:lnTo>
                      <a:pt x="1927" y="1367"/>
                    </a:lnTo>
                    <a:lnTo>
                      <a:pt x="1926" y="1350"/>
                    </a:lnTo>
                    <a:lnTo>
                      <a:pt x="1929" y="1331"/>
                    </a:lnTo>
                    <a:lnTo>
                      <a:pt x="1937" y="1314"/>
                    </a:lnTo>
                    <a:lnTo>
                      <a:pt x="1960" y="1283"/>
                    </a:lnTo>
                    <a:lnTo>
                      <a:pt x="1983" y="1251"/>
                    </a:lnTo>
                    <a:lnTo>
                      <a:pt x="2008" y="1221"/>
                    </a:lnTo>
                    <a:lnTo>
                      <a:pt x="2029" y="1187"/>
                    </a:lnTo>
                    <a:lnTo>
                      <a:pt x="2055" y="1134"/>
                    </a:lnTo>
                    <a:lnTo>
                      <a:pt x="2078" y="1080"/>
                    </a:lnTo>
                    <a:lnTo>
                      <a:pt x="2094" y="1023"/>
                    </a:lnTo>
                    <a:lnTo>
                      <a:pt x="2105" y="965"/>
                    </a:lnTo>
                    <a:lnTo>
                      <a:pt x="2109" y="906"/>
                    </a:lnTo>
                    <a:lnTo>
                      <a:pt x="2108" y="848"/>
                    </a:lnTo>
                    <a:lnTo>
                      <a:pt x="2101" y="791"/>
                    </a:lnTo>
                    <a:lnTo>
                      <a:pt x="2088" y="735"/>
                    </a:lnTo>
                    <a:lnTo>
                      <a:pt x="2070" y="682"/>
                    </a:lnTo>
                    <a:lnTo>
                      <a:pt x="2047" y="630"/>
                    </a:lnTo>
                    <a:lnTo>
                      <a:pt x="2020" y="579"/>
                    </a:lnTo>
                    <a:lnTo>
                      <a:pt x="1987" y="531"/>
                    </a:lnTo>
                    <a:lnTo>
                      <a:pt x="1952" y="486"/>
                    </a:lnTo>
                    <a:lnTo>
                      <a:pt x="1909" y="439"/>
                    </a:lnTo>
                    <a:lnTo>
                      <a:pt x="1861" y="395"/>
                    </a:lnTo>
                    <a:lnTo>
                      <a:pt x="1811" y="355"/>
                    </a:lnTo>
                    <a:lnTo>
                      <a:pt x="1758" y="318"/>
                    </a:lnTo>
                    <a:lnTo>
                      <a:pt x="1703" y="285"/>
                    </a:lnTo>
                    <a:lnTo>
                      <a:pt x="1646" y="254"/>
                    </a:lnTo>
                    <a:lnTo>
                      <a:pt x="1588" y="228"/>
                    </a:lnTo>
                    <a:lnTo>
                      <a:pt x="1528" y="204"/>
                    </a:lnTo>
                    <a:lnTo>
                      <a:pt x="1460" y="182"/>
                    </a:lnTo>
                    <a:lnTo>
                      <a:pt x="1391" y="164"/>
                    </a:lnTo>
                    <a:lnTo>
                      <a:pt x="1377" y="161"/>
                    </a:lnTo>
                    <a:lnTo>
                      <a:pt x="1369" y="158"/>
                    </a:lnTo>
                    <a:lnTo>
                      <a:pt x="1363" y="154"/>
                    </a:lnTo>
                    <a:lnTo>
                      <a:pt x="1358" y="149"/>
                    </a:lnTo>
                    <a:lnTo>
                      <a:pt x="1354" y="140"/>
                    </a:lnTo>
                    <a:lnTo>
                      <a:pt x="1350" y="128"/>
                    </a:lnTo>
                    <a:lnTo>
                      <a:pt x="12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4">
                <a:extLst>
                  <a:ext uri="{FF2B5EF4-FFF2-40B4-BE49-F238E27FC236}">
                    <a16:creationId xmlns:a16="http://schemas.microsoft.com/office/drawing/2014/main" id="{D9E3E6D8-6400-47B1-83F3-BC3A4C48B39C}"/>
                  </a:ext>
                </a:extLst>
              </p:cNvPr>
              <p:cNvSpPr>
                <a:spLocks noEditPoints="1"/>
              </p:cNvSpPr>
              <p:nvPr/>
            </p:nvSpPr>
            <p:spPr bwMode="auto">
              <a:xfrm>
                <a:off x="2671763" y="5032376"/>
                <a:ext cx="1025525" cy="806450"/>
              </a:xfrm>
              <a:custGeom>
                <a:avLst/>
                <a:gdLst>
                  <a:gd name="T0" fmla="*/ 1094 w 2585"/>
                  <a:gd name="T1" fmla="*/ 157 h 2033"/>
                  <a:gd name="T2" fmla="*/ 831 w 2585"/>
                  <a:gd name="T3" fmla="*/ 215 h 2033"/>
                  <a:gd name="T4" fmla="*/ 585 w 2585"/>
                  <a:gd name="T5" fmla="*/ 323 h 2033"/>
                  <a:gd name="T6" fmla="*/ 374 w 2585"/>
                  <a:gd name="T7" fmla="*/ 484 h 2033"/>
                  <a:gd name="T8" fmla="*/ 221 w 2585"/>
                  <a:gd name="T9" fmla="*/ 689 h 2033"/>
                  <a:gd name="T10" fmla="*/ 149 w 2585"/>
                  <a:gd name="T11" fmla="*/ 918 h 2033"/>
                  <a:gd name="T12" fmla="*/ 168 w 2585"/>
                  <a:gd name="T13" fmla="*/ 1167 h 2033"/>
                  <a:gd name="T14" fmla="*/ 269 w 2585"/>
                  <a:gd name="T15" fmla="*/ 1380 h 2033"/>
                  <a:gd name="T16" fmla="*/ 336 w 2585"/>
                  <a:gd name="T17" fmla="*/ 1465 h 2033"/>
                  <a:gd name="T18" fmla="*/ 344 w 2585"/>
                  <a:gd name="T19" fmla="*/ 1531 h 2033"/>
                  <a:gd name="T20" fmla="*/ 684 w 2585"/>
                  <a:gd name="T21" fmla="*/ 1742 h 2033"/>
                  <a:gd name="T22" fmla="*/ 790 w 2585"/>
                  <a:gd name="T23" fmla="*/ 1757 h 2033"/>
                  <a:gd name="T24" fmla="*/ 1014 w 2585"/>
                  <a:gd name="T25" fmla="*/ 1819 h 2033"/>
                  <a:gd name="T26" fmla="*/ 1373 w 2585"/>
                  <a:gd name="T27" fmla="*/ 1844 h 2033"/>
                  <a:gd name="T28" fmla="*/ 1701 w 2585"/>
                  <a:gd name="T29" fmla="*/ 1790 h 2033"/>
                  <a:gd name="T30" fmla="*/ 1935 w 2585"/>
                  <a:gd name="T31" fmla="*/ 1700 h 2033"/>
                  <a:gd name="T32" fmla="*/ 2145 w 2585"/>
                  <a:gd name="T33" fmla="*/ 1565 h 2033"/>
                  <a:gd name="T34" fmla="*/ 2314 w 2585"/>
                  <a:gd name="T35" fmla="*/ 1383 h 2033"/>
                  <a:gd name="T36" fmla="*/ 2421 w 2585"/>
                  <a:gd name="T37" fmla="*/ 1151 h 2033"/>
                  <a:gd name="T38" fmla="*/ 2433 w 2585"/>
                  <a:gd name="T39" fmla="*/ 897 h 2033"/>
                  <a:gd name="T40" fmla="*/ 2353 w 2585"/>
                  <a:gd name="T41" fmla="*/ 670 h 2033"/>
                  <a:gd name="T42" fmla="*/ 2197 w 2585"/>
                  <a:gd name="T43" fmla="*/ 472 h 2033"/>
                  <a:gd name="T44" fmla="*/ 1973 w 2585"/>
                  <a:gd name="T45" fmla="*/ 310 h 2033"/>
                  <a:gd name="T46" fmla="*/ 1718 w 2585"/>
                  <a:gd name="T47" fmla="*/ 207 h 2033"/>
                  <a:gd name="T48" fmla="*/ 1446 w 2585"/>
                  <a:gd name="T49" fmla="*/ 152 h 2033"/>
                  <a:gd name="T50" fmla="*/ 1390 w 2585"/>
                  <a:gd name="T51" fmla="*/ 2 h 2033"/>
                  <a:gd name="T52" fmla="*/ 1728 w 2585"/>
                  <a:gd name="T53" fmla="*/ 57 h 2033"/>
                  <a:gd name="T54" fmla="*/ 2046 w 2585"/>
                  <a:gd name="T55" fmla="*/ 185 h 2033"/>
                  <a:gd name="T56" fmla="*/ 2279 w 2585"/>
                  <a:gd name="T57" fmla="*/ 352 h 2033"/>
                  <a:gd name="T58" fmla="*/ 2451 w 2585"/>
                  <a:gd name="T59" fmla="*/ 555 h 2033"/>
                  <a:gd name="T60" fmla="*/ 2559 w 2585"/>
                  <a:gd name="T61" fmla="*/ 794 h 2033"/>
                  <a:gd name="T62" fmla="*/ 2582 w 2585"/>
                  <a:gd name="T63" fmla="*/ 1062 h 2033"/>
                  <a:gd name="T64" fmla="*/ 2520 w 2585"/>
                  <a:gd name="T65" fmla="*/ 1311 h 2033"/>
                  <a:gd name="T66" fmla="*/ 2389 w 2585"/>
                  <a:gd name="T67" fmla="*/ 1523 h 2033"/>
                  <a:gd name="T68" fmla="*/ 2203 w 2585"/>
                  <a:gd name="T69" fmla="*/ 1698 h 2033"/>
                  <a:gd name="T70" fmla="*/ 1981 w 2585"/>
                  <a:gd name="T71" fmla="*/ 1833 h 2033"/>
                  <a:gd name="T72" fmla="*/ 1738 w 2585"/>
                  <a:gd name="T73" fmla="*/ 1926 h 2033"/>
                  <a:gd name="T74" fmla="*/ 1491 w 2585"/>
                  <a:gd name="T75" fmla="*/ 1977 h 2033"/>
                  <a:gd name="T76" fmla="*/ 1057 w 2585"/>
                  <a:gd name="T77" fmla="*/ 1972 h 2033"/>
                  <a:gd name="T78" fmla="*/ 796 w 2585"/>
                  <a:gd name="T79" fmla="*/ 1911 h 2033"/>
                  <a:gd name="T80" fmla="*/ 694 w 2585"/>
                  <a:gd name="T81" fmla="*/ 1887 h 2033"/>
                  <a:gd name="T82" fmla="*/ 153 w 2585"/>
                  <a:gd name="T83" fmla="*/ 2027 h 2033"/>
                  <a:gd name="T84" fmla="*/ 82 w 2585"/>
                  <a:gd name="T85" fmla="*/ 2026 h 2033"/>
                  <a:gd name="T86" fmla="*/ 48 w 2585"/>
                  <a:gd name="T87" fmla="*/ 1976 h 2033"/>
                  <a:gd name="T88" fmla="*/ 85 w 2585"/>
                  <a:gd name="T89" fmla="*/ 1833 h 2033"/>
                  <a:gd name="T90" fmla="*/ 192 w 2585"/>
                  <a:gd name="T91" fmla="*/ 1525 h 2033"/>
                  <a:gd name="T92" fmla="*/ 186 w 2585"/>
                  <a:gd name="T93" fmla="*/ 1510 h 2033"/>
                  <a:gd name="T94" fmla="*/ 78 w 2585"/>
                  <a:gd name="T95" fmla="*/ 1339 h 2033"/>
                  <a:gd name="T96" fmla="*/ 6 w 2585"/>
                  <a:gd name="T97" fmla="*/ 1094 h 2033"/>
                  <a:gd name="T98" fmla="*/ 15 w 2585"/>
                  <a:gd name="T99" fmla="*/ 842 h 2033"/>
                  <a:gd name="T100" fmla="*/ 108 w 2585"/>
                  <a:gd name="T101" fmla="*/ 591 h 2033"/>
                  <a:gd name="T102" fmla="*/ 268 w 2585"/>
                  <a:gd name="T103" fmla="*/ 385 h 2033"/>
                  <a:gd name="T104" fmla="*/ 477 w 2585"/>
                  <a:gd name="T105" fmla="*/ 223 h 2033"/>
                  <a:gd name="T106" fmla="*/ 719 w 2585"/>
                  <a:gd name="T107" fmla="*/ 106 h 2033"/>
                  <a:gd name="T108" fmla="*/ 978 w 2585"/>
                  <a:gd name="T109" fmla="*/ 32 h 2033"/>
                  <a:gd name="T110" fmla="*/ 1240 w 2585"/>
                  <a:gd name="T111" fmla="*/ 1 h 2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85" h="2033">
                    <a:moveTo>
                      <a:pt x="1292" y="144"/>
                    </a:moveTo>
                    <a:lnTo>
                      <a:pt x="1227" y="146"/>
                    </a:lnTo>
                    <a:lnTo>
                      <a:pt x="1161" y="150"/>
                    </a:lnTo>
                    <a:lnTo>
                      <a:pt x="1094" y="157"/>
                    </a:lnTo>
                    <a:lnTo>
                      <a:pt x="1027" y="167"/>
                    </a:lnTo>
                    <a:lnTo>
                      <a:pt x="961" y="179"/>
                    </a:lnTo>
                    <a:lnTo>
                      <a:pt x="896" y="195"/>
                    </a:lnTo>
                    <a:lnTo>
                      <a:pt x="831" y="215"/>
                    </a:lnTo>
                    <a:lnTo>
                      <a:pt x="767" y="237"/>
                    </a:lnTo>
                    <a:lnTo>
                      <a:pt x="705" y="262"/>
                    </a:lnTo>
                    <a:lnTo>
                      <a:pt x="643" y="291"/>
                    </a:lnTo>
                    <a:lnTo>
                      <a:pt x="585" y="323"/>
                    </a:lnTo>
                    <a:lnTo>
                      <a:pt x="528" y="358"/>
                    </a:lnTo>
                    <a:lnTo>
                      <a:pt x="473" y="396"/>
                    </a:lnTo>
                    <a:lnTo>
                      <a:pt x="423" y="439"/>
                    </a:lnTo>
                    <a:lnTo>
                      <a:pt x="374" y="484"/>
                    </a:lnTo>
                    <a:lnTo>
                      <a:pt x="328" y="532"/>
                    </a:lnTo>
                    <a:lnTo>
                      <a:pt x="286" y="585"/>
                    </a:lnTo>
                    <a:lnTo>
                      <a:pt x="251" y="635"/>
                    </a:lnTo>
                    <a:lnTo>
                      <a:pt x="221" y="689"/>
                    </a:lnTo>
                    <a:lnTo>
                      <a:pt x="195" y="744"/>
                    </a:lnTo>
                    <a:lnTo>
                      <a:pt x="175" y="800"/>
                    </a:lnTo>
                    <a:lnTo>
                      <a:pt x="159" y="858"/>
                    </a:lnTo>
                    <a:lnTo>
                      <a:pt x="149" y="918"/>
                    </a:lnTo>
                    <a:lnTo>
                      <a:pt x="145" y="979"/>
                    </a:lnTo>
                    <a:lnTo>
                      <a:pt x="146" y="1040"/>
                    </a:lnTo>
                    <a:lnTo>
                      <a:pt x="154" y="1104"/>
                    </a:lnTo>
                    <a:lnTo>
                      <a:pt x="168" y="1167"/>
                    </a:lnTo>
                    <a:lnTo>
                      <a:pt x="188" y="1228"/>
                    </a:lnTo>
                    <a:lnTo>
                      <a:pt x="214" y="1288"/>
                    </a:lnTo>
                    <a:lnTo>
                      <a:pt x="245" y="1344"/>
                    </a:lnTo>
                    <a:lnTo>
                      <a:pt x="269" y="1380"/>
                    </a:lnTo>
                    <a:lnTo>
                      <a:pt x="295" y="1416"/>
                    </a:lnTo>
                    <a:lnTo>
                      <a:pt x="309" y="1431"/>
                    </a:lnTo>
                    <a:lnTo>
                      <a:pt x="323" y="1447"/>
                    </a:lnTo>
                    <a:lnTo>
                      <a:pt x="336" y="1465"/>
                    </a:lnTo>
                    <a:lnTo>
                      <a:pt x="344" y="1483"/>
                    </a:lnTo>
                    <a:lnTo>
                      <a:pt x="348" y="1499"/>
                    </a:lnTo>
                    <a:lnTo>
                      <a:pt x="347" y="1515"/>
                    </a:lnTo>
                    <a:lnTo>
                      <a:pt x="344" y="1531"/>
                    </a:lnTo>
                    <a:lnTo>
                      <a:pt x="339" y="1546"/>
                    </a:lnTo>
                    <a:lnTo>
                      <a:pt x="229" y="1858"/>
                    </a:lnTo>
                    <a:lnTo>
                      <a:pt x="456" y="1800"/>
                    </a:lnTo>
                    <a:lnTo>
                      <a:pt x="684" y="1742"/>
                    </a:lnTo>
                    <a:lnTo>
                      <a:pt x="711" y="1739"/>
                    </a:lnTo>
                    <a:lnTo>
                      <a:pt x="737" y="1742"/>
                    </a:lnTo>
                    <a:lnTo>
                      <a:pt x="764" y="1748"/>
                    </a:lnTo>
                    <a:lnTo>
                      <a:pt x="790" y="1757"/>
                    </a:lnTo>
                    <a:lnTo>
                      <a:pt x="817" y="1767"/>
                    </a:lnTo>
                    <a:lnTo>
                      <a:pt x="842" y="1776"/>
                    </a:lnTo>
                    <a:lnTo>
                      <a:pt x="928" y="1801"/>
                    </a:lnTo>
                    <a:lnTo>
                      <a:pt x="1014" y="1819"/>
                    </a:lnTo>
                    <a:lnTo>
                      <a:pt x="1102" y="1833"/>
                    </a:lnTo>
                    <a:lnTo>
                      <a:pt x="1191" y="1842"/>
                    </a:lnTo>
                    <a:lnTo>
                      <a:pt x="1282" y="1845"/>
                    </a:lnTo>
                    <a:lnTo>
                      <a:pt x="1373" y="1844"/>
                    </a:lnTo>
                    <a:lnTo>
                      <a:pt x="1463" y="1836"/>
                    </a:lnTo>
                    <a:lnTo>
                      <a:pt x="1553" y="1824"/>
                    </a:lnTo>
                    <a:lnTo>
                      <a:pt x="1641" y="1806"/>
                    </a:lnTo>
                    <a:lnTo>
                      <a:pt x="1701" y="1790"/>
                    </a:lnTo>
                    <a:lnTo>
                      <a:pt x="1760" y="1772"/>
                    </a:lnTo>
                    <a:lnTo>
                      <a:pt x="1819" y="1751"/>
                    </a:lnTo>
                    <a:lnTo>
                      <a:pt x="1878" y="1726"/>
                    </a:lnTo>
                    <a:lnTo>
                      <a:pt x="1935" y="1700"/>
                    </a:lnTo>
                    <a:lnTo>
                      <a:pt x="1991" y="1671"/>
                    </a:lnTo>
                    <a:lnTo>
                      <a:pt x="2043" y="1638"/>
                    </a:lnTo>
                    <a:lnTo>
                      <a:pt x="2095" y="1604"/>
                    </a:lnTo>
                    <a:lnTo>
                      <a:pt x="2145" y="1565"/>
                    </a:lnTo>
                    <a:lnTo>
                      <a:pt x="2192" y="1524"/>
                    </a:lnTo>
                    <a:lnTo>
                      <a:pt x="2236" y="1480"/>
                    </a:lnTo>
                    <a:lnTo>
                      <a:pt x="2277" y="1433"/>
                    </a:lnTo>
                    <a:lnTo>
                      <a:pt x="2314" y="1383"/>
                    </a:lnTo>
                    <a:lnTo>
                      <a:pt x="2348" y="1330"/>
                    </a:lnTo>
                    <a:lnTo>
                      <a:pt x="2378" y="1273"/>
                    </a:lnTo>
                    <a:lnTo>
                      <a:pt x="2403" y="1213"/>
                    </a:lnTo>
                    <a:lnTo>
                      <a:pt x="2421" y="1151"/>
                    </a:lnTo>
                    <a:lnTo>
                      <a:pt x="2434" y="1088"/>
                    </a:lnTo>
                    <a:lnTo>
                      <a:pt x="2441" y="1023"/>
                    </a:lnTo>
                    <a:lnTo>
                      <a:pt x="2441" y="958"/>
                    </a:lnTo>
                    <a:lnTo>
                      <a:pt x="2433" y="897"/>
                    </a:lnTo>
                    <a:lnTo>
                      <a:pt x="2421" y="837"/>
                    </a:lnTo>
                    <a:lnTo>
                      <a:pt x="2404" y="779"/>
                    </a:lnTo>
                    <a:lnTo>
                      <a:pt x="2381" y="723"/>
                    </a:lnTo>
                    <a:lnTo>
                      <a:pt x="2353" y="670"/>
                    </a:lnTo>
                    <a:lnTo>
                      <a:pt x="2321" y="618"/>
                    </a:lnTo>
                    <a:lnTo>
                      <a:pt x="2286" y="568"/>
                    </a:lnTo>
                    <a:lnTo>
                      <a:pt x="2246" y="521"/>
                    </a:lnTo>
                    <a:lnTo>
                      <a:pt x="2197" y="472"/>
                    </a:lnTo>
                    <a:lnTo>
                      <a:pt x="2145" y="425"/>
                    </a:lnTo>
                    <a:lnTo>
                      <a:pt x="2090" y="383"/>
                    </a:lnTo>
                    <a:lnTo>
                      <a:pt x="2033" y="345"/>
                    </a:lnTo>
                    <a:lnTo>
                      <a:pt x="1973" y="310"/>
                    </a:lnTo>
                    <a:lnTo>
                      <a:pt x="1912" y="280"/>
                    </a:lnTo>
                    <a:lnTo>
                      <a:pt x="1848" y="252"/>
                    </a:lnTo>
                    <a:lnTo>
                      <a:pt x="1784" y="228"/>
                    </a:lnTo>
                    <a:lnTo>
                      <a:pt x="1718" y="207"/>
                    </a:lnTo>
                    <a:lnTo>
                      <a:pt x="1650" y="188"/>
                    </a:lnTo>
                    <a:lnTo>
                      <a:pt x="1582" y="174"/>
                    </a:lnTo>
                    <a:lnTo>
                      <a:pt x="1514" y="162"/>
                    </a:lnTo>
                    <a:lnTo>
                      <a:pt x="1446" y="152"/>
                    </a:lnTo>
                    <a:lnTo>
                      <a:pt x="1369" y="146"/>
                    </a:lnTo>
                    <a:lnTo>
                      <a:pt x="1292" y="144"/>
                    </a:lnTo>
                    <a:close/>
                    <a:moveTo>
                      <a:pt x="1304" y="0"/>
                    </a:moveTo>
                    <a:lnTo>
                      <a:pt x="1390" y="2"/>
                    </a:lnTo>
                    <a:lnTo>
                      <a:pt x="1474" y="10"/>
                    </a:lnTo>
                    <a:lnTo>
                      <a:pt x="1560" y="22"/>
                    </a:lnTo>
                    <a:lnTo>
                      <a:pt x="1644" y="37"/>
                    </a:lnTo>
                    <a:lnTo>
                      <a:pt x="1728" y="57"/>
                    </a:lnTo>
                    <a:lnTo>
                      <a:pt x="1810" y="83"/>
                    </a:lnTo>
                    <a:lnTo>
                      <a:pt x="1891" y="112"/>
                    </a:lnTo>
                    <a:lnTo>
                      <a:pt x="1969" y="147"/>
                    </a:lnTo>
                    <a:lnTo>
                      <a:pt x="2046" y="185"/>
                    </a:lnTo>
                    <a:lnTo>
                      <a:pt x="2119" y="229"/>
                    </a:lnTo>
                    <a:lnTo>
                      <a:pt x="2174" y="267"/>
                    </a:lnTo>
                    <a:lnTo>
                      <a:pt x="2228" y="308"/>
                    </a:lnTo>
                    <a:lnTo>
                      <a:pt x="2279" y="352"/>
                    </a:lnTo>
                    <a:lnTo>
                      <a:pt x="2327" y="398"/>
                    </a:lnTo>
                    <a:lnTo>
                      <a:pt x="2371" y="448"/>
                    </a:lnTo>
                    <a:lnTo>
                      <a:pt x="2413" y="500"/>
                    </a:lnTo>
                    <a:lnTo>
                      <a:pt x="2451" y="555"/>
                    </a:lnTo>
                    <a:lnTo>
                      <a:pt x="2484" y="612"/>
                    </a:lnTo>
                    <a:lnTo>
                      <a:pt x="2514" y="671"/>
                    </a:lnTo>
                    <a:lnTo>
                      <a:pt x="2539" y="731"/>
                    </a:lnTo>
                    <a:lnTo>
                      <a:pt x="2559" y="794"/>
                    </a:lnTo>
                    <a:lnTo>
                      <a:pt x="2573" y="859"/>
                    </a:lnTo>
                    <a:lnTo>
                      <a:pt x="2582" y="926"/>
                    </a:lnTo>
                    <a:lnTo>
                      <a:pt x="2585" y="994"/>
                    </a:lnTo>
                    <a:lnTo>
                      <a:pt x="2582" y="1062"/>
                    </a:lnTo>
                    <a:lnTo>
                      <a:pt x="2574" y="1127"/>
                    </a:lnTo>
                    <a:lnTo>
                      <a:pt x="2561" y="1191"/>
                    </a:lnTo>
                    <a:lnTo>
                      <a:pt x="2543" y="1252"/>
                    </a:lnTo>
                    <a:lnTo>
                      <a:pt x="2520" y="1311"/>
                    </a:lnTo>
                    <a:lnTo>
                      <a:pt x="2494" y="1367"/>
                    </a:lnTo>
                    <a:lnTo>
                      <a:pt x="2462" y="1422"/>
                    </a:lnTo>
                    <a:lnTo>
                      <a:pt x="2427" y="1474"/>
                    </a:lnTo>
                    <a:lnTo>
                      <a:pt x="2389" y="1523"/>
                    </a:lnTo>
                    <a:lnTo>
                      <a:pt x="2347" y="1570"/>
                    </a:lnTo>
                    <a:lnTo>
                      <a:pt x="2301" y="1616"/>
                    </a:lnTo>
                    <a:lnTo>
                      <a:pt x="2253" y="1657"/>
                    </a:lnTo>
                    <a:lnTo>
                      <a:pt x="2203" y="1698"/>
                    </a:lnTo>
                    <a:lnTo>
                      <a:pt x="2150" y="1736"/>
                    </a:lnTo>
                    <a:lnTo>
                      <a:pt x="2095" y="1770"/>
                    </a:lnTo>
                    <a:lnTo>
                      <a:pt x="2039" y="1803"/>
                    </a:lnTo>
                    <a:lnTo>
                      <a:pt x="1981" y="1833"/>
                    </a:lnTo>
                    <a:lnTo>
                      <a:pt x="1921" y="1860"/>
                    </a:lnTo>
                    <a:lnTo>
                      <a:pt x="1861" y="1885"/>
                    </a:lnTo>
                    <a:lnTo>
                      <a:pt x="1800" y="1907"/>
                    </a:lnTo>
                    <a:lnTo>
                      <a:pt x="1738" y="1926"/>
                    </a:lnTo>
                    <a:lnTo>
                      <a:pt x="1676" y="1944"/>
                    </a:lnTo>
                    <a:lnTo>
                      <a:pt x="1614" y="1958"/>
                    </a:lnTo>
                    <a:lnTo>
                      <a:pt x="1552" y="1969"/>
                    </a:lnTo>
                    <a:lnTo>
                      <a:pt x="1491" y="1977"/>
                    </a:lnTo>
                    <a:lnTo>
                      <a:pt x="1382" y="1986"/>
                    </a:lnTo>
                    <a:lnTo>
                      <a:pt x="1274" y="1988"/>
                    </a:lnTo>
                    <a:lnTo>
                      <a:pt x="1165" y="1983"/>
                    </a:lnTo>
                    <a:lnTo>
                      <a:pt x="1057" y="1972"/>
                    </a:lnTo>
                    <a:lnTo>
                      <a:pt x="950" y="1953"/>
                    </a:lnTo>
                    <a:lnTo>
                      <a:pt x="892" y="1940"/>
                    </a:lnTo>
                    <a:lnTo>
                      <a:pt x="834" y="1924"/>
                    </a:lnTo>
                    <a:lnTo>
                      <a:pt x="796" y="1911"/>
                    </a:lnTo>
                    <a:lnTo>
                      <a:pt x="759" y="1898"/>
                    </a:lnTo>
                    <a:lnTo>
                      <a:pt x="720" y="1887"/>
                    </a:lnTo>
                    <a:lnTo>
                      <a:pt x="707" y="1886"/>
                    </a:lnTo>
                    <a:lnTo>
                      <a:pt x="694" y="1887"/>
                    </a:lnTo>
                    <a:lnTo>
                      <a:pt x="682" y="1890"/>
                    </a:lnTo>
                    <a:lnTo>
                      <a:pt x="669" y="1894"/>
                    </a:lnTo>
                    <a:lnTo>
                      <a:pt x="171" y="2022"/>
                    </a:lnTo>
                    <a:lnTo>
                      <a:pt x="153" y="2027"/>
                    </a:lnTo>
                    <a:lnTo>
                      <a:pt x="134" y="2031"/>
                    </a:lnTo>
                    <a:lnTo>
                      <a:pt x="116" y="2033"/>
                    </a:lnTo>
                    <a:lnTo>
                      <a:pt x="98" y="2031"/>
                    </a:lnTo>
                    <a:lnTo>
                      <a:pt x="82" y="2026"/>
                    </a:lnTo>
                    <a:lnTo>
                      <a:pt x="69" y="2017"/>
                    </a:lnTo>
                    <a:lnTo>
                      <a:pt x="59" y="2005"/>
                    </a:lnTo>
                    <a:lnTo>
                      <a:pt x="53" y="1991"/>
                    </a:lnTo>
                    <a:lnTo>
                      <a:pt x="48" y="1976"/>
                    </a:lnTo>
                    <a:lnTo>
                      <a:pt x="47" y="1960"/>
                    </a:lnTo>
                    <a:lnTo>
                      <a:pt x="48" y="1944"/>
                    </a:lnTo>
                    <a:lnTo>
                      <a:pt x="52" y="1927"/>
                    </a:lnTo>
                    <a:lnTo>
                      <a:pt x="85" y="1833"/>
                    </a:lnTo>
                    <a:lnTo>
                      <a:pt x="178" y="1569"/>
                    </a:lnTo>
                    <a:lnTo>
                      <a:pt x="185" y="1551"/>
                    </a:lnTo>
                    <a:lnTo>
                      <a:pt x="191" y="1532"/>
                    </a:lnTo>
                    <a:lnTo>
                      <a:pt x="192" y="1525"/>
                    </a:lnTo>
                    <a:lnTo>
                      <a:pt x="192" y="1521"/>
                    </a:lnTo>
                    <a:lnTo>
                      <a:pt x="192" y="1518"/>
                    </a:lnTo>
                    <a:lnTo>
                      <a:pt x="190" y="1515"/>
                    </a:lnTo>
                    <a:lnTo>
                      <a:pt x="186" y="1510"/>
                    </a:lnTo>
                    <a:lnTo>
                      <a:pt x="181" y="1503"/>
                    </a:lnTo>
                    <a:lnTo>
                      <a:pt x="143" y="1450"/>
                    </a:lnTo>
                    <a:lnTo>
                      <a:pt x="109" y="1395"/>
                    </a:lnTo>
                    <a:lnTo>
                      <a:pt x="78" y="1339"/>
                    </a:lnTo>
                    <a:lnTo>
                      <a:pt x="53" y="1279"/>
                    </a:lnTo>
                    <a:lnTo>
                      <a:pt x="33" y="1219"/>
                    </a:lnTo>
                    <a:lnTo>
                      <a:pt x="17" y="1157"/>
                    </a:lnTo>
                    <a:lnTo>
                      <a:pt x="6" y="1094"/>
                    </a:lnTo>
                    <a:lnTo>
                      <a:pt x="1" y="1031"/>
                    </a:lnTo>
                    <a:lnTo>
                      <a:pt x="0" y="968"/>
                    </a:lnTo>
                    <a:lnTo>
                      <a:pt x="5" y="904"/>
                    </a:lnTo>
                    <a:lnTo>
                      <a:pt x="15" y="842"/>
                    </a:lnTo>
                    <a:lnTo>
                      <a:pt x="32" y="775"/>
                    </a:lnTo>
                    <a:lnTo>
                      <a:pt x="53" y="711"/>
                    </a:lnTo>
                    <a:lnTo>
                      <a:pt x="78" y="649"/>
                    </a:lnTo>
                    <a:lnTo>
                      <a:pt x="108" y="591"/>
                    </a:lnTo>
                    <a:lnTo>
                      <a:pt x="143" y="535"/>
                    </a:lnTo>
                    <a:lnTo>
                      <a:pt x="180" y="483"/>
                    </a:lnTo>
                    <a:lnTo>
                      <a:pt x="222" y="432"/>
                    </a:lnTo>
                    <a:lnTo>
                      <a:pt x="268" y="385"/>
                    </a:lnTo>
                    <a:lnTo>
                      <a:pt x="316" y="341"/>
                    </a:lnTo>
                    <a:lnTo>
                      <a:pt x="367" y="299"/>
                    </a:lnTo>
                    <a:lnTo>
                      <a:pt x="421" y="259"/>
                    </a:lnTo>
                    <a:lnTo>
                      <a:pt x="477" y="223"/>
                    </a:lnTo>
                    <a:lnTo>
                      <a:pt x="535" y="189"/>
                    </a:lnTo>
                    <a:lnTo>
                      <a:pt x="595" y="159"/>
                    </a:lnTo>
                    <a:lnTo>
                      <a:pt x="656" y="130"/>
                    </a:lnTo>
                    <a:lnTo>
                      <a:pt x="719" y="106"/>
                    </a:lnTo>
                    <a:lnTo>
                      <a:pt x="783" y="83"/>
                    </a:lnTo>
                    <a:lnTo>
                      <a:pt x="847" y="63"/>
                    </a:lnTo>
                    <a:lnTo>
                      <a:pt x="913" y="46"/>
                    </a:lnTo>
                    <a:lnTo>
                      <a:pt x="978" y="32"/>
                    </a:lnTo>
                    <a:lnTo>
                      <a:pt x="1045" y="20"/>
                    </a:lnTo>
                    <a:lnTo>
                      <a:pt x="1111" y="11"/>
                    </a:lnTo>
                    <a:lnTo>
                      <a:pt x="1176" y="4"/>
                    </a:lnTo>
                    <a:lnTo>
                      <a:pt x="1240" y="1"/>
                    </a:lnTo>
                    <a:lnTo>
                      <a:pt x="13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1A765881-3E82-4ADF-96B8-B9A8241282C4}"/>
                </a:ext>
              </a:extLst>
            </p:cNvPr>
            <p:cNvGrpSpPr/>
            <p:nvPr userDrawn="1"/>
          </p:nvGrpSpPr>
          <p:grpSpPr>
            <a:xfrm>
              <a:off x="1147098" y="1054100"/>
              <a:ext cx="328388" cy="522374"/>
              <a:chOff x="2915375" y="5436502"/>
              <a:chExt cx="183972" cy="292648"/>
            </a:xfrm>
            <a:grpFill/>
          </p:grpSpPr>
          <p:sp>
            <p:nvSpPr>
              <p:cNvPr id="14" name="Freeform 19">
                <a:extLst>
                  <a:ext uri="{FF2B5EF4-FFF2-40B4-BE49-F238E27FC236}">
                    <a16:creationId xmlns:a16="http://schemas.microsoft.com/office/drawing/2014/main" id="{AF9A3B14-F8B1-4E7D-B113-DB2EB5731E40}"/>
                  </a:ext>
                </a:extLst>
              </p:cNvPr>
              <p:cNvSpPr>
                <a:spLocks/>
              </p:cNvSpPr>
              <p:nvPr userDrawn="1"/>
            </p:nvSpPr>
            <p:spPr bwMode="auto">
              <a:xfrm>
                <a:off x="2915375" y="5436502"/>
                <a:ext cx="183972" cy="222008"/>
              </a:xfrm>
              <a:custGeom>
                <a:avLst/>
                <a:gdLst>
                  <a:gd name="T0" fmla="*/ 522 w 949"/>
                  <a:gd name="T1" fmla="*/ 2 h 1142"/>
                  <a:gd name="T2" fmla="*/ 616 w 949"/>
                  <a:gd name="T3" fmla="*/ 15 h 1142"/>
                  <a:gd name="T4" fmla="*/ 702 w 949"/>
                  <a:gd name="T5" fmla="*/ 45 h 1142"/>
                  <a:gd name="T6" fmla="*/ 779 w 949"/>
                  <a:gd name="T7" fmla="*/ 87 h 1142"/>
                  <a:gd name="T8" fmla="*/ 843 w 949"/>
                  <a:gd name="T9" fmla="*/ 144 h 1142"/>
                  <a:gd name="T10" fmla="*/ 895 w 949"/>
                  <a:gd name="T11" fmla="*/ 215 h 1142"/>
                  <a:gd name="T12" fmla="*/ 930 w 949"/>
                  <a:gd name="T13" fmla="*/ 296 h 1142"/>
                  <a:gd name="T14" fmla="*/ 947 w 949"/>
                  <a:gd name="T15" fmla="*/ 382 h 1142"/>
                  <a:gd name="T16" fmla="*/ 947 w 949"/>
                  <a:gd name="T17" fmla="*/ 470 h 1142"/>
                  <a:gd name="T18" fmla="*/ 931 w 949"/>
                  <a:gd name="T19" fmla="*/ 548 h 1142"/>
                  <a:gd name="T20" fmla="*/ 898 w 949"/>
                  <a:gd name="T21" fmla="*/ 617 h 1142"/>
                  <a:gd name="T22" fmla="*/ 838 w 949"/>
                  <a:gd name="T23" fmla="*/ 698 h 1142"/>
                  <a:gd name="T24" fmla="*/ 757 w 949"/>
                  <a:gd name="T25" fmla="*/ 778 h 1142"/>
                  <a:gd name="T26" fmla="*/ 677 w 949"/>
                  <a:gd name="T27" fmla="*/ 856 h 1142"/>
                  <a:gd name="T28" fmla="*/ 643 w 949"/>
                  <a:gd name="T29" fmla="*/ 907 h 1142"/>
                  <a:gd name="T30" fmla="*/ 639 w 949"/>
                  <a:gd name="T31" fmla="*/ 965 h 1142"/>
                  <a:gd name="T32" fmla="*/ 635 w 949"/>
                  <a:gd name="T33" fmla="*/ 1035 h 1142"/>
                  <a:gd name="T34" fmla="*/ 615 w 949"/>
                  <a:gd name="T35" fmla="*/ 1083 h 1142"/>
                  <a:gd name="T36" fmla="*/ 579 w 949"/>
                  <a:gd name="T37" fmla="*/ 1119 h 1142"/>
                  <a:gd name="T38" fmla="*/ 531 w 949"/>
                  <a:gd name="T39" fmla="*/ 1139 h 1142"/>
                  <a:gd name="T40" fmla="*/ 479 w 949"/>
                  <a:gd name="T41" fmla="*/ 1139 h 1142"/>
                  <a:gd name="T42" fmla="*/ 430 w 949"/>
                  <a:gd name="T43" fmla="*/ 1119 h 1142"/>
                  <a:gd name="T44" fmla="*/ 394 w 949"/>
                  <a:gd name="T45" fmla="*/ 1083 h 1142"/>
                  <a:gd name="T46" fmla="*/ 374 w 949"/>
                  <a:gd name="T47" fmla="*/ 1035 h 1142"/>
                  <a:gd name="T48" fmla="*/ 373 w 949"/>
                  <a:gd name="T49" fmla="*/ 956 h 1142"/>
                  <a:gd name="T50" fmla="*/ 380 w 949"/>
                  <a:gd name="T51" fmla="*/ 862 h 1142"/>
                  <a:gd name="T52" fmla="*/ 406 w 949"/>
                  <a:gd name="T53" fmla="*/ 784 h 1142"/>
                  <a:gd name="T54" fmla="*/ 457 w 949"/>
                  <a:gd name="T55" fmla="*/ 705 h 1142"/>
                  <a:gd name="T56" fmla="*/ 530 w 949"/>
                  <a:gd name="T57" fmla="*/ 627 h 1142"/>
                  <a:gd name="T58" fmla="*/ 648 w 949"/>
                  <a:gd name="T59" fmla="*/ 511 h 1142"/>
                  <a:gd name="T60" fmla="*/ 678 w 949"/>
                  <a:gd name="T61" fmla="*/ 464 h 1142"/>
                  <a:gd name="T62" fmla="*/ 683 w 949"/>
                  <a:gd name="T63" fmla="*/ 429 h 1142"/>
                  <a:gd name="T64" fmla="*/ 678 w 949"/>
                  <a:gd name="T65" fmla="*/ 380 h 1142"/>
                  <a:gd name="T66" fmla="*/ 661 w 949"/>
                  <a:gd name="T67" fmla="*/ 342 h 1142"/>
                  <a:gd name="T68" fmla="*/ 638 w 949"/>
                  <a:gd name="T69" fmla="*/ 314 h 1142"/>
                  <a:gd name="T70" fmla="*/ 599 w 949"/>
                  <a:gd name="T71" fmla="*/ 290 h 1142"/>
                  <a:gd name="T72" fmla="*/ 546 w 949"/>
                  <a:gd name="T73" fmla="*/ 273 h 1142"/>
                  <a:gd name="T74" fmla="*/ 480 w 949"/>
                  <a:gd name="T75" fmla="*/ 265 h 1142"/>
                  <a:gd name="T76" fmla="*/ 411 w 949"/>
                  <a:gd name="T77" fmla="*/ 273 h 1142"/>
                  <a:gd name="T78" fmla="*/ 356 w 949"/>
                  <a:gd name="T79" fmla="*/ 293 h 1142"/>
                  <a:gd name="T80" fmla="*/ 315 w 949"/>
                  <a:gd name="T81" fmla="*/ 323 h 1142"/>
                  <a:gd name="T82" fmla="*/ 287 w 949"/>
                  <a:gd name="T83" fmla="*/ 362 h 1142"/>
                  <a:gd name="T84" fmla="*/ 269 w 949"/>
                  <a:gd name="T85" fmla="*/ 412 h 1142"/>
                  <a:gd name="T86" fmla="*/ 267 w 949"/>
                  <a:gd name="T87" fmla="*/ 473 h 1142"/>
                  <a:gd name="T88" fmla="*/ 260 w 949"/>
                  <a:gd name="T89" fmla="*/ 525 h 1142"/>
                  <a:gd name="T90" fmla="*/ 235 w 949"/>
                  <a:gd name="T91" fmla="*/ 569 h 1142"/>
                  <a:gd name="T92" fmla="*/ 195 w 949"/>
                  <a:gd name="T93" fmla="*/ 602 h 1142"/>
                  <a:gd name="T94" fmla="*/ 144 w 949"/>
                  <a:gd name="T95" fmla="*/ 615 h 1142"/>
                  <a:gd name="T96" fmla="*/ 93 w 949"/>
                  <a:gd name="T97" fmla="*/ 609 h 1142"/>
                  <a:gd name="T98" fmla="*/ 48 w 949"/>
                  <a:gd name="T99" fmla="*/ 585 h 1142"/>
                  <a:gd name="T100" fmla="*/ 16 w 949"/>
                  <a:gd name="T101" fmla="*/ 545 h 1142"/>
                  <a:gd name="T102" fmla="*/ 2 w 949"/>
                  <a:gd name="T103" fmla="*/ 494 h 1142"/>
                  <a:gd name="T104" fmla="*/ 3 w 949"/>
                  <a:gd name="T105" fmla="*/ 391 h 1142"/>
                  <a:gd name="T106" fmla="*/ 26 w 949"/>
                  <a:gd name="T107" fmla="*/ 295 h 1142"/>
                  <a:gd name="T108" fmla="*/ 68 w 949"/>
                  <a:gd name="T109" fmla="*/ 208 h 1142"/>
                  <a:gd name="T110" fmla="*/ 127 w 949"/>
                  <a:gd name="T111" fmla="*/ 136 h 1142"/>
                  <a:gd name="T112" fmla="*/ 199 w 949"/>
                  <a:gd name="T113" fmla="*/ 78 h 1142"/>
                  <a:gd name="T114" fmla="*/ 283 w 949"/>
                  <a:gd name="T115" fmla="*/ 34 h 1142"/>
                  <a:gd name="T116" fmla="*/ 376 w 949"/>
                  <a:gd name="T117" fmla="*/ 9 h 1142"/>
                  <a:gd name="T118" fmla="*/ 473 w 949"/>
                  <a:gd name="T119" fmla="*/ 0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9" h="1142">
                    <a:moveTo>
                      <a:pt x="473" y="0"/>
                    </a:moveTo>
                    <a:lnTo>
                      <a:pt x="522" y="2"/>
                    </a:lnTo>
                    <a:lnTo>
                      <a:pt x="570" y="7"/>
                    </a:lnTo>
                    <a:lnTo>
                      <a:pt x="616" y="15"/>
                    </a:lnTo>
                    <a:lnTo>
                      <a:pt x="659" y="28"/>
                    </a:lnTo>
                    <a:lnTo>
                      <a:pt x="702" y="45"/>
                    </a:lnTo>
                    <a:lnTo>
                      <a:pt x="742" y="64"/>
                    </a:lnTo>
                    <a:lnTo>
                      <a:pt x="779" y="87"/>
                    </a:lnTo>
                    <a:lnTo>
                      <a:pt x="813" y="114"/>
                    </a:lnTo>
                    <a:lnTo>
                      <a:pt x="843" y="144"/>
                    </a:lnTo>
                    <a:lnTo>
                      <a:pt x="872" y="179"/>
                    </a:lnTo>
                    <a:lnTo>
                      <a:pt x="895" y="215"/>
                    </a:lnTo>
                    <a:lnTo>
                      <a:pt x="915" y="255"/>
                    </a:lnTo>
                    <a:lnTo>
                      <a:pt x="930" y="296"/>
                    </a:lnTo>
                    <a:lnTo>
                      <a:pt x="940" y="338"/>
                    </a:lnTo>
                    <a:lnTo>
                      <a:pt x="947" y="382"/>
                    </a:lnTo>
                    <a:lnTo>
                      <a:pt x="949" y="429"/>
                    </a:lnTo>
                    <a:lnTo>
                      <a:pt x="947" y="470"/>
                    </a:lnTo>
                    <a:lnTo>
                      <a:pt x="940" y="510"/>
                    </a:lnTo>
                    <a:lnTo>
                      <a:pt x="931" y="548"/>
                    </a:lnTo>
                    <a:lnTo>
                      <a:pt x="916" y="584"/>
                    </a:lnTo>
                    <a:lnTo>
                      <a:pt x="898" y="617"/>
                    </a:lnTo>
                    <a:lnTo>
                      <a:pt x="871" y="659"/>
                    </a:lnTo>
                    <a:lnTo>
                      <a:pt x="838" y="698"/>
                    </a:lnTo>
                    <a:lnTo>
                      <a:pt x="803" y="735"/>
                    </a:lnTo>
                    <a:lnTo>
                      <a:pt x="757" y="778"/>
                    </a:lnTo>
                    <a:lnTo>
                      <a:pt x="709" y="822"/>
                    </a:lnTo>
                    <a:lnTo>
                      <a:pt x="677" y="856"/>
                    </a:lnTo>
                    <a:lnTo>
                      <a:pt x="649" y="894"/>
                    </a:lnTo>
                    <a:lnTo>
                      <a:pt x="643" y="907"/>
                    </a:lnTo>
                    <a:lnTo>
                      <a:pt x="641" y="920"/>
                    </a:lnTo>
                    <a:lnTo>
                      <a:pt x="639" y="965"/>
                    </a:lnTo>
                    <a:lnTo>
                      <a:pt x="638" y="1009"/>
                    </a:lnTo>
                    <a:lnTo>
                      <a:pt x="635" y="1035"/>
                    </a:lnTo>
                    <a:lnTo>
                      <a:pt x="627" y="1061"/>
                    </a:lnTo>
                    <a:lnTo>
                      <a:pt x="615" y="1083"/>
                    </a:lnTo>
                    <a:lnTo>
                      <a:pt x="599" y="1103"/>
                    </a:lnTo>
                    <a:lnTo>
                      <a:pt x="579" y="1119"/>
                    </a:lnTo>
                    <a:lnTo>
                      <a:pt x="557" y="1131"/>
                    </a:lnTo>
                    <a:lnTo>
                      <a:pt x="531" y="1139"/>
                    </a:lnTo>
                    <a:lnTo>
                      <a:pt x="505" y="1142"/>
                    </a:lnTo>
                    <a:lnTo>
                      <a:pt x="479" y="1139"/>
                    </a:lnTo>
                    <a:lnTo>
                      <a:pt x="453" y="1131"/>
                    </a:lnTo>
                    <a:lnTo>
                      <a:pt x="430" y="1119"/>
                    </a:lnTo>
                    <a:lnTo>
                      <a:pt x="411" y="1103"/>
                    </a:lnTo>
                    <a:lnTo>
                      <a:pt x="394" y="1083"/>
                    </a:lnTo>
                    <a:lnTo>
                      <a:pt x="383" y="1061"/>
                    </a:lnTo>
                    <a:lnTo>
                      <a:pt x="374" y="1035"/>
                    </a:lnTo>
                    <a:lnTo>
                      <a:pt x="372" y="1009"/>
                    </a:lnTo>
                    <a:lnTo>
                      <a:pt x="373" y="956"/>
                    </a:lnTo>
                    <a:lnTo>
                      <a:pt x="375" y="903"/>
                    </a:lnTo>
                    <a:lnTo>
                      <a:pt x="380" y="862"/>
                    </a:lnTo>
                    <a:lnTo>
                      <a:pt x="391" y="822"/>
                    </a:lnTo>
                    <a:lnTo>
                      <a:pt x="406" y="784"/>
                    </a:lnTo>
                    <a:lnTo>
                      <a:pt x="427" y="748"/>
                    </a:lnTo>
                    <a:lnTo>
                      <a:pt x="457" y="705"/>
                    </a:lnTo>
                    <a:lnTo>
                      <a:pt x="492" y="664"/>
                    </a:lnTo>
                    <a:lnTo>
                      <a:pt x="530" y="627"/>
                    </a:lnTo>
                    <a:lnTo>
                      <a:pt x="619" y="544"/>
                    </a:lnTo>
                    <a:lnTo>
                      <a:pt x="648" y="511"/>
                    </a:lnTo>
                    <a:lnTo>
                      <a:pt x="673" y="477"/>
                    </a:lnTo>
                    <a:lnTo>
                      <a:pt x="678" y="464"/>
                    </a:lnTo>
                    <a:lnTo>
                      <a:pt x="682" y="448"/>
                    </a:lnTo>
                    <a:lnTo>
                      <a:pt x="683" y="429"/>
                    </a:lnTo>
                    <a:lnTo>
                      <a:pt x="682" y="404"/>
                    </a:lnTo>
                    <a:lnTo>
                      <a:pt x="678" y="380"/>
                    </a:lnTo>
                    <a:lnTo>
                      <a:pt x="670" y="359"/>
                    </a:lnTo>
                    <a:lnTo>
                      <a:pt x="661" y="342"/>
                    </a:lnTo>
                    <a:lnTo>
                      <a:pt x="650" y="328"/>
                    </a:lnTo>
                    <a:lnTo>
                      <a:pt x="638" y="314"/>
                    </a:lnTo>
                    <a:lnTo>
                      <a:pt x="620" y="301"/>
                    </a:lnTo>
                    <a:lnTo>
                      <a:pt x="599" y="290"/>
                    </a:lnTo>
                    <a:lnTo>
                      <a:pt x="576" y="280"/>
                    </a:lnTo>
                    <a:lnTo>
                      <a:pt x="546" y="273"/>
                    </a:lnTo>
                    <a:lnTo>
                      <a:pt x="513" y="267"/>
                    </a:lnTo>
                    <a:lnTo>
                      <a:pt x="480" y="265"/>
                    </a:lnTo>
                    <a:lnTo>
                      <a:pt x="445" y="267"/>
                    </a:lnTo>
                    <a:lnTo>
                      <a:pt x="411" y="273"/>
                    </a:lnTo>
                    <a:lnTo>
                      <a:pt x="380" y="282"/>
                    </a:lnTo>
                    <a:lnTo>
                      <a:pt x="356" y="293"/>
                    </a:lnTo>
                    <a:lnTo>
                      <a:pt x="334" y="308"/>
                    </a:lnTo>
                    <a:lnTo>
                      <a:pt x="315" y="323"/>
                    </a:lnTo>
                    <a:lnTo>
                      <a:pt x="299" y="342"/>
                    </a:lnTo>
                    <a:lnTo>
                      <a:pt x="287" y="362"/>
                    </a:lnTo>
                    <a:lnTo>
                      <a:pt x="276" y="386"/>
                    </a:lnTo>
                    <a:lnTo>
                      <a:pt x="269" y="412"/>
                    </a:lnTo>
                    <a:lnTo>
                      <a:pt x="266" y="441"/>
                    </a:lnTo>
                    <a:lnTo>
                      <a:pt x="267" y="473"/>
                    </a:lnTo>
                    <a:lnTo>
                      <a:pt x="266" y="499"/>
                    </a:lnTo>
                    <a:lnTo>
                      <a:pt x="260" y="525"/>
                    </a:lnTo>
                    <a:lnTo>
                      <a:pt x="250" y="549"/>
                    </a:lnTo>
                    <a:lnTo>
                      <a:pt x="235" y="569"/>
                    </a:lnTo>
                    <a:lnTo>
                      <a:pt x="217" y="587"/>
                    </a:lnTo>
                    <a:lnTo>
                      <a:pt x="195" y="602"/>
                    </a:lnTo>
                    <a:lnTo>
                      <a:pt x="171" y="611"/>
                    </a:lnTo>
                    <a:lnTo>
                      <a:pt x="144" y="615"/>
                    </a:lnTo>
                    <a:lnTo>
                      <a:pt x="118" y="615"/>
                    </a:lnTo>
                    <a:lnTo>
                      <a:pt x="93" y="609"/>
                    </a:lnTo>
                    <a:lnTo>
                      <a:pt x="68" y="600"/>
                    </a:lnTo>
                    <a:lnTo>
                      <a:pt x="48" y="585"/>
                    </a:lnTo>
                    <a:lnTo>
                      <a:pt x="30" y="566"/>
                    </a:lnTo>
                    <a:lnTo>
                      <a:pt x="16" y="545"/>
                    </a:lnTo>
                    <a:lnTo>
                      <a:pt x="6" y="521"/>
                    </a:lnTo>
                    <a:lnTo>
                      <a:pt x="2" y="494"/>
                    </a:lnTo>
                    <a:lnTo>
                      <a:pt x="0" y="441"/>
                    </a:lnTo>
                    <a:lnTo>
                      <a:pt x="3" y="391"/>
                    </a:lnTo>
                    <a:lnTo>
                      <a:pt x="12" y="341"/>
                    </a:lnTo>
                    <a:lnTo>
                      <a:pt x="26" y="295"/>
                    </a:lnTo>
                    <a:lnTo>
                      <a:pt x="45" y="251"/>
                    </a:lnTo>
                    <a:lnTo>
                      <a:pt x="68" y="208"/>
                    </a:lnTo>
                    <a:lnTo>
                      <a:pt x="96" y="170"/>
                    </a:lnTo>
                    <a:lnTo>
                      <a:pt x="127" y="136"/>
                    </a:lnTo>
                    <a:lnTo>
                      <a:pt x="162" y="104"/>
                    </a:lnTo>
                    <a:lnTo>
                      <a:pt x="199" y="78"/>
                    </a:lnTo>
                    <a:lnTo>
                      <a:pt x="240" y="53"/>
                    </a:lnTo>
                    <a:lnTo>
                      <a:pt x="283" y="34"/>
                    </a:lnTo>
                    <a:lnTo>
                      <a:pt x="329" y="20"/>
                    </a:lnTo>
                    <a:lnTo>
                      <a:pt x="376" y="9"/>
                    </a:lnTo>
                    <a:lnTo>
                      <a:pt x="425" y="3"/>
                    </a:lnTo>
                    <a:lnTo>
                      <a:pt x="4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0">
                <a:extLst>
                  <a:ext uri="{FF2B5EF4-FFF2-40B4-BE49-F238E27FC236}">
                    <a16:creationId xmlns:a16="http://schemas.microsoft.com/office/drawing/2014/main" id="{8B2015D4-AFA9-42A4-A4A9-EB66E198F812}"/>
                  </a:ext>
                </a:extLst>
              </p:cNvPr>
              <p:cNvSpPr>
                <a:spLocks/>
              </p:cNvSpPr>
              <p:nvPr userDrawn="1"/>
            </p:nvSpPr>
            <p:spPr bwMode="auto">
              <a:xfrm>
                <a:off x="2989119" y="5677141"/>
                <a:ext cx="51233" cy="52009"/>
              </a:xfrm>
              <a:custGeom>
                <a:avLst/>
                <a:gdLst>
                  <a:gd name="T0" fmla="*/ 133 w 266"/>
                  <a:gd name="T1" fmla="*/ 0 h 266"/>
                  <a:gd name="T2" fmla="*/ 161 w 266"/>
                  <a:gd name="T3" fmla="*/ 2 h 266"/>
                  <a:gd name="T4" fmla="*/ 185 w 266"/>
                  <a:gd name="T5" fmla="*/ 10 h 266"/>
                  <a:gd name="T6" fmla="*/ 208 w 266"/>
                  <a:gd name="T7" fmla="*/ 22 h 266"/>
                  <a:gd name="T8" fmla="*/ 227 w 266"/>
                  <a:gd name="T9" fmla="*/ 39 h 266"/>
                  <a:gd name="T10" fmla="*/ 244 w 266"/>
                  <a:gd name="T11" fmla="*/ 59 h 266"/>
                  <a:gd name="T12" fmla="*/ 256 w 266"/>
                  <a:gd name="T13" fmla="*/ 81 h 266"/>
                  <a:gd name="T14" fmla="*/ 264 w 266"/>
                  <a:gd name="T15" fmla="*/ 106 h 266"/>
                  <a:gd name="T16" fmla="*/ 266 w 266"/>
                  <a:gd name="T17" fmla="*/ 133 h 266"/>
                  <a:gd name="T18" fmla="*/ 264 w 266"/>
                  <a:gd name="T19" fmla="*/ 159 h 266"/>
                  <a:gd name="T20" fmla="*/ 256 w 266"/>
                  <a:gd name="T21" fmla="*/ 184 h 266"/>
                  <a:gd name="T22" fmla="*/ 244 w 266"/>
                  <a:gd name="T23" fmla="*/ 206 h 266"/>
                  <a:gd name="T24" fmla="*/ 227 w 266"/>
                  <a:gd name="T25" fmla="*/ 227 h 266"/>
                  <a:gd name="T26" fmla="*/ 208 w 266"/>
                  <a:gd name="T27" fmla="*/ 242 h 266"/>
                  <a:gd name="T28" fmla="*/ 185 w 266"/>
                  <a:gd name="T29" fmla="*/ 255 h 266"/>
                  <a:gd name="T30" fmla="*/ 161 w 266"/>
                  <a:gd name="T31" fmla="*/ 262 h 266"/>
                  <a:gd name="T32" fmla="*/ 133 w 266"/>
                  <a:gd name="T33" fmla="*/ 266 h 266"/>
                  <a:gd name="T34" fmla="*/ 107 w 266"/>
                  <a:gd name="T35" fmla="*/ 262 h 266"/>
                  <a:gd name="T36" fmla="*/ 82 w 266"/>
                  <a:gd name="T37" fmla="*/ 255 h 266"/>
                  <a:gd name="T38" fmla="*/ 59 w 266"/>
                  <a:gd name="T39" fmla="*/ 242 h 266"/>
                  <a:gd name="T40" fmla="*/ 39 w 266"/>
                  <a:gd name="T41" fmla="*/ 227 h 266"/>
                  <a:gd name="T42" fmla="*/ 24 w 266"/>
                  <a:gd name="T43" fmla="*/ 206 h 266"/>
                  <a:gd name="T44" fmla="*/ 11 w 266"/>
                  <a:gd name="T45" fmla="*/ 184 h 266"/>
                  <a:gd name="T46" fmla="*/ 4 w 266"/>
                  <a:gd name="T47" fmla="*/ 159 h 266"/>
                  <a:gd name="T48" fmla="*/ 0 w 266"/>
                  <a:gd name="T49" fmla="*/ 133 h 266"/>
                  <a:gd name="T50" fmla="*/ 4 w 266"/>
                  <a:gd name="T51" fmla="*/ 106 h 266"/>
                  <a:gd name="T52" fmla="*/ 11 w 266"/>
                  <a:gd name="T53" fmla="*/ 81 h 266"/>
                  <a:gd name="T54" fmla="*/ 24 w 266"/>
                  <a:gd name="T55" fmla="*/ 59 h 266"/>
                  <a:gd name="T56" fmla="*/ 39 w 266"/>
                  <a:gd name="T57" fmla="*/ 39 h 266"/>
                  <a:gd name="T58" fmla="*/ 59 w 266"/>
                  <a:gd name="T59" fmla="*/ 22 h 266"/>
                  <a:gd name="T60" fmla="*/ 82 w 266"/>
                  <a:gd name="T61" fmla="*/ 10 h 266"/>
                  <a:gd name="T62" fmla="*/ 107 w 266"/>
                  <a:gd name="T63" fmla="*/ 2 h 266"/>
                  <a:gd name="T64" fmla="*/ 133 w 266"/>
                  <a:gd name="T6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6" h="266">
                    <a:moveTo>
                      <a:pt x="133" y="0"/>
                    </a:moveTo>
                    <a:lnTo>
                      <a:pt x="161" y="2"/>
                    </a:lnTo>
                    <a:lnTo>
                      <a:pt x="185" y="10"/>
                    </a:lnTo>
                    <a:lnTo>
                      <a:pt x="208" y="22"/>
                    </a:lnTo>
                    <a:lnTo>
                      <a:pt x="227" y="39"/>
                    </a:lnTo>
                    <a:lnTo>
                      <a:pt x="244" y="59"/>
                    </a:lnTo>
                    <a:lnTo>
                      <a:pt x="256" y="81"/>
                    </a:lnTo>
                    <a:lnTo>
                      <a:pt x="264" y="106"/>
                    </a:lnTo>
                    <a:lnTo>
                      <a:pt x="266" y="133"/>
                    </a:lnTo>
                    <a:lnTo>
                      <a:pt x="264" y="159"/>
                    </a:lnTo>
                    <a:lnTo>
                      <a:pt x="256" y="184"/>
                    </a:lnTo>
                    <a:lnTo>
                      <a:pt x="244" y="206"/>
                    </a:lnTo>
                    <a:lnTo>
                      <a:pt x="227" y="227"/>
                    </a:lnTo>
                    <a:lnTo>
                      <a:pt x="208" y="242"/>
                    </a:lnTo>
                    <a:lnTo>
                      <a:pt x="185" y="255"/>
                    </a:lnTo>
                    <a:lnTo>
                      <a:pt x="161" y="262"/>
                    </a:lnTo>
                    <a:lnTo>
                      <a:pt x="133" y="266"/>
                    </a:lnTo>
                    <a:lnTo>
                      <a:pt x="107" y="262"/>
                    </a:lnTo>
                    <a:lnTo>
                      <a:pt x="82" y="255"/>
                    </a:lnTo>
                    <a:lnTo>
                      <a:pt x="59" y="242"/>
                    </a:lnTo>
                    <a:lnTo>
                      <a:pt x="39" y="227"/>
                    </a:lnTo>
                    <a:lnTo>
                      <a:pt x="24" y="206"/>
                    </a:lnTo>
                    <a:lnTo>
                      <a:pt x="11" y="184"/>
                    </a:lnTo>
                    <a:lnTo>
                      <a:pt x="4" y="159"/>
                    </a:lnTo>
                    <a:lnTo>
                      <a:pt x="0" y="133"/>
                    </a:lnTo>
                    <a:lnTo>
                      <a:pt x="4" y="106"/>
                    </a:lnTo>
                    <a:lnTo>
                      <a:pt x="11" y="81"/>
                    </a:lnTo>
                    <a:lnTo>
                      <a:pt x="24" y="59"/>
                    </a:lnTo>
                    <a:lnTo>
                      <a:pt x="39" y="39"/>
                    </a:lnTo>
                    <a:lnTo>
                      <a:pt x="59" y="22"/>
                    </a:lnTo>
                    <a:lnTo>
                      <a:pt x="82" y="10"/>
                    </a:lnTo>
                    <a:lnTo>
                      <a:pt x="107" y="2"/>
                    </a:lnTo>
                    <a:lnTo>
                      <a:pt x="1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 name="Title 17">
            <a:extLst>
              <a:ext uri="{FF2B5EF4-FFF2-40B4-BE49-F238E27FC236}">
                <a16:creationId xmlns:a16="http://schemas.microsoft.com/office/drawing/2014/main" id="{C2B64B8A-D52A-4078-9319-DE45F0929F4A}"/>
              </a:ext>
            </a:extLst>
          </p:cNvPr>
          <p:cNvSpPr txBox="1">
            <a:spLocks/>
          </p:cNvSpPr>
          <p:nvPr/>
        </p:nvSpPr>
        <p:spPr>
          <a:xfrm>
            <a:off x="914400" y="3554585"/>
            <a:ext cx="10363200" cy="747897"/>
          </a:xfrm>
          <a:prstGeom prst="rect">
            <a:avLst/>
          </a:prstGeom>
        </p:spPr>
        <p:txBody>
          <a:bodyPr vert="horz" wrap="square" lIns="0" tIns="0" rIns="0" bIns="0" rtlCol="0" anchor="ctr">
            <a:spAutoFit/>
          </a:bodyPr>
          <a:lstStyle>
            <a:lvl1pPr algn="ctr" defTabSz="914400" rtl="0" eaLnBrk="1" latinLnBrk="0" hangingPunct="1">
              <a:lnSpc>
                <a:spcPct val="90000"/>
              </a:lnSpc>
              <a:spcBef>
                <a:spcPct val="0"/>
              </a:spcBef>
              <a:buNone/>
              <a:defRPr sz="5400" b="0" kern="1200">
                <a:ln w="3175">
                  <a:solidFill>
                    <a:schemeClr val="accent1"/>
                  </a:solidFill>
                </a:ln>
                <a:solidFill>
                  <a:schemeClr val="bg1"/>
                </a:solidFill>
                <a:latin typeface="+mj-lt"/>
                <a:ea typeface="+mj-ea"/>
                <a:cs typeface="+mj-cs"/>
              </a:defRPr>
            </a:lvl1pPr>
          </a:lstStyle>
          <a:p>
            <a:r>
              <a:rPr lang="en-US">
                <a:ln w="3175">
                  <a:noFill/>
                </a:ln>
              </a:rPr>
              <a:t>Questions and Next Steps</a:t>
            </a:r>
          </a:p>
        </p:txBody>
      </p:sp>
    </p:spTree>
    <p:extLst>
      <p:ext uri="{BB962C8B-B14F-4D97-AF65-F5344CB8AC3E}">
        <p14:creationId xmlns:p14="http://schemas.microsoft.com/office/powerpoint/2010/main" val="29834287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End (White)">
    <p:bg>
      <p:bgPr>
        <a:solidFill>
          <a:schemeClr val="bg1"/>
        </a:solidFill>
        <a:effectLst/>
      </p:bgPr>
    </p:bg>
    <p:spTree>
      <p:nvGrpSpPr>
        <p:cNvPr id="1" name=""/>
        <p:cNvGrpSpPr/>
        <p:nvPr/>
      </p:nvGrpSpPr>
      <p:grpSpPr>
        <a:xfrm>
          <a:off x="0" y="0"/>
          <a:ext cx="0" cy="0"/>
          <a:chOff x="0" y="0"/>
          <a:chExt cx="0" cy="0"/>
        </a:xfrm>
      </p:grpSpPr>
      <p:grpSp>
        <p:nvGrpSpPr>
          <p:cNvPr id="76" name="Graphic 55">
            <a:extLst>
              <a:ext uri="{FF2B5EF4-FFF2-40B4-BE49-F238E27FC236}">
                <a16:creationId xmlns:a16="http://schemas.microsoft.com/office/drawing/2014/main" id="{73F1EF5E-2F2D-401E-A1A0-3A923A620C1A}"/>
              </a:ext>
            </a:extLst>
          </p:cNvPr>
          <p:cNvGrpSpPr/>
          <p:nvPr/>
        </p:nvGrpSpPr>
        <p:grpSpPr>
          <a:xfrm>
            <a:off x="3415181" y="2516536"/>
            <a:ext cx="5411319" cy="1983622"/>
            <a:chOff x="3415181" y="2303021"/>
            <a:chExt cx="5411319" cy="1983622"/>
          </a:xfrm>
          <a:solidFill>
            <a:schemeClr val="tx1"/>
          </a:solidFill>
        </p:grpSpPr>
        <p:sp>
          <p:nvSpPr>
            <p:cNvPr id="77" name="Freeform: Shape 76">
              <a:extLst>
                <a:ext uri="{FF2B5EF4-FFF2-40B4-BE49-F238E27FC236}">
                  <a16:creationId xmlns:a16="http://schemas.microsoft.com/office/drawing/2014/main" id="{A147ACE1-8F7E-4EFD-AD9D-FCA176A43D44}"/>
                </a:ext>
              </a:extLst>
            </p:cNvPr>
            <p:cNvSpPr/>
            <p:nvPr/>
          </p:nvSpPr>
          <p:spPr>
            <a:xfrm>
              <a:off x="4490304" y="2760841"/>
              <a:ext cx="507807" cy="698235"/>
            </a:xfrm>
            <a:custGeom>
              <a:avLst/>
              <a:gdLst>
                <a:gd name="connsiteX0" fmla="*/ 302304 w 507807"/>
                <a:gd name="connsiteY0" fmla="*/ 76965 h 698234"/>
                <a:gd name="connsiteX1" fmla="*/ 302304 w 507807"/>
                <a:gd name="connsiteY1" fmla="*/ 700615 h 698234"/>
                <a:gd name="connsiteX2" fmla="*/ 208677 w 507807"/>
                <a:gd name="connsiteY2" fmla="*/ 700615 h 698234"/>
                <a:gd name="connsiteX3" fmla="*/ 208677 w 507807"/>
                <a:gd name="connsiteY3" fmla="*/ 76965 h 698234"/>
                <a:gd name="connsiteX4" fmla="*/ 11902 w 507807"/>
                <a:gd name="connsiteY4" fmla="*/ 76965 h 698234"/>
                <a:gd name="connsiteX5" fmla="*/ 11902 w 507807"/>
                <a:gd name="connsiteY5" fmla="*/ 11902 h 698234"/>
                <a:gd name="connsiteX6" fmla="*/ 499079 w 507807"/>
                <a:gd name="connsiteY6" fmla="*/ 11902 h 698234"/>
                <a:gd name="connsiteX7" fmla="*/ 499079 w 507807"/>
                <a:gd name="connsiteY7" fmla="*/ 76965 h 698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807" h="698234">
                  <a:moveTo>
                    <a:pt x="302304" y="76965"/>
                  </a:moveTo>
                  <a:lnTo>
                    <a:pt x="302304" y="700615"/>
                  </a:lnTo>
                  <a:lnTo>
                    <a:pt x="208677" y="700615"/>
                  </a:lnTo>
                  <a:lnTo>
                    <a:pt x="208677" y="76965"/>
                  </a:lnTo>
                  <a:lnTo>
                    <a:pt x="11902" y="76965"/>
                  </a:lnTo>
                  <a:lnTo>
                    <a:pt x="11902" y="11902"/>
                  </a:lnTo>
                  <a:lnTo>
                    <a:pt x="499079" y="11902"/>
                  </a:lnTo>
                  <a:lnTo>
                    <a:pt x="499079" y="76965"/>
                  </a:lnTo>
                  <a:close/>
                </a:path>
              </a:pathLst>
            </a:custGeom>
            <a:grpFill/>
            <a:ln w="9525"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9E70DB87-12B9-4319-9C77-89CFE2DAC855}"/>
                </a:ext>
              </a:extLst>
            </p:cNvPr>
            <p:cNvSpPr/>
            <p:nvPr/>
          </p:nvSpPr>
          <p:spPr>
            <a:xfrm>
              <a:off x="4917179" y="2954442"/>
              <a:ext cx="269773" cy="507807"/>
            </a:xfrm>
            <a:custGeom>
              <a:avLst/>
              <a:gdLst>
                <a:gd name="connsiteX0" fmla="*/ 11902 w 269772"/>
                <a:gd name="connsiteY0" fmla="*/ 507014 h 507807"/>
                <a:gd name="connsiteX1" fmla="*/ 11902 w 269772"/>
                <a:gd name="connsiteY1" fmla="*/ 19836 h 507807"/>
                <a:gd name="connsiteX2" fmla="*/ 96007 w 269772"/>
                <a:gd name="connsiteY2" fmla="*/ 19836 h 507807"/>
                <a:gd name="connsiteX3" fmla="*/ 96007 w 269772"/>
                <a:gd name="connsiteY3" fmla="*/ 83312 h 507807"/>
                <a:gd name="connsiteX4" fmla="*/ 215024 w 269772"/>
                <a:gd name="connsiteY4" fmla="*/ 11902 h 507807"/>
                <a:gd name="connsiteX5" fmla="*/ 272153 w 269772"/>
                <a:gd name="connsiteY5" fmla="*/ 30945 h 507807"/>
                <a:gd name="connsiteX6" fmla="*/ 272153 w 269772"/>
                <a:gd name="connsiteY6" fmla="*/ 107116 h 507807"/>
                <a:gd name="connsiteX7" fmla="*/ 191221 w 269772"/>
                <a:gd name="connsiteY7" fmla="*/ 80138 h 507807"/>
                <a:gd name="connsiteX8" fmla="*/ 96007 w 269772"/>
                <a:gd name="connsiteY8" fmla="*/ 172178 h 507807"/>
                <a:gd name="connsiteX9" fmla="*/ 96007 w 269772"/>
                <a:gd name="connsiteY9" fmla="*/ 507014 h 507807"/>
                <a:gd name="connsiteX10" fmla="*/ 11902 w 269772"/>
                <a:gd name="connsiteY10" fmla="*/ 507014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772" h="507807">
                  <a:moveTo>
                    <a:pt x="11902" y="507014"/>
                  </a:moveTo>
                  <a:lnTo>
                    <a:pt x="11902" y="19836"/>
                  </a:lnTo>
                  <a:lnTo>
                    <a:pt x="96007" y="19836"/>
                  </a:lnTo>
                  <a:lnTo>
                    <a:pt x="96007" y="83312"/>
                  </a:lnTo>
                  <a:cubicBezTo>
                    <a:pt x="107116" y="67443"/>
                    <a:pt x="145201" y="11902"/>
                    <a:pt x="215024" y="11902"/>
                  </a:cubicBezTo>
                  <a:cubicBezTo>
                    <a:pt x="245176" y="11902"/>
                    <a:pt x="261045" y="23010"/>
                    <a:pt x="272153" y="30945"/>
                  </a:cubicBezTo>
                  <a:lnTo>
                    <a:pt x="272153" y="107116"/>
                  </a:lnTo>
                  <a:cubicBezTo>
                    <a:pt x="259458" y="97594"/>
                    <a:pt x="232480" y="80138"/>
                    <a:pt x="191221" y="80138"/>
                  </a:cubicBezTo>
                  <a:cubicBezTo>
                    <a:pt x="107116" y="80138"/>
                    <a:pt x="96007" y="146788"/>
                    <a:pt x="96007" y="172178"/>
                  </a:cubicBezTo>
                  <a:lnTo>
                    <a:pt x="96007" y="507014"/>
                  </a:lnTo>
                  <a:lnTo>
                    <a:pt x="11902" y="507014"/>
                  </a:lnTo>
                  <a:close/>
                </a:path>
              </a:pathLst>
            </a:custGeom>
            <a:grpFill/>
            <a:ln w="95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1D191400-2E0B-4701-9D52-9BE5911BBCAB}"/>
                </a:ext>
              </a:extLst>
            </p:cNvPr>
            <p:cNvSpPr/>
            <p:nvPr/>
          </p:nvSpPr>
          <p:spPr>
            <a:xfrm>
              <a:off x="5248841" y="2962377"/>
              <a:ext cx="412593" cy="507807"/>
            </a:xfrm>
            <a:custGeom>
              <a:avLst/>
              <a:gdLst>
                <a:gd name="connsiteX0" fmla="*/ 319760 w 412593"/>
                <a:gd name="connsiteY0" fmla="*/ 499079 h 507807"/>
                <a:gd name="connsiteX1" fmla="*/ 319760 w 412593"/>
                <a:gd name="connsiteY1" fmla="*/ 441951 h 507807"/>
                <a:gd name="connsiteX2" fmla="*/ 159483 w 412593"/>
                <a:gd name="connsiteY2" fmla="*/ 508601 h 507807"/>
                <a:gd name="connsiteX3" fmla="*/ 65856 w 412593"/>
                <a:gd name="connsiteY3" fmla="*/ 480037 h 507807"/>
                <a:gd name="connsiteX4" fmla="*/ 11902 w 412593"/>
                <a:gd name="connsiteY4" fmla="*/ 330868 h 507807"/>
                <a:gd name="connsiteX5" fmla="*/ 11902 w 412593"/>
                <a:gd name="connsiteY5" fmla="*/ 11902 h 507807"/>
                <a:gd name="connsiteX6" fmla="*/ 94420 w 412593"/>
                <a:gd name="connsiteY6" fmla="*/ 11902 h 507807"/>
                <a:gd name="connsiteX7" fmla="*/ 94420 w 412593"/>
                <a:gd name="connsiteY7" fmla="*/ 308652 h 507807"/>
                <a:gd name="connsiteX8" fmla="*/ 194395 w 412593"/>
                <a:gd name="connsiteY8" fmla="*/ 454646 h 507807"/>
                <a:gd name="connsiteX9" fmla="*/ 291195 w 412593"/>
                <a:gd name="connsiteY9" fmla="*/ 419734 h 507807"/>
                <a:gd name="connsiteX10" fmla="*/ 319760 w 412593"/>
                <a:gd name="connsiteY10" fmla="*/ 341976 h 507807"/>
                <a:gd name="connsiteX11" fmla="*/ 319760 w 412593"/>
                <a:gd name="connsiteY11" fmla="*/ 11902 h 507807"/>
                <a:gd name="connsiteX12" fmla="*/ 402278 w 412593"/>
                <a:gd name="connsiteY12" fmla="*/ 11902 h 507807"/>
                <a:gd name="connsiteX13" fmla="*/ 402278 w 412593"/>
                <a:gd name="connsiteY13" fmla="*/ 499079 h 507807"/>
                <a:gd name="connsiteX14" fmla="*/ 319760 w 412593"/>
                <a:gd name="connsiteY14" fmla="*/ 499079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593" h="507807">
                  <a:moveTo>
                    <a:pt x="319760" y="499079"/>
                  </a:moveTo>
                  <a:lnTo>
                    <a:pt x="319760" y="441951"/>
                  </a:lnTo>
                  <a:cubicBezTo>
                    <a:pt x="294369" y="465754"/>
                    <a:pt x="240415" y="508601"/>
                    <a:pt x="159483" y="508601"/>
                  </a:cubicBezTo>
                  <a:cubicBezTo>
                    <a:pt x="129332" y="508601"/>
                    <a:pt x="97594" y="505427"/>
                    <a:pt x="65856" y="480037"/>
                  </a:cubicBezTo>
                  <a:cubicBezTo>
                    <a:pt x="16662" y="441951"/>
                    <a:pt x="11902" y="386410"/>
                    <a:pt x="11902" y="330868"/>
                  </a:cubicBezTo>
                  <a:lnTo>
                    <a:pt x="11902" y="11902"/>
                  </a:lnTo>
                  <a:lnTo>
                    <a:pt x="94420" y="11902"/>
                  </a:lnTo>
                  <a:lnTo>
                    <a:pt x="94420" y="308652"/>
                  </a:lnTo>
                  <a:cubicBezTo>
                    <a:pt x="94420" y="375301"/>
                    <a:pt x="100768" y="454646"/>
                    <a:pt x="194395" y="454646"/>
                  </a:cubicBezTo>
                  <a:cubicBezTo>
                    <a:pt x="226133" y="454646"/>
                    <a:pt x="268979" y="441951"/>
                    <a:pt x="291195" y="419734"/>
                  </a:cubicBezTo>
                  <a:cubicBezTo>
                    <a:pt x="314999" y="394344"/>
                    <a:pt x="319760" y="373714"/>
                    <a:pt x="319760" y="341976"/>
                  </a:cubicBezTo>
                  <a:lnTo>
                    <a:pt x="319760" y="11902"/>
                  </a:lnTo>
                  <a:lnTo>
                    <a:pt x="402278" y="11902"/>
                  </a:lnTo>
                  <a:lnTo>
                    <a:pt x="402278" y="499079"/>
                  </a:lnTo>
                  <a:lnTo>
                    <a:pt x="319760" y="499079"/>
                  </a:lnTo>
                  <a:close/>
                </a:path>
              </a:pathLst>
            </a:custGeom>
            <a:grpFill/>
            <a:ln w="95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62976DA9-578A-446C-931F-46CFFEDDF843}"/>
                </a:ext>
              </a:extLst>
            </p:cNvPr>
            <p:cNvSpPr/>
            <p:nvPr/>
          </p:nvSpPr>
          <p:spPr>
            <a:xfrm>
              <a:off x="5697933" y="2951269"/>
              <a:ext cx="380855" cy="523676"/>
            </a:xfrm>
            <a:custGeom>
              <a:avLst/>
              <a:gdLst>
                <a:gd name="connsiteX0" fmla="*/ 288022 w 380855"/>
                <a:gd name="connsiteY0" fmla="*/ 162657 h 523676"/>
                <a:gd name="connsiteX1" fmla="*/ 288022 w 380855"/>
                <a:gd name="connsiteY1" fmla="*/ 148375 h 523676"/>
                <a:gd name="connsiteX2" fmla="*/ 195982 w 380855"/>
                <a:gd name="connsiteY2" fmla="*/ 64269 h 523676"/>
                <a:gd name="connsiteX3" fmla="*/ 102355 w 380855"/>
                <a:gd name="connsiteY3" fmla="*/ 137267 h 523676"/>
                <a:gd name="connsiteX4" fmla="*/ 197569 w 380855"/>
                <a:gd name="connsiteY4" fmla="*/ 216612 h 523676"/>
                <a:gd name="connsiteX5" fmla="*/ 248349 w 380855"/>
                <a:gd name="connsiteY5" fmla="*/ 230894 h 523676"/>
                <a:gd name="connsiteX6" fmla="*/ 376888 w 380855"/>
                <a:gd name="connsiteY6" fmla="*/ 373714 h 523676"/>
                <a:gd name="connsiteX7" fmla="*/ 192808 w 380855"/>
                <a:gd name="connsiteY7" fmla="*/ 521296 h 523676"/>
                <a:gd name="connsiteX8" fmla="*/ 11902 w 380855"/>
                <a:gd name="connsiteY8" fmla="*/ 373714 h 523676"/>
                <a:gd name="connsiteX9" fmla="*/ 11902 w 380855"/>
                <a:gd name="connsiteY9" fmla="*/ 361019 h 523676"/>
                <a:gd name="connsiteX10" fmla="*/ 96007 w 380855"/>
                <a:gd name="connsiteY10" fmla="*/ 361019 h 523676"/>
                <a:gd name="connsiteX11" fmla="*/ 96007 w 380855"/>
                <a:gd name="connsiteY11" fmla="*/ 373714 h 523676"/>
                <a:gd name="connsiteX12" fmla="*/ 200742 w 380855"/>
                <a:gd name="connsiteY12" fmla="*/ 467341 h 523676"/>
                <a:gd name="connsiteX13" fmla="*/ 295956 w 380855"/>
                <a:gd name="connsiteY13" fmla="*/ 391170 h 523676"/>
                <a:gd name="connsiteX14" fmla="*/ 203916 w 380855"/>
                <a:gd name="connsiteY14" fmla="*/ 302304 h 523676"/>
                <a:gd name="connsiteX15" fmla="*/ 142027 w 380855"/>
                <a:gd name="connsiteY15" fmla="*/ 283261 h 523676"/>
                <a:gd name="connsiteX16" fmla="*/ 27771 w 380855"/>
                <a:gd name="connsiteY16" fmla="*/ 157896 h 523676"/>
                <a:gd name="connsiteX17" fmla="*/ 200742 w 380855"/>
                <a:gd name="connsiteY17" fmla="*/ 11902 h 523676"/>
                <a:gd name="connsiteX18" fmla="*/ 368954 w 380855"/>
                <a:gd name="connsiteY18" fmla="*/ 156309 h 523676"/>
                <a:gd name="connsiteX19" fmla="*/ 368954 w 380855"/>
                <a:gd name="connsiteY19" fmla="*/ 162657 h 523676"/>
                <a:gd name="connsiteX20" fmla="*/ 288022 w 380855"/>
                <a:gd name="connsiteY20" fmla="*/ 162657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0855" h="523676">
                  <a:moveTo>
                    <a:pt x="288022" y="162657"/>
                  </a:moveTo>
                  <a:lnTo>
                    <a:pt x="288022" y="148375"/>
                  </a:lnTo>
                  <a:cubicBezTo>
                    <a:pt x="288022" y="115050"/>
                    <a:pt x="272153" y="64269"/>
                    <a:pt x="195982" y="64269"/>
                  </a:cubicBezTo>
                  <a:cubicBezTo>
                    <a:pt x="130919" y="64269"/>
                    <a:pt x="102355" y="100768"/>
                    <a:pt x="102355" y="137267"/>
                  </a:cubicBezTo>
                  <a:cubicBezTo>
                    <a:pt x="102355" y="184874"/>
                    <a:pt x="151548" y="203916"/>
                    <a:pt x="197569" y="216612"/>
                  </a:cubicBezTo>
                  <a:lnTo>
                    <a:pt x="248349" y="230894"/>
                  </a:lnTo>
                  <a:cubicBezTo>
                    <a:pt x="330868" y="254697"/>
                    <a:pt x="376888" y="295956"/>
                    <a:pt x="376888" y="373714"/>
                  </a:cubicBezTo>
                  <a:cubicBezTo>
                    <a:pt x="376888" y="446712"/>
                    <a:pt x="330868" y="521296"/>
                    <a:pt x="192808" y="521296"/>
                  </a:cubicBezTo>
                  <a:cubicBezTo>
                    <a:pt x="56335" y="521296"/>
                    <a:pt x="11902" y="454646"/>
                    <a:pt x="11902" y="373714"/>
                  </a:cubicBezTo>
                  <a:lnTo>
                    <a:pt x="11902" y="361019"/>
                  </a:lnTo>
                  <a:lnTo>
                    <a:pt x="96007" y="361019"/>
                  </a:lnTo>
                  <a:lnTo>
                    <a:pt x="96007" y="373714"/>
                  </a:lnTo>
                  <a:cubicBezTo>
                    <a:pt x="96007" y="414974"/>
                    <a:pt x="115050" y="467341"/>
                    <a:pt x="200742" y="467341"/>
                  </a:cubicBezTo>
                  <a:cubicBezTo>
                    <a:pt x="272153" y="467341"/>
                    <a:pt x="295956" y="430843"/>
                    <a:pt x="295956" y="391170"/>
                  </a:cubicBezTo>
                  <a:cubicBezTo>
                    <a:pt x="295956" y="330868"/>
                    <a:pt x="248349" y="316586"/>
                    <a:pt x="203916" y="302304"/>
                  </a:cubicBezTo>
                  <a:lnTo>
                    <a:pt x="142027" y="283261"/>
                  </a:lnTo>
                  <a:cubicBezTo>
                    <a:pt x="111876" y="273740"/>
                    <a:pt x="27771" y="249936"/>
                    <a:pt x="27771" y="157896"/>
                  </a:cubicBezTo>
                  <a:cubicBezTo>
                    <a:pt x="27771" y="88073"/>
                    <a:pt x="69030" y="11902"/>
                    <a:pt x="200742" y="11902"/>
                  </a:cubicBezTo>
                  <a:cubicBezTo>
                    <a:pt x="284848" y="11902"/>
                    <a:pt x="368954" y="46813"/>
                    <a:pt x="368954" y="156309"/>
                  </a:cubicBezTo>
                  <a:lnTo>
                    <a:pt x="368954" y="162657"/>
                  </a:lnTo>
                  <a:lnTo>
                    <a:pt x="288022" y="162657"/>
                  </a:lnTo>
                  <a:close/>
                </a:path>
              </a:pathLst>
            </a:custGeom>
            <a:grpFill/>
            <a:ln w="95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7C5C787D-5C59-49BA-A264-A611C7B3538D}"/>
                </a:ext>
              </a:extLst>
            </p:cNvPr>
            <p:cNvSpPr/>
            <p:nvPr/>
          </p:nvSpPr>
          <p:spPr>
            <a:xfrm>
              <a:off x="6131155" y="2840186"/>
              <a:ext cx="888662" cy="634759"/>
            </a:xfrm>
            <a:custGeom>
              <a:avLst/>
              <a:gdLst>
                <a:gd name="connsiteX0" fmla="*/ 802177 w 888662"/>
                <a:gd name="connsiteY0" fmla="*/ 134093 h 634759"/>
                <a:gd name="connsiteX1" fmla="*/ 692681 w 888662"/>
                <a:gd name="connsiteY1" fmla="*/ 535578 h 634759"/>
                <a:gd name="connsiteX2" fmla="*/ 581598 w 888662"/>
                <a:gd name="connsiteY2" fmla="*/ 134093 h 634759"/>
                <a:gd name="connsiteX3" fmla="*/ 503840 w 888662"/>
                <a:gd name="connsiteY3" fmla="*/ 134093 h 634759"/>
                <a:gd name="connsiteX4" fmla="*/ 378475 w 888662"/>
                <a:gd name="connsiteY4" fmla="*/ 533991 h 634759"/>
                <a:gd name="connsiteX5" fmla="*/ 273740 w 888662"/>
                <a:gd name="connsiteY5" fmla="*/ 132506 h 634759"/>
                <a:gd name="connsiteX6" fmla="*/ 97594 w 888662"/>
                <a:gd name="connsiteY6" fmla="*/ 132506 h 634759"/>
                <a:gd name="connsiteX7" fmla="*/ 97594 w 888662"/>
                <a:gd name="connsiteY7" fmla="*/ 11902 h 634759"/>
                <a:gd name="connsiteX8" fmla="*/ 13489 w 888662"/>
                <a:gd name="connsiteY8" fmla="*/ 26184 h 634759"/>
                <a:gd name="connsiteX9" fmla="*/ 11902 w 888662"/>
                <a:gd name="connsiteY9" fmla="*/ 475276 h 634759"/>
                <a:gd name="connsiteX10" fmla="*/ 48400 w 888662"/>
                <a:gd name="connsiteY10" fmla="*/ 608575 h 634759"/>
                <a:gd name="connsiteX11" fmla="*/ 124572 w 888662"/>
                <a:gd name="connsiteY11" fmla="*/ 630792 h 634759"/>
                <a:gd name="connsiteX12" fmla="*/ 216612 w 888662"/>
                <a:gd name="connsiteY12" fmla="*/ 614923 h 634759"/>
                <a:gd name="connsiteX13" fmla="*/ 216612 w 888662"/>
                <a:gd name="connsiteY13" fmla="*/ 557795 h 634759"/>
                <a:gd name="connsiteX14" fmla="*/ 161070 w 888662"/>
                <a:gd name="connsiteY14" fmla="*/ 568903 h 634759"/>
                <a:gd name="connsiteX15" fmla="*/ 97594 w 888662"/>
                <a:gd name="connsiteY15" fmla="*/ 478450 h 634759"/>
                <a:gd name="connsiteX16" fmla="*/ 99181 w 888662"/>
                <a:gd name="connsiteY16" fmla="*/ 183287 h 634759"/>
                <a:gd name="connsiteX17" fmla="*/ 202329 w 888662"/>
                <a:gd name="connsiteY17" fmla="*/ 183287 h 634759"/>
                <a:gd name="connsiteX18" fmla="*/ 329281 w 888662"/>
                <a:gd name="connsiteY18" fmla="*/ 621270 h 634759"/>
                <a:gd name="connsiteX19" fmla="*/ 418147 w 888662"/>
                <a:gd name="connsiteY19" fmla="*/ 621270 h 634759"/>
                <a:gd name="connsiteX20" fmla="*/ 535578 w 888662"/>
                <a:gd name="connsiteY20" fmla="*/ 246763 h 634759"/>
                <a:gd name="connsiteX21" fmla="*/ 643487 w 888662"/>
                <a:gd name="connsiteY21" fmla="*/ 621270 h 634759"/>
                <a:gd name="connsiteX22" fmla="*/ 733940 w 888662"/>
                <a:gd name="connsiteY22" fmla="*/ 621270 h 634759"/>
                <a:gd name="connsiteX23" fmla="*/ 878348 w 888662"/>
                <a:gd name="connsiteY23" fmla="*/ 134093 h 634759"/>
                <a:gd name="connsiteX24" fmla="*/ 802177 w 888662"/>
                <a:gd name="connsiteY24" fmla="*/ 134093 h 634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8662" h="634759">
                  <a:moveTo>
                    <a:pt x="802177" y="134093"/>
                  </a:moveTo>
                  <a:lnTo>
                    <a:pt x="692681" y="535578"/>
                  </a:lnTo>
                  <a:lnTo>
                    <a:pt x="581598" y="134093"/>
                  </a:lnTo>
                  <a:lnTo>
                    <a:pt x="503840" y="134093"/>
                  </a:lnTo>
                  <a:lnTo>
                    <a:pt x="378475" y="533991"/>
                  </a:lnTo>
                  <a:lnTo>
                    <a:pt x="273740" y="132506"/>
                  </a:lnTo>
                  <a:lnTo>
                    <a:pt x="97594" y="132506"/>
                  </a:lnTo>
                  <a:lnTo>
                    <a:pt x="97594" y="11902"/>
                  </a:lnTo>
                  <a:lnTo>
                    <a:pt x="13489" y="26184"/>
                  </a:lnTo>
                  <a:lnTo>
                    <a:pt x="11902" y="475276"/>
                  </a:lnTo>
                  <a:cubicBezTo>
                    <a:pt x="11902" y="553034"/>
                    <a:pt x="15076" y="583185"/>
                    <a:pt x="48400" y="608575"/>
                  </a:cubicBezTo>
                  <a:cubicBezTo>
                    <a:pt x="76965" y="630792"/>
                    <a:pt x="113463" y="630792"/>
                    <a:pt x="124572" y="630792"/>
                  </a:cubicBezTo>
                  <a:cubicBezTo>
                    <a:pt x="167418" y="630792"/>
                    <a:pt x="199156" y="619684"/>
                    <a:pt x="216612" y="614923"/>
                  </a:cubicBezTo>
                  <a:lnTo>
                    <a:pt x="216612" y="557795"/>
                  </a:lnTo>
                  <a:cubicBezTo>
                    <a:pt x="207090" y="560968"/>
                    <a:pt x="188047" y="568903"/>
                    <a:pt x="161070" y="568903"/>
                  </a:cubicBezTo>
                  <a:cubicBezTo>
                    <a:pt x="103942" y="568903"/>
                    <a:pt x="97594" y="529230"/>
                    <a:pt x="97594" y="478450"/>
                  </a:cubicBezTo>
                  <a:lnTo>
                    <a:pt x="99181" y="183287"/>
                  </a:lnTo>
                  <a:lnTo>
                    <a:pt x="202329" y="183287"/>
                  </a:lnTo>
                  <a:lnTo>
                    <a:pt x="329281" y="621270"/>
                  </a:lnTo>
                  <a:lnTo>
                    <a:pt x="418147" y="621270"/>
                  </a:lnTo>
                  <a:lnTo>
                    <a:pt x="535578" y="246763"/>
                  </a:lnTo>
                  <a:lnTo>
                    <a:pt x="643487" y="621270"/>
                  </a:lnTo>
                  <a:lnTo>
                    <a:pt x="733940" y="621270"/>
                  </a:lnTo>
                  <a:lnTo>
                    <a:pt x="878348" y="134093"/>
                  </a:lnTo>
                  <a:lnTo>
                    <a:pt x="802177" y="134093"/>
                  </a:lnTo>
                  <a:close/>
                </a:path>
              </a:pathLst>
            </a:custGeom>
            <a:grpFill/>
            <a:ln w="9525"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83ED28D6-5C8D-4B75-B156-C7F203E77762}"/>
                </a:ext>
              </a:extLst>
            </p:cNvPr>
            <p:cNvSpPr/>
            <p:nvPr/>
          </p:nvSpPr>
          <p:spPr>
            <a:xfrm>
              <a:off x="7013470" y="2951269"/>
              <a:ext cx="412593" cy="523676"/>
            </a:xfrm>
            <a:custGeom>
              <a:avLst/>
              <a:gdLst>
                <a:gd name="connsiteX0" fmla="*/ 348324 w 412593"/>
                <a:gd name="connsiteY0" fmla="*/ 510188 h 523676"/>
                <a:gd name="connsiteX1" fmla="*/ 308651 w 412593"/>
                <a:gd name="connsiteY1" fmla="*/ 470515 h 523676"/>
                <a:gd name="connsiteX2" fmla="*/ 308651 w 412593"/>
                <a:gd name="connsiteY2" fmla="*/ 456233 h 523676"/>
                <a:gd name="connsiteX3" fmla="*/ 164244 w 412593"/>
                <a:gd name="connsiteY3" fmla="*/ 519709 h 523676"/>
                <a:gd name="connsiteX4" fmla="*/ 11902 w 412593"/>
                <a:gd name="connsiteY4" fmla="*/ 378475 h 523676"/>
                <a:gd name="connsiteX5" fmla="*/ 73791 w 412593"/>
                <a:gd name="connsiteY5" fmla="*/ 264218 h 523676"/>
                <a:gd name="connsiteX6" fmla="*/ 310238 w 412593"/>
                <a:gd name="connsiteY6" fmla="*/ 215025 h 523676"/>
                <a:gd name="connsiteX7" fmla="*/ 310238 w 412593"/>
                <a:gd name="connsiteY7" fmla="*/ 162657 h 523676"/>
                <a:gd name="connsiteX8" fmla="*/ 218198 w 412593"/>
                <a:gd name="connsiteY8" fmla="*/ 65856 h 523676"/>
                <a:gd name="connsiteX9" fmla="*/ 110289 w 412593"/>
                <a:gd name="connsiteY9" fmla="*/ 170591 h 523676"/>
                <a:gd name="connsiteX10" fmla="*/ 110289 w 412593"/>
                <a:gd name="connsiteY10" fmla="*/ 176939 h 523676"/>
                <a:gd name="connsiteX11" fmla="*/ 30944 w 412593"/>
                <a:gd name="connsiteY11" fmla="*/ 176939 h 523676"/>
                <a:gd name="connsiteX12" fmla="*/ 30944 w 412593"/>
                <a:gd name="connsiteY12" fmla="*/ 162657 h 523676"/>
                <a:gd name="connsiteX13" fmla="*/ 224546 w 412593"/>
                <a:gd name="connsiteY13" fmla="*/ 11902 h 523676"/>
                <a:gd name="connsiteX14" fmla="*/ 370541 w 412593"/>
                <a:gd name="connsiteY14" fmla="*/ 67443 h 523676"/>
                <a:gd name="connsiteX15" fmla="*/ 392757 w 412593"/>
                <a:gd name="connsiteY15" fmla="*/ 172178 h 523676"/>
                <a:gd name="connsiteX16" fmla="*/ 392757 w 412593"/>
                <a:gd name="connsiteY16" fmla="*/ 438777 h 523676"/>
                <a:gd name="connsiteX17" fmla="*/ 414974 w 412593"/>
                <a:gd name="connsiteY17" fmla="*/ 497492 h 523676"/>
                <a:gd name="connsiteX18" fmla="*/ 414974 w 412593"/>
                <a:gd name="connsiteY18" fmla="*/ 510188 h 523676"/>
                <a:gd name="connsiteX19" fmla="*/ 348324 w 412593"/>
                <a:gd name="connsiteY19" fmla="*/ 510188 h 523676"/>
                <a:gd name="connsiteX20" fmla="*/ 307065 w 412593"/>
                <a:gd name="connsiteY20" fmla="*/ 261045 h 523676"/>
                <a:gd name="connsiteX21" fmla="*/ 142027 w 412593"/>
                <a:gd name="connsiteY21" fmla="*/ 297543 h 523676"/>
                <a:gd name="connsiteX22" fmla="*/ 97594 w 412593"/>
                <a:gd name="connsiteY22" fmla="*/ 376888 h 523676"/>
                <a:gd name="connsiteX23" fmla="*/ 186460 w 412593"/>
                <a:gd name="connsiteY23" fmla="*/ 464168 h 523676"/>
                <a:gd name="connsiteX24" fmla="*/ 261045 w 412593"/>
                <a:gd name="connsiteY24" fmla="*/ 443538 h 523676"/>
                <a:gd name="connsiteX25" fmla="*/ 305478 w 412593"/>
                <a:gd name="connsiteY25" fmla="*/ 334042 h 523676"/>
                <a:gd name="connsiteX26" fmla="*/ 305478 w 412593"/>
                <a:gd name="connsiteY26" fmla="*/ 261045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2593" h="523676">
                  <a:moveTo>
                    <a:pt x="348324" y="510188"/>
                  </a:moveTo>
                  <a:cubicBezTo>
                    <a:pt x="316586" y="510188"/>
                    <a:pt x="308651" y="499079"/>
                    <a:pt x="308651" y="470515"/>
                  </a:cubicBezTo>
                  <a:lnTo>
                    <a:pt x="308651" y="456233"/>
                  </a:lnTo>
                  <a:cubicBezTo>
                    <a:pt x="267392" y="503840"/>
                    <a:pt x="210264" y="519709"/>
                    <a:pt x="164244" y="519709"/>
                  </a:cubicBezTo>
                  <a:cubicBezTo>
                    <a:pt x="70617" y="519709"/>
                    <a:pt x="11902" y="472102"/>
                    <a:pt x="11902" y="378475"/>
                  </a:cubicBezTo>
                  <a:cubicBezTo>
                    <a:pt x="11902" y="311825"/>
                    <a:pt x="51574" y="276914"/>
                    <a:pt x="73791" y="264218"/>
                  </a:cubicBezTo>
                  <a:cubicBezTo>
                    <a:pt x="107116" y="245176"/>
                    <a:pt x="153135" y="229307"/>
                    <a:pt x="310238" y="215025"/>
                  </a:cubicBezTo>
                  <a:lnTo>
                    <a:pt x="310238" y="162657"/>
                  </a:lnTo>
                  <a:cubicBezTo>
                    <a:pt x="310238" y="97594"/>
                    <a:pt x="283261" y="65856"/>
                    <a:pt x="218198" y="65856"/>
                  </a:cubicBezTo>
                  <a:cubicBezTo>
                    <a:pt x="188047" y="65856"/>
                    <a:pt x="110289" y="69030"/>
                    <a:pt x="110289" y="170591"/>
                  </a:cubicBezTo>
                  <a:lnTo>
                    <a:pt x="110289" y="176939"/>
                  </a:lnTo>
                  <a:lnTo>
                    <a:pt x="30944" y="176939"/>
                  </a:lnTo>
                  <a:lnTo>
                    <a:pt x="30944" y="162657"/>
                  </a:lnTo>
                  <a:cubicBezTo>
                    <a:pt x="30944" y="46813"/>
                    <a:pt x="129332" y="11902"/>
                    <a:pt x="224546" y="11902"/>
                  </a:cubicBezTo>
                  <a:cubicBezTo>
                    <a:pt x="302304" y="11902"/>
                    <a:pt x="348324" y="35705"/>
                    <a:pt x="370541" y="67443"/>
                  </a:cubicBezTo>
                  <a:cubicBezTo>
                    <a:pt x="389583" y="94420"/>
                    <a:pt x="392757" y="135680"/>
                    <a:pt x="392757" y="172178"/>
                  </a:cubicBezTo>
                  <a:lnTo>
                    <a:pt x="392757" y="438777"/>
                  </a:lnTo>
                  <a:cubicBezTo>
                    <a:pt x="392757" y="475276"/>
                    <a:pt x="397518" y="495906"/>
                    <a:pt x="414974" y="497492"/>
                  </a:cubicBezTo>
                  <a:lnTo>
                    <a:pt x="414974" y="510188"/>
                  </a:lnTo>
                  <a:lnTo>
                    <a:pt x="348324" y="510188"/>
                  </a:lnTo>
                  <a:close/>
                  <a:moveTo>
                    <a:pt x="307065" y="261045"/>
                  </a:moveTo>
                  <a:cubicBezTo>
                    <a:pt x="207090" y="272153"/>
                    <a:pt x="164244" y="284848"/>
                    <a:pt x="142027" y="297543"/>
                  </a:cubicBezTo>
                  <a:cubicBezTo>
                    <a:pt x="108703" y="316586"/>
                    <a:pt x="97594" y="346737"/>
                    <a:pt x="97594" y="376888"/>
                  </a:cubicBezTo>
                  <a:cubicBezTo>
                    <a:pt x="97594" y="430843"/>
                    <a:pt x="129332" y="464168"/>
                    <a:pt x="186460" y="464168"/>
                  </a:cubicBezTo>
                  <a:cubicBezTo>
                    <a:pt x="216611" y="464168"/>
                    <a:pt x="242002" y="456233"/>
                    <a:pt x="261045" y="443538"/>
                  </a:cubicBezTo>
                  <a:cubicBezTo>
                    <a:pt x="302304" y="416561"/>
                    <a:pt x="305478" y="370541"/>
                    <a:pt x="305478" y="334042"/>
                  </a:cubicBezTo>
                  <a:lnTo>
                    <a:pt x="305478" y="261045"/>
                  </a:lnTo>
                  <a:close/>
                </a:path>
              </a:pathLst>
            </a:custGeom>
            <a:grpFill/>
            <a:ln w="952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A6423303-2D8A-442A-A53C-89C3524DFDA2}"/>
                </a:ext>
              </a:extLst>
            </p:cNvPr>
            <p:cNvSpPr/>
            <p:nvPr/>
          </p:nvSpPr>
          <p:spPr>
            <a:xfrm>
              <a:off x="7432411" y="2962377"/>
              <a:ext cx="444331" cy="507807"/>
            </a:xfrm>
            <a:custGeom>
              <a:avLst/>
              <a:gdLst>
                <a:gd name="connsiteX0" fmla="*/ 262632 w 444331"/>
                <a:gd name="connsiteY0" fmla="*/ 499079 h 507807"/>
                <a:gd name="connsiteX1" fmla="*/ 173765 w 444331"/>
                <a:gd name="connsiteY1" fmla="*/ 499079 h 507807"/>
                <a:gd name="connsiteX2" fmla="*/ 11902 w 444331"/>
                <a:gd name="connsiteY2" fmla="*/ 11902 h 507807"/>
                <a:gd name="connsiteX3" fmla="*/ 103942 w 444331"/>
                <a:gd name="connsiteY3" fmla="*/ 11902 h 507807"/>
                <a:gd name="connsiteX4" fmla="*/ 226133 w 444331"/>
                <a:gd name="connsiteY4" fmla="*/ 411800 h 507807"/>
                <a:gd name="connsiteX5" fmla="*/ 364193 w 444331"/>
                <a:gd name="connsiteY5" fmla="*/ 11902 h 507807"/>
                <a:gd name="connsiteX6" fmla="*/ 440364 w 444331"/>
                <a:gd name="connsiteY6" fmla="*/ 11902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331" h="507807">
                  <a:moveTo>
                    <a:pt x="262632" y="499079"/>
                  </a:moveTo>
                  <a:lnTo>
                    <a:pt x="173765" y="499079"/>
                  </a:lnTo>
                  <a:lnTo>
                    <a:pt x="11902" y="11902"/>
                  </a:lnTo>
                  <a:lnTo>
                    <a:pt x="103942" y="11902"/>
                  </a:lnTo>
                  <a:lnTo>
                    <a:pt x="226133" y="411800"/>
                  </a:lnTo>
                  <a:lnTo>
                    <a:pt x="364193" y="11902"/>
                  </a:lnTo>
                  <a:lnTo>
                    <a:pt x="440364" y="11902"/>
                  </a:lnTo>
                  <a:close/>
                </a:path>
              </a:pathLst>
            </a:custGeom>
            <a:grpFill/>
            <a:ln w="952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78A1BBE-E67E-4255-85FE-C8786639AC5C}"/>
                </a:ext>
              </a:extLst>
            </p:cNvPr>
            <p:cNvSpPr/>
            <p:nvPr/>
          </p:nvSpPr>
          <p:spPr>
            <a:xfrm>
              <a:off x="7871982" y="2951269"/>
              <a:ext cx="428462" cy="523676"/>
            </a:xfrm>
            <a:custGeom>
              <a:avLst/>
              <a:gdLst>
                <a:gd name="connsiteX0" fmla="*/ 99181 w 428462"/>
                <a:gd name="connsiteY0" fmla="*/ 268979 h 523676"/>
                <a:gd name="connsiteX1" fmla="*/ 227720 w 428462"/>
                <a:gd name="connsiteY1" fmla="*/ 465754 h 523676"/>
                <a:gd name="connsiteX2" fmla="*/ 340389 w 428462"/>
                <a:gd name="connsiteY2" fmla="*/ 361019 h 523676"/>
                <a:gd name="connsiteX3" fmla="*/ 422908 w 428462"/>
                <a:gd name="connsiteY3" fmla="*/ 361019 h 523676"/>
                <a:gd name="connsiteX4" fmla="*/ 224546 w 428462"/>
                <a:gd name="connsiteY4" fmla="*/ 519709 h 523676"/>
                <a:gd name="connsiteX5" fmla="*/ 11902 w 428462"/>
                <a:gd name="connsiteY5" fmla="*/ 280087 h 523676"/>
                <a:gd name="connsiteX6" fmla="*/ 230893 w 428462"/>
                <a:gd name="connsiteY6" fmla="*/ 11902 h 523676"/>
                <a:gd name="connsiteX7" fmla="*/ 426082 w 428462"/>
                <a:gd name="connsiteY7" fmla="*/ 240415 h 523676"/>
                <a:gd name="connsiteX8" fmla="*/ 426082 w 428462"/>
                <a:gd name="connsiteY8" fmla="*/ 264218 h 523676"/>
                <a:gd name="connsiteX9" fmla="*/ 100768 w 428462"/>
                <a:gd name="connsiteY9" fmla="*/ 264218 h 523676"/>
                <a:gd name="connsiteX10" fmla="*/ 100768 w 428462"/>
                <a:gd name="connsiteY10" fmla="*/ 268979 h 523676"/>
                <a:gd name="connsiteX11" fmla="*/ 340389 w 428462"/>
                <a:gd name="connsiteY11" fmla="*/ 213438 h 523676"/>
                <a:gd name="connsiteX12" fmla="*/ 229306 w 428462"/>
                <a:gd name="connsiteY12" fmla="*/ 65856 h 523676"/>
                <a:gd name="connsiteX13" fmla="*/ 100768 w 428462"/>
                <a:gd name="connsiteY13" fmla="*/ 213438 h 523676"/>
                <a:gd name="connsiteX14" fmla="*/ 340389 w 428462"/>
                <a:gd name="connsiteY14" fmla="*/ 213438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462" h="523676">
                  <a:moveTo>
                    <a:pt x="99181" y="268979"/>
                  </a:moveTo>
                  <a:cubicBezTo>
                    <a:pt x="99181" y="329281"/>
                    <a:pt x="100768" y="465754"/>
                    <a:pt x="227720" y="465754"/>
                  </a:cubicBezTo>
                  <a:cubicBezTo>
                    <a:pt x="259458" y="465754"/>
                    <a:pt x="334042" y="453059"/>
                    <a:pt x="340389" y="361019"/>
                  </a:cubicBezTo>
                  <a:lnTo>
                    <a:pt x="422908" y="361019"/>
                  </a:lnTo>
                  <a:cubicBezTo>
                    <a:pt x="422908" y="443538"/>
                    <a:pt x="356258" y="519709"/>
                    <a:pt x="224546" y="519709"/>
                  </a:cubicBezTo>
                  <a:cubicBezTo>
                    <a:pt x="70617" y="519709"/>
                    <a:pt x="11902" y="419735"/>
                    <a:pt x="11902" y="280087"/>
                  </a:cubicBezTo>
                  <a:cubicBezTo>
                    <a:pt x="11902" y="121398"/>
                    <a:pt x="75378" y="11902"/>
                    <a:pt x="230893" y="11902"/>
                  </a:cubicBezTo>
                  <a:cubicBezTo>
                    <a:pt x="356258" y="11902"/>
                    <a:pt x="426082" y="83312"/>
                    <a:pt x="426082" y="240415"/>
                  </a:cubicBezTo>
                  <a:lnTo>
                    <a:pt x="426082" y="264218"/>
                  </a:lnTo>
                  <a:lnTo>
                    <a:pt x="100768" y="264218"/>
                  </a:lnTo>
                  <a:lnTo>
                    <a:pt x="100768" y="268979"/>
                  </a:lnTo>
                  <a:close/>
                  <a:moveTo>
                    <a:pt x="340389" y="213438"/>
                  </a:moveTo>
                  <a:cubicBezTo>
                    <a:pt x="338803" y="183287"/>
                    <a:pt x="337216" y="65856"/>
                    <a:pt x="229306" y="65856"/>
                  </a:cubicBezTo>
                  <a:cubicBezTo>
                    <a:pt x="159483" y="65856"/>
                    <a:pt x="107116" y="115050"/>
                    <a:pt x="100768" y="213438"/>
                  </a:cubicBezTo>
                  <a:lnTo>
                    <a:pt x="340389" y="213438"/>
                  </a:lnTo>
                  <a:close/>
                </a:path>
              </a:pathLst>
            </a:custGeom>
            <a:grpFill/>
            <a:ln w="95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1D2B8B27-91BB-4D28-930E-EE0DF86781FB}"/>
                </a:ext>
              </a:extLst>
            </p:cNvPr>
            <p:cNvSpPr/>
            <p:nvPr/>
          </p:nvSpPr>
          <p:spPr>
            <a:xfrm>
              <a:off x="3671465" y="2795753"/>
              <a:ext cx="444331" cy="539545"/>
            </a:xfrm>
            <a:custGeom>
              <a:avLst/>
              <a:gdLst>
                <a:gd name="connsiteX0" fmla="*/ 11902 w 444331"/>
                <a:gd name="connsiteY0" fmla="*/ 11902 h 539545"/>
                <a:gd name="connsiteX1" fmla="*/ 11902 w 444331"/>
                <a:gd name="connsiteY1" fmla="*/ 11902 h 539545"/>
                <a:gd name="connsiteX2" fmla="*/ 11902 w 444331"/>
                <a:gd name="connsiteY2" fmla="*/ 533991 h 539545"/>
                <a:gd name="connsiteX3" fmla="*/ 275327 w 444331"/>
                <a:gd name="connsiteY3" fmla="*/ 353085 h 539545"/>
                <a:gd name="connsiteX4" fmla="*/ 445125 w 444331"/>
                <a:gd name="connsiteY4" fmla="*/ 176939 h 539545"/>
                <a:gd name="connsiteX5" fmla="*/ 11902 w 444331"/>
                <a:gd name="connsiteY5" fmla="*/ 11902 h 53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331" h="539545">
                  <a:moveTo>
                    <a:pt x="11902" y="11902"/>
                  </a:moveTo>
                  <a:lnTo>
                    <a:pt x="11902" y="11902"/>
                  </a:lnTo>
                  <a:lnTo>
                    <a:pt x="11902" y="533991"/>
                  </a:lnTo>
                  <a:cubicBezTo>
                    <a:pt x="11902" y="533991"/>
                    <a:pt x="159483" y="449886"/>
                    <a:pt x="275327" y="353085"/>
                  </a:cubicBezTo>
                  <a:cubicBezTo>
                    <a:pt x="392757" y="256284"/>
                    <a:pt x="445125" y="176939"/>
                    <a:pt x="445125" y="176939"/>
                  </a:cubicBezTo>
                  <a:cubicBezTo>
                    <a:pt x="329281" y="73791"/>
                    <a:pt x="178526" y="11902"/>
                    <a:pt x="11902" y="11902"/>
                  </a:cubicBezTo>
                </a:path>
              </a:pathLst>
            </a:custGeom>
            <a:grpFill/>
            <a:ln w="9525"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BCA96584-2FF2-4AA9-9043-6F56C2A02EDD}"/>
                </a:ext>
              </a:extLst>
            </p:cNvPr>
            <p:cNvSpPr/>
            <p:nvPr/>
          </p:nvSpPr>
          <p:spPr>
            <a:xfrm>
              <a:off x="3888870" y="2760841"/>
              <a:ext cx="491938" cy="491938"/>
            </a:xfrm>
            <a:custGeom>
              <a:avLst/>
              <a:gdLst>
                <a:gd name="connsiteX0" fmla="*/ 11902 w 491938"/>
                <a:gd name="connsiteY0" fmla="*/ 11902 h 491938"/>
                <a:gd name="connsiteX1" fmla="*/ 481623 w 491938"/>
                <a:gd name="connsiteY1" fmla="*/ 481623 h 491938"/>
                <a:gd name="connsiteX2" fmla="*/ 481623 w 491938"/>
                <a:gd name="connsiteY2" fmla="*/ 11902 h 491938"/>
                <a:gd name="connsiteX3" fmla="*/ 11902 w 491938"/>
                <a:gd name="connsiteY3" fmla="*/ 11902 h 491938"/>
              </a:gdLst>
              <a:ahLst/>
              <a:cxnLst>
                <a:cxn ang="0">
                  <a:pos x="connsiteX0" y="connsiteY0"/>
                </a:cxn>
                <a:cxn ang="0">
                  <a:pos x="connsiteX1" y="connsiteY1"/>
                </a:cxn>
                <a:cxn ang="0">
                  <a:pos x="connsiteX2" y="connsiteY2"/>
                </a:cxn>
                <a:cxn ang="0">
                  <a:pos x="connsiteX3" y="connsiteY3"/>
                </a:cxn>
              </a:cxnLst>
              <a:rect l="l" t="t" r="r" b="b"/>
              <a:pathLst>
                <a:path w="491938" h="491938">
                  <a:moveTo>
                    <a:pt x="11902" y="11902"/>
                  </a:moveTo>
                  <a:cubicBezTo>
                    <a:pt x="235654" y="83312"/>
                    <a:pt x="411800" y="259458"/>
                    <a:pt x="481623" y="481623"/>
                  </a:cubicBezTo>
                  <a:lnTo>
                    <a:pt x="481623" y="11902"/>
                  </a:lnTo>
                  <a:lnTo>
                    <a:pt x="11902" y="11902"/>
                  </a:lnTo>
                  <a:close/>
                </a:path>
              </a:pathLst>
            </a:custGeom>
            <a:solidFill>
              <a:schemeClr val="accent1"/>
            </a:solidFill>
            <a:ln w="9525"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68CB213D-5D09-4CFB-B19E-C37AB838DC49}"/>
                </a:ext>
              </a:extLst>
            </p:cNvPr>
            <p:cNvSpPr/>
            <p:nvPr/>
          </p:nvSpPr>
          <p:spPr>
            <a:xfrm>
              <a:off x="3803177" y="3016331"/>
              <a:ext cx="539545" cy="444331"/>
            </a:xfrm>
            <a:custGeom>
              <a:avLst/>
              <a:gdLst>
                <a:gd name="connsiteX0" fmla="*/ 533991 w 539545"/>
                <a:gd name="connsiteY0" fmla="*/ 445125 h 444331"/>
                <a:gd name="connsiteX1" fmla="*/ 533991 w 539545"/>
                <a:gd name="connsiteY1" fmla="*/ 445125 h 444331"/>
                <a:gd name="connsiteX2" fmla="*/ 11902 w 539545"/>
                <a:gd name="connsiteY2" fmla="*/ 445125 h 444331"/>
                <a:gd name="connsiteX3" fmla="*/ 192808 w 539545"/>
                <a:gd name="connsiteY3" fmla="*/ 181700 h 444331"/>
                <a:gd name="connsiteX4" fmla="*/ 368954 w 539545"/>
                <a:gd name="connsiteY4" fmla="*/ 11902 h 444331"/>
                <a:gd name="connsiteX5" fmla="*/ 533991 w 539545"/>
                <a:gd name="connsiteY5" fmla="*/ 445125 h 44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545" h="444331">
                  <a:moveTo>
                    <a:pt x="533991" y="445125"/>
                  </a:moveTo>
                  <a:lnTo>
                    <a:pt x="533991" y="445125"/>
                  </a:lnTo>
                  <a:lnTo>
                    <a:pt x="11902" y="445125"/>
                  </a:lnTo>
                  <a:cubicBezTo>
                    <a:pt x="11902" y="445125"/>
                    <a:pt x="96007" y="297543"/>
                    <a:pt x="192808" y="181700"/>
                  </a:cubicBezTo>
                  <a:cubicBezTo>
                    <a:pt x="289609" y="64269"/>
                    <a:pt x="368954" y="11902"/>
                    <a:pt x="368954" y="11902"/>
                  </a:cubicBezTo>
                  <a:cubicBezTo>
                    <a:pt x="470515" y="126158"/>
                    <a:pt x="533991" y="278501"/>
                    <a:pt x="533991" y="445125"/>
                  </a:cubicBezTo>
                </a:path>
              </a:pathLst>
            </a:custGeom>
            <a:grpFill/>
            <a:ln w="9525"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4A671809-0674-4FE6-B573-A6E1CBC67B79}"/>
                </a:ext>
              </a:extLst>
            </p:cNvPr>
            <p:cNvSpPr/>
            <p:nvPr/>
          </p:nvSpPr>
          <p:spPr>
            <a:xfrm>
              <a:off x="8365507" y="2954442"/>
              <a:ext cx="158690" cy="158690"/>
            </a:xfrm>
            <a:custGeom>
              <a:avLst/>
              <a:gdLst>
                <a:gd name="connsiteX0" fmla="*/ 86486 w 158689"/>
                <a:gd name="connsiteY0" fmla="*/ 161070 h 158689"/>
                <a:gd name="connsiteX1" fmla="*/ 11902 w 158689"/>
                <a:gd name="connsiteY1" fmla="*/ 86486 h 158689"/>
                <a:gd name="connsiteX2" fmla="*/ 86486 w 158689"/>
                <a:gd name="connsiteY2" fmla="*/ 11902 h 158689"/>
                <a:gd name="connsiteX3" fmla="*/ 161070 w 158689"/>
                <a:gd name="connsiteY3" fmla="*/ 86486 h 158689"/>
                <a:gd name="connsiteX4" fmla="*/ 86486 w 158689"/>
                <a:gd name="connsiteY4" fmla="*/ 161070 h 158689"/>
                <a:gd name="connsiteX5" fmla="*/ 86486 w 158689"/>
                <a:gd name="connsiteY5" fmla="*/ 19836 h 158689"/>
                <a:gd name="connsiteX6" fmla="*/ 19836 w 158689"/>
                <a:gd name="connsiteY6" fmla="*/ 88073 h 158689"/>
                <a:gd name="connsiteX7" fmla="*/ 86486 w 158689"/>
                <a:gd name="connsiteY7" fmla="*/ 154723 h 158689"/>
                <a:gd name="connsiteX8" fmla="*/ 153135 w 158689"/>
                <a:gd name="connsiteY8" fmla="*/ 88073 h 158689"/>
                <a:gd name="connsiteX9" fmla="*/ 86486 w 158689"/>
                <a:gd name="connsiteY9" fmla="*/ 19836 h 158689"/>
                <a:gd name="connsiteX10" fmla="*/ 92833 w 158689"/>
                <a:gd name="connsiteY10" fmla="*/ 42053 h 158689"/>
                <a:gd name="connsiteX11" fmla="*/ 119811 w 158689"/>
                <a:gd name="connsiteY11" fmla="*/ 64269 h 158689"/>
                <a:gd name="connsiteX12" fmla="*/ 102355 w 158689"/>
                <a:gd name="connsiteY12" fmla="*/ 88073 h 158689"/>
                <a:gd name="connsiteX13" fmla="*/ 116637 w 158689"/>
                <a:gd name="connsiteY13" fmla="*/ 103942 h 158689"/>
                <a:gd name="connsiteX14" fmla="*/ 121398 w 158689"/>
                <a:gd name="connsiteY14" fmla="*/ 121398 h 158689"/>
                <a:gd name="connsiteX15" fmla="*/ 126158 w 158689"/>
                <a:gd name="connsiteY15" fmla="*/ 132506 h 158689"/>
                <a:gd name="connsiteX16" fmla="*/ 110289 w 158689"/>
                <a:gd name="connsiteY16" fmla="*/ 132506 h 158689"/>
                <a:gd name="connsiteX17" fmla="*/ 107116 w 158689"/>
                <a:gd name="connsiteY17" fmla="*/ 126158 h 158689"/>
                <a:gd name="connsiteX18" fmla="*/ 102355 w 158689"/>
                <a:gd name="connsiteY18" fmla="*/ 110289 h 158689"/>
                <a:gd name="connsiteX19" fmla="*/ 78551 w 158689"/>
                <a:gd name="connsiteY19" fmla="*/ 94420 h 158689"/>
                <a:gd name="connsiteX20" fmla="*/ 72204 w 158689"/>
                <a:gd name="connsiteY20" fmla="*/ 94420 h 158689"/>
                <a:gd name="connsiteX21" fmla="*/ 72204 w 158689"/>
                <a:gd name="connsiteY21" fmla="*/ 132506 h 158689"/>
                <a:gd name="connsiteX22" fmla="*/ 56335 w 158689"/>
                <a:gd name="connsiteY22" fmla="*/ 132506 h 158689"/>
                <a:gd name="connsiteX23" fmla="*/ 56335 w 158689"/>
                <a:gd name="connsiteY23" fmla="*/ 43640 h 158689"/>
                <a:gd name="connsiteX24" fmla="*/ 92833 w 158689"/>
                <a:gd name="connsiteY24" fmla="*/ 43640 h 158689"/>
                <a:gd name="connsiteX25" fmla="*/ 72204 w 158689"/>
                <a:gd name="connsiteY25" fmla="*/ 83312 h 158689"/>
                <a:gd name="connsiteX26" fmla="*/ 81725 w 158689"/>
                <a:gd name="connsiteY26" fmla="*/ 83312 h 158689"/>
                <a:gd name="connsiteX27" fmla="*/ 105529 w 158689"/>
                <a:gd name="connsiteY27" fmla="*/ 67443 h 158689"/>
                <a:gd name="connsiteX28" fmla="*/ 86486 w 158689"/>
                <a:gd name="connsiteY28" fmla="*/ 53161 h 158689"/>
                <a:gd name="connsiteX29" fmla="*/ 73791 w 158689"/>
                <a:gd name="connsiteY29" fmla="*/ 53161 h 158689"/>
                <a:gd name="connsiteX30" fmla="*/ 73791 w 158689"/>
                <a:gd name="connsiteY30" fmla="*/ 83312 h 158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8689" h="158689">
                  <a:moveTo>
                    <a:pt x="86486" y="161070"/>
                  </a:moveTo>
                  <a:cubicBezTo>
                    <a:pt x="45226" y="161070"/>
                    <a:pt x="11902" y="127745"/>
                    <a:pt x="11902" y="86486"/>
                  </a:cubicBezTo>
                  <a:cubicBezTo>
                    <a:pt x="11902" y="45227"/>
                    <a:pt x="45226" y="11902"/>
                    <a:pt x="86486" y="11902"/>
                  </a:cubicBezTo>
                  <a:cubicBezTo>
                    <a:pt x="127745" y="11902"/>
                    <a:pt x="161070" y="45227"/>
                    <a:pt x="161070" y="86486"/>
                  </a:cubicBezTo>
                  <a:cubicBezTo>
                    <a:pt x="161070" y="127745"/>
                    <a:pt x="127745" y="161070"/>
                    <a:pt x="86486" y="161070"/>
                  </a:cubicBezTo>
                  <a:moveTo>
                    <a:pt x="86486" y="19836"/>
                  </a:moveTo>
                  <a:cubicBezTo>
                    <a:pt x="48400" y="19836"/>
                    <a:pt x="19836" y="49987"/>
                    <a:pt x="19836" y="88073"/>
                  </a:cubicBezTo>
                  <a:cubicBezTo>
                    <a:pt x="19836" y="124572"/>
                    <a:pt x="49987" y="154723"/>
                    <a:pt x="86486" y="154723"/>
                  </a:cubicBezTo>
                  <a:cubicBezTo>
                    <a:pt x="122985" y="154723"/>
                    <a:pt x="153135" y="124572"/>
                    <a:pt x="153135" y="88073"/>
                  </a:cubicBezTo>
                  <a:cubicBezTo>
                    <a:pt x="153135" y="49987"/>
                    <a:pt x="124571" y="19836"/>
                    <a:pt x="86486" y="19836"/>
                  </a:cubicBezTo>
                  <a:moveTo>
                    <a:pt x="92833" y="42053"/>
                  </a:moveTo>
                  <a:cubicBezTo>
                    <a:pt x="110289" y="42053"/>
                    <a:pt x="119811" y="48400"/>
                    <a:pt x="119811" y="64269"/>
                  </a:cubicBezTo>
                  <a:cubicBezTo>
                    <a:pt x="119811" y="76965"/>
                    <a:pt x="113463" y="83312"/>
                    <a:pt x="102355" y="88073"/>
                  </a:cubicBezTo>
                  <a:cubicBezTo>
                    <a:pt x="110289" y="89660"/>
                    <a:pt x="113463" y="94420"/>
                    <a:pt x="116637" y="103942"/>
                  </a:cubicBezTo>
                  <a:lnTo>
                    <a:pt x="121398" y="121398"/>
                  </a:lnTo>
                  <a:cubicBezTo>
                    <a:pt x="122985" y="126158"/>
                    <a:pt x="124571" y="129332"/>
                    <a:pt x="126158" y="132506"/>
                  </a:cubicBezTo>
                  <a:lnTo>
                    <a:pt x="110289" y="132506"/>
                  </a:lnTo>
                  <a:cubicBezTo>
                    <a:pt x="108702" y="130919"/>
                    <a:pt x="107116" y="129332"/>
                    <a:pt x="107116" y="126158"/>
                  </a:cubicBezTo>
                  <a:lnTo>
                    <a:pt x="102355" y="110289"/>
                  </a:lnTo>
                  <a:cubicBezTo>
                    <a:pt x="99181" y="97594"/>
                    <a:pt x="96007" y="94420"/>
                    <a:pt x="78551" y="94420"/>
                  </a:cubicBezTo>
                  <a:lnTo>
                    <a:pt x="72204" y="94420"/>
                  </a:lnTo>
                  <a:lnTo>
                    <a:pt x="72204" y="132506"/>
                  </a:lnTo>
                  <a:lnTo>
                    <a:pt x="56335" y="132506"/>
                  </a:lnTo>
                  <a:lnTo>
                    <a:pt x="56335" y="43640"/>
                  </a:lnTo>
                  <a:lnTo>
                    <a:pt x="92833" y="43640"/>
                  </a:lnTo>
                  <a:close/>
                  <a:moveTo>
                    <a:pt x="72204" y="83312"/>
                  </a:moveTo>
                  <a:lnTo>
                    <a:pt x="81725" y="83312"/>
                  </a:lnTo>
                  <a:cubicBezTo>
                    <a:pt x="97594" y="83312"/>
                    <a:pt x="105529" y="80138"/>
                    <a:pt x="105529" y="67443"/>
                  </a:cubicBezTo>
                  <a:cubicBezTo>
                    <a:pt x="105529" y="56335"/>
                    <a:pt x="100768" y="53161"/>
                    <a:pt x="86486" y="53161"/>
                  </a:cubicBezTo>
                  <a:lnTo>
                    <a:pt x="73791" y="53161"/>
                  </a:lnTo>
                  <a:lnTo>
                    <a:pt x="73791" y="83312"/>
                  </a:lnTo>
                  <a:close/>
                </a:path>
              </a:pathLst>
            </a:custGeom>
            <a:grpFill/>
            <a:ln w="9525" cap="flat">
              <a:noFill/>
              <a:prstDash val="solid"/>
              <a:miter/>
            </a:ln>
          </p:spPr>
          <p:txBody>
            <a:bodyPr rtlCol="0" anchor="ctr"/>
            <a:lstStyle/>
            <a:p>
              <a:endParaRPr lang="en-US"/>
            </a:p>
          </p:txBody>
        </p:sp>
      </p:grpSp>
      <p:sp>
        <p:nvSpPr>
          <p:cNvPr id="15" name="Rectangle 14">
            <a:extLst>
              <a:ext uri="{FF2B5EF4-FFF2-40B4-BE49-F238E27FC236}">
                <a16:creationId xmlns:a16="http://schemas.microsoft.com/office/drawing/2014/main" id="{D263FF33-00AE-4428-830E-14838A835872}"/>
              </a:ext>
            </a:extLst>
          </p:cNvPr>
          <p:cNvSpPr/>
          <p:nvPr/>
        </p:nvSpPr>
        <p:spPr>
          <a:xfrm>
            <a:off x="871046" y="5796171"/>
            <a:ext cx="10520218" cy="1061829"/>
          </a:xfrm>
          <a:prstGeom prst="rect">
            <a:avLst/>
          </a:prstGeom>
        </p:spPr>
        <p:txBody>
          <a:bodyPr wrap="square">
            <a:spAutoFit/>
          </a:bodyPr>
          <a:lstStyle/>
          <a:p>
            <a:pPr algn="ctr"/>
            <a:r>
              <a:rPr lang="en-SG" sz="900">
                <a:solidFill>
                  <a:schemeClr val="tx1"/>
                </a:solidFill>
              </a:rPr>
              <a:t>This presentation and the information contained herein (the “Materials”) is provided to the best of Trustwave’s reasonable knowledge and belief at the time of drafting, is confidential and proprietary and is not to be reproduced or distributed without the express written consent of Trustwave Holdings, Inc. (“Trustwave”). The Materials are provided solely for information purposes and are not a commitment, promise or legal obligation to purchase or deliver any product, features, functionalities or services, and should not be relied upon in any manner. Separate terms and conditions will be entered into in the event that Trustwave elects to enter any future transactions.  The Materials and any Trustwave product or service  offerings are subject to change without further notice at Trustwave’s sole and absolute discretion. THE MATERIALS ARE PROVIDED “AS IS”. TRUSTWAVE EXPRESSLY DISCLAIMS ANY AND ALL WARRANTIES, EXPRESS AND IMPLIED, INCLUDING WITHOUT LIMITATION WARRANTIES OF MERCHANTABILITY AND FITNESS FOR A PARTICULAR PURPOSE, WITH RESPECT TO THESE MATERIALS. IN NO EVENT SHALL TRUSTWAVE BE LIABLE FOR ANY DIRECT, INDIRECT, INCIDENTAL, PUNITIVE OR CONSEQUENTIAL DAMAGES OF ANY KIND WHATSOEVER WITH RESPECT TO THESE MATERIALS.</a:t>
            </a:r>
          </a:p>
        </p:txBody>
      </p:sp>
    </p:spTree>
    <p:extLst>
      <p:ext uri="{BB962C8B-B14F-4D97-AF65-F5344CB8AC3E}">
        <p14:creationId xmlns:p14="http://schemas.microsoft.com/office/powerpoint/2010/main" val="717449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End (Red)">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32195F4-DB27-4A99-B34C-7E934B9B1D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15181" y="2511894"/>
            <a:ext cx="5411319" cy="1983622"/>
          </a:xfrm>
          <a:prstGeom prst="rect">
            <a:avLst/>
          </a:prstGeom>
        </p:spPr>
      </p:pic>
      <p:sp>
        <p:nvSpPr>
          <p:cNvPr id="3" name="Rectangle 2">
            <a:extLst>
              <a:ext uri="{FF2B5EF4-FFF2-40B4-BE49-F238E27FC236}">
                <a16:creationId xmlns:a16="http://schemas.microsoft.com/office/drawing/2014/main" id="{6C55807C-619D-4303-8309-CD20D1267D35}"/>
              </a:ext>
            </a:extLst>
          </p:cNvPr>
          <p:cNvSpPr/>
          <p:nvPr/>
        </p:nvSpPr>
        <p:spPr>
          <a:xfrm>
            <a:off x="1016000" y="5796171"/>
            <a:ext cx="10529453" cy="1061829"/>
          </a:xfrm>
          <a:prstGeom prst="rect">
            <a:avLst/>
          </a:prstGeom>
        </p:spPr>
        <p:txBody>
          <a:bodyPr wrap="square">
            <a:spAutoFit/>
          </a:bodyPr>
          <a:lstStyle/>
          <a:p>
            <a:pPr algn="ctr"/>
            <a:r>
              <a:rPr lang="en-SG" sz="900">
                <a:solidFill>
                  <a:schemeClr val="bg1"/>
                </a:solidFill>
              </a:rPr>
              <a:t>This presentation and the information contained herein (the “Materials”) is provided to the best of Trustwave’s reasonable knowledge and belief at the time of drafting, is confidential and proprietary and is not to be reproduced or distributed without the express written consent of Trustwave Holdings, Inc. (“Trustwave”). The Materials are provided solely for information purposes and are not a commitment, promise or legal obligation to purchase or deliver any product, features, functionalities or services, and should not be relied upon in any manner. Separate terms and conditions will be entered into in the event that Trustwave elects to enter any future transactions.  The Materials and any Trustwave product or service  offerings are subject to change without further notice at Trustwave’s sole and absolute discretion. THE MATERIALS ARE PROVIDED “AS IS”. TRUSTWAVE EXPRESSLY DISCLAIMS ANY AND ALL WARRANTIES, EXPRESS AND IMPLIED, INCLUDING WITHOUT LIMITATION WARRANTIES OF MERCHANTABILITY AND FITNESS FOR A PARTICULAR PURPOSE, WITH RESPECT TO THESE MATERIALS. IN NO EVENT SHALL TRUSTWAVE BE LIABLE FOR ANY DIRECT, INDIRECT, INCIDENTAL, PUNITIVE OR CONSEQUENTIAL DAMAGES OF ANY KIND WHATSOEVER WITH RESPECT TO THESE MATERIALS.</a:t>
            </a:r>
          </a:p>
        </p:txBody>
      </p:sp>
    </p:spTree>
    <p:extLst>
      <p:ext uri="{BB962C8B-B14F-4D97-AF65-F5344CB8AC3E}">
        <p14:creationId xmlns:p14="http://schemas.microsoft.com/office/powerpoint/2010/main" val="2347965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End (Black)">
    <p:bg>
      <p:bgPr>
        <a:solidFill>
          <a:schemeClr val="tx1"/>
        </a:solidFill>
        <a:effectLst/>
      </p:bgPr>
    </p:bg>
    <p:spTree>
      <p:nvGrpSpPr>
        <p:cNvPr id="1" name=""/>
        <p:cNvGrpSpPr/>
        <p:nvPr/>
      </p:nvGrpSpPr>
      <p:grpSpPr>
        <a:xfrm>
          <a:off x="0" y="0"/>
          <a:ext cx="0" cy="0"/>
          <a:chOff x="0" y="0"/>
          <a:chExt cx="0" cy="0"/>
        </a:xfrm>
      </p:grpSpPr>
      <p:grpSp>
        <p:nvGrpSpPr>
          <p:cNvPr id="2" name="Graphic 55">
            <a:extLst>
              <a:ext uri="{FF2B5EF4-FFF2-40B4-BE49-F238E27FC236}">
                <a16:creationId xmlns:a16="http://schemas.microsoft.com/office/drawing/2014/main" id="{B6BB667C-85CA-4829-B15D-E7D534DCA8FD}"/>
              </a:ext>
            </a:extLst>
          </p:cNvPr>
          <p:cNvGrpSpPr/>
          <p:nvPr/>
        </p:nvGrpSpPr>
        <p:grpSpPr>
          <a:xfrm>
            <a:off x="3415181" y="2516536"/>
            <a:ext cx="5411319" cy="1983622"/>
            <a:chOff x="3415181" y="2303021"/>
            <a:chExt cx="5411319" cy="1983622"/>
          </a:xfrm>
          <a:solidFill>
            <a:schemeClr val="bg1"/>
          </a:solidFill>
        </p:grpSpPr>
        <p:sp>
          <p:nvSpPr>
            <p:cNvPr id="3" name="Freeform: Shape 2">
              <a:extLst>
                <a:ext uri="{FF2B5EF4-FFF2-40B4-BE49-F238E27FC236}">
                  <a16:creationId xmlns:a16="http://schemas.microsoft.com/office/drawing/2014/main" id="{BF12CF75-6935-4C44-9D16-1600C8A3622E}"/>
                </a:ext>
              </a:extLst>
            </p:cNvPr>
            <p:cNvSpPr/>
            <p:nvPr/>
          </p:nvSpPr>
          <p:spPr>
            <a:xfrm>
              <a:off x="4490304" y="2760841"/>
              <a:ext cx="507807" cy="698235"/>
            </a:xfrm>
            <a:custGeom>
              <a:avLst/>
              <a:gdLst>
                <a:gd name="connsiteX0" fmla="*/ 302304 w 507807"/>
                <a:gd name="connsiteY0" fmla="*/ 76965 h 698234"/>
                <a:gd name="connsiteX1" fmla="*/ 302304 w 507807"/>
                <a:gd name="connsiteY1" fmla="*/ 700615 h 698234"/>
                <a:gd name="connsiteX2" fmla="*/ 208677 w 507807"/>
                <a:gd name="connsiteY2" fmla="*/ 700615 h 698234"/>
                <a:gd name="connsiteX3" fmla="*/ 208677 w 507807"/>
                <a:gd name="connsiteY3" fmla="*/ 76965 h 698234"/>
                <a:gd name="connsiteX4" fmla="*/ 11902 w 507807"/>
                <a:gd name="connsiteY4" fmla="*/ 76965 h 698234"/>
                <a:gd name="connsiteX5" fmla="*/ 11902 w 507807"/>
                <a:gd name="connsiteY5" fmla="*/ 11902 h 698234"/>
                <a:gd name="connsiteX6" fmla="*/ 499079 w 507807"/>
                <a:gd name="connsiteY6" fmla="*/ 11902 h 698234"/>
                <a:gd name="connsiteX7" fmla="*/ 499079 w 507807"/>
                <a:gd name="connsiteY7" fmla="*/ 76965 h 698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807" h="698234">
                  <a:moveTo>
                    <a:pt x="302304" y="76965"/>
                  </a:moveTo>
                  <a:lnTo>
                    <a:pt x="302304" y="700615"/>
                  </a:lnTo>
                  <a:lnTo>
                    <a:pt x="208677" y="700615"/>
                  </a:lnTo>
                  <a:lnTo>
                    <a:pt x="208677" y="76965"/>
                  </a:lnTo>
                  <a:lnTo>
                    <a:pt x="11902" y="76965"/>
                  </a:lnTo>
                  <a:lnTo>
                    <a:pt x="11902" y="11902"/>
                  </a:lnTo>
                  <a:lnTo>
                    <a:pt x="499079" y="11902"/>
                  </a:lnTo>
                  <a:lnTo>
                    <a:pt x="499079" y="76965"/>
                  </a:lnTo>
                  <a:close/>
                </a:path>
              </a:pathLst>
            </a:custGeom>
            <a:grpFill/>
            <a:ln w="952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19709B35-87CC-4087-BC9D-86D95E7A3C2B}"/>
                </a:ext>
              </a:extLst>
            </p:cNvPr>
            <p:cNvSpPr/>
            <p:nvPr/>
          </p:nvSpPr>
          <p:spPr>
            <a:xfrm>
              <a:off x="4917179" y="2954442"/>
              <a:ext cx="269773" cy="507807"/>
            </a:xfrm>
            <a:custGeom>
              <a:avLst/>
              <a:gdLst>
                <a:gd name="connsiteX0" fmla="*/ 11902 w 269772"/>
                <a:gd name="connsiteY0" fmla="*/ 507014 h 507807"/>
                <a:gd name="connsiteX1" fmla="*/ 11902 w 269772"/>
                <a:gd name="connsiteY1" fmla="*/ 19836 h 507807"/>
                <a:gd name="connsiteX2" fmla="*/ 96007 w 269772"/>
                <a:gd name="connsiteY2" fmla="*/ 19836 h 507807"/>
                <a:gd name="connsiteX3" fmla="*/ 96007 w 269772"/>
                <a:gd name="connsiteY3" fmla="*/ 83312 h 507807"/>
                <a:gd name="connsiteX4" fmla="*/ 215024 w 269772"/>
                <a:gd name="connsiteY4" fmla="*/ 11902 h 507807"/>
                <a:gd name="connsiteX5" fmla="*/ 272153 w 269772"/>
                <a:gd name="connsiteY5" fmla="*/ 30945 h 507807"/>
                <a:gd name="connsiteX6" fmla="*/ 272153 w 269772"/>
                <a:gd name="connsiteY6" fmla="*/ 107116 h 507807"/>
                <a:gd name="connsiteX7" fmla="*/ 191221 w 269772"/>
                <a:gd name="connsiteY7" fmla="*/ 80138 h 507807"/>
                <a:gd name="connsiteX8" fmla="*/ 96007 w 269772"/>
                <a:gd name="connsiteY8" fmla="*/ 172178 h 507807"/>
                <a:gd name="connsiteX9" fmla="*/ 96007 w 269772"/>
                <a:gd name="connsiteY9" fmla="*/ 507014 h 507807"/>
                <a:gd name="connsiteX10" fmla="*/ 11902 w 269772"/>
                <a:gd name="connsiteY10" fmla="*/ 507014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9772" h="507807">
                  <a:moveTo>
                    <a:pt x="11902" y="507014"/>
                  </a:moveTo>
                  <a:lnTo>
                    <a:pt x="11902" y="19836"/>
                  </a:lnTo>
                  <a:lnTo>
                    <a:pt x="96007" y="19836"/>
                  </a:lnTo>
                  <a:lnTo>
                    <a:pt x="96007" y="83312"/>
                  </a:lnTo>
                  <a:cubicBezTo>
                    <a:pt x="107116" y="67443"/>
                    <a:pt x="145201" y="11902"/>
                    <a:pt x="215024" y="11902"/>
                  </a:cubicBezTo>
                  <a:cubicBezTo>
                    <a:pt x="245176" y="11902"/>
                    <a:pt x="261045" y="23010"/>
                    <a:pt x="272153" y="30945"/>
                  </a:cubicBezTo>
                  <a:lnTo>
                    <a:pt x="272153" y="107116"/>
                  </a:lnTo>
                  <a:cubicBezTo>
                    <a:pt x="259458" y="97594"/>
                    <a:pt x="232480" y="80138"/>
                    <a:pt x="191221" y="80138"/>
                  </a:cubicBezTo>
                  <a:cubicBezTo>
                    <a:pt x="107116" y="80138"/>
                    <a:pt x="96007" y="146788"/>
                    <a:pt x="96007" y="172178"/>
                  </a:cubicBezTo>
                  <a:lnTo>
                    <a:pt x="96007" y="507014"/>
                  </a:lnTo>
                  <a:lnTo>
                    <a:pt x="11902" y="507014"/>
                  </a:lnTo>
                  <a:close/>
                </a:path>
              </a:pathLst>
            </a:custGeom>
            <a:grpFill/>
            <a:ln w="9525"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F38DEB19-4705-413B-A1B3-963CBA8A4F13}"/>
                </a:ext>
              </a:extLst>
            </p:cNvPr>
            <p:cNvSpPr/>
            <p:nvPr/>
          </p:nvSpPr>
          <p:spPr>
            <a:xfrm>
              <a:off x="5248841" y="2962377"/>
              <a:ext cx="412593" cy="507807"/>
            </a:xfrm>
            <a:custGeom>
              <a:avLst/>
              <a:gdLst>
                <a:gd name="connsiteX0" fmla="*/ 319760 w 412593"/>
                <a:gd name="connsiteY0" fmla="*/ 499079 h 507807"/>
                <a:gd name="connsiteX1" fmla="*/ 319760 w 412593"/>
                <a:gd name="connsiteY1" fmla="*/ 441951 h 507807"/>
                <a:gd name="connsiteX2" fmla="*/ 159483 w 412593"/>
                <a:gd name="connsiteY2" fmla="*/ 508601 h 507807"/>
                <a:gd name="connsiteX3" fmla="*/ 65856 w 412593"/>
                <a:gd name="connsiteY3" fmla="*/ 480037 h 507807"/>
                <a:gd name="connsiteX4" fmla="*/ 11902 w 412593"/>
                <a:gd name="connsiteY4" fmla="*/ 330868 h 507807"/>
                <a:gd name="connsiteX5" fmla="*/ 11902 w 412593"/>
                <a:gd name="connsiteY5" fmla="*/ 11902 h 507807"/>
                <a:gd name="connsiteX6" fmla="*/ 94420 w 412593"/>
                <a:gd name="connsiteY6" fmla="*/ 11902 h 507807"/>
                <a:gd name="connsiteX7" fmla="*/ 94420 w 412593"/>
                <a:gd name="connsiteY7" fmla="*/ 308652 h 507807"/>
                <a:gd name="connsiteX8" fmla="*/ 194395 w 412593"/>
                <a:gd name="connsiteY8" fmla="*/ 454646 h 507807"/>
                <a:gd name="connsiteX9" fmla="*/ 291195 w 412593"/>
                <a:gd name="connsiteY9" fmla="*/ 419734 h 507807"/>
                <a:gd name="connsiteX10" fmla="*/ 319760 w 412593"/>
                <a:gd name="connsiteY10" fmla="*/ 341976 h 507807"/>
                <a:gd name="connsiteX11" fmla="*/ 319760 w 412593"/>
                <a:gd name="connsiteY11" fmla="*/ 11902 h 507807"/>
                <a:gd name="connsiteX12" fmla="*/ 402278 w 412593"/>
                <a:gd name="connsiteY12" fmla="*/ 11902 h 507807"/>
                <a:gd name="connsiteX13" fmla="*/ 402278 w 412593"/>
                <a:gd name="connsiteY13" fmla="*/ 499079 h 507807"/>
                <a:gd name="connsiteX14" fmla="*/ 319760 w 412593"/>
                <a:gd name="connsiteY14" fmla="*/ 499079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593" h="507807">
                  <a:moveTo>
                    <a:pt x="319760" y="499079"/>
                  </a:moveTo>
                  <a:lnTo>
                    <a:pt x="319760" y="441951"/>
                  </a:lnTo>
                  <a:cubicBezTo>
                    <a:pt x="294369" y="465754"/>
                    <a:pt x="240415" y="508601"/>
                    <a:pt x="159483" y="508601"/>
                  </a:cubicBezTo>
                  <a:cubicBezTo>
                    <a:pt x="129332" y="508601"/>
                    <a:pt x="97594" y="505427"/>
                    <a:pt x="65856" y="480037"/>
                  </a:cubicBezTo>
                  <a:cubicBezTo>
                    <a:pt x="16662" y="441951"/>
                    <a:pt x="11902" y="386410"/>
                    <a:pt x="11902" y="330868"/>
                  </a:cubicBezTo>
                  <a:lnTo>
                    <a:pt x="11902" y="11902"/>
                  </a:lnTo>
                  <a:lnTo>
                    <a:pt x="94420" y="11902"/>
                  </a:lnTo>
                  <a:lnTo>
                    <a:pt x="94420" y="308652"/>
                  </a:lnTo>
                  <a:cubicBezTo>
                    <a:pt x="94420" y="375301"/>
                    <a:pt x="100768" y="454646"/>
                    <a:pt x="194395" y="454646"/>
                  </a:cubicBezTo>
                  <a:cubicBezTo>
                    <a:pt x="226133" y="454646"/>
                    <a:pt x="268979" y="441951"/>
                    <a:pt x="291195" y="419734"/>
                  </a:cubicBezTo>
                  <a:cubicBezTo>
                    <a:pt x="314999" y="394344"/>
                    <a:pt x="319760" y="373714"/>
                    <a:pt x="319760" y="341976"/>
                  </a:cubicBezTo>
                  <a:lnTo>
                    <a:pt x="319760" y="11902"/>
                  </a:lnTo>
                  <a:lnTo>
                    <a:pt x="402278" y="11902"/>
                  </a:lnTo>
                  <a:lnTo>
                    <a:pt x="402278" y="499079"/>
                  </a:lnTo>
                  <a:lnTo>
                    <a:pt x="319760" y="499079"/>
                  </a:lnTo>
                  <a:close/>
                </a:path>
              </a:pathLst>
            </a:custGeom>
            <a:grp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10F48896-DDD7-4630-B669-30BA4075F2B5}"/>
                </a:ext>
              </a:extLst>
            </p:cNvPr>
            <p:cNvSpPr/>
            <p:nvPr/>
          </p:nvSpPr>
          <p:spPr>
            <a:xfrm>
              <a:off x="5697933" y="2951269"/>
              <a:ext cx="380855" cy="523676"/>
            </a:xfrm>
            <a:custGeom>
              <a:avLst/>
              <a:gdLst>
                <a:gd name="connsiteX0" fmla="*/ 288022 w 380855"/>
                <a:gd name="connsiteY0" fmla="*/ 162657 h 523676"/>
                <a:gd name="connsiteX1" fmla="*/ 288022 w 380855"/>
                <a:gd name="connsiteY1" fmla="*/ 148375 h 523676"/>
                <a:gd name="connsiteX2" fmla="*/ 195982 w 380855"/>
                <a:gd name="connsiteY2" fmla="*/ 64269 h 523676"/>
                <a:gd name="connsiteX3" fmla="*/ 102355 w 380855"/>
                <a:gd name="connsiteY3" fmla="*/ 137267 h 523676"/>
                <a:gd name="connsiteX4" fmla="*/ 197569 w 380855"/>
                <a:gd name="connsiteY4" fmla="*/ 216612 h 523676"/>
                <a:gd name="connsiteX5" fmla="*/ 248349 w 380855"/>
                <a:gd name="connsiteY5" fmla="*/ 230894 h 523676"/>
                <a:gd name="connsiteX6" fmla="*/ 376888 w 380855"/>
                <a:gd name="connsiteY6" fmla="*/ 373714 h 523676"/>
                <a:gd name="connsiteX7" fmla="*/ 192808 w 380855"/>
                <a:gd name="connsiteY7" fmla="*/ 521296 h 523676"/>
                <a:gd name="connsiteX8" fmla="*/ 11902 w 380855"/>
                <a:gd name="connsiteY8" fmla="*/ 373714 h 523676"/>
                <a:gd name="connsiteX9" fmla="*/ 11902 w 380855"/>
                <a:gd name="connsiteY9" fmla="*/ 361019 h 523676"/>
                <a:gd name="connsiteX10" fmla="*/ 96007 w 380855"/>
                <a:gd name="connsiteY10" fmla="*/ 361019 h 523676"/>
                <a:gd name="connsiteX11" fmla="*/ 96007 w 380855"/>
                <a:gd name="connsiteY11" fmla="*/ 373714 h 523676"/>
                <a:gd name="connsiteX12" fmla="*/ 200742 w 380855"/>
                <a:gd name="connsiteY12" fmla="*/ 467341 h 523676"/>
                <a:gd name="connsiteX13" fmla="*/ 295956 w 380855"/>
                <a:gd name="connsiteY13" fmla="*/ 391170 h 523676"/>
                <a:gd name="connsiteX14" fmla="*/ 203916 w 380855"/>
                <a:gd name="connsiteY14" fmla="*/ 302304 h 523676"/>
                <a:gd name="connsiteX15" fmla="*/ 142027 w 380855"/>
                <a:gd name="connsiteY15" fmla="*/ 283261 h 523676"/>
                <a:gd name="connsiteX16" fmla="*/ 27771 w 380855"/>
                <a:gd name="connsiteY16" fmla="*/ 157896 h 523676"/>
                <a:gd name="connsiteX17" fmla="*/ 200742 w 380855"/>
                <a:gd name="connsiteY17" fmla="*/ 11902 h 523676"/>
                <a:gd name="connsiteX18" fmla="*/ 368954 w 380855"/>
                <a:gd name="connsiteY18" fmla="*/ 156309 h 523676"/>
                <a:gd name="connsiteX19" fmla="*/ 368954 w 380855"/>
                <a:gd name="connsiteY19" fmla="*/ 162657 h 523676"/>
                <a:gd name="connsiteX20" fmla="*/ 288022 w 380855"/>
                <a:gd name="connsiteY20" fmla="*/ 162657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0855" h="523676">
                  <a:moveTo>
                    <a:pt x="288022" y="162657"/>
                  </a:moveTo>
                  <a:lnTo>
                    <a:pt x="288022" y="148375"/>
                  </a:lnTo>
                  <a:cubicBezTo>
                    <a:pt x="288022" y="115050"/>
                    <a:pt x="272153" y="64269"/>
                    <a:pt x="195982" y="64269"/>
                  </a:cubicBezTo>
                  <a:cubicBezTo>
                    <a:pt x="130919" y="64269"/>
                    <a:pt x="102355" y="100768"/>
                    <a:pt x="102355" y="137267"/>
                  </a:cubicBezTo>
                  <a:cubicBezTo>
                    <a:pt x="102355" y="184874"/>
                    <a:pt x="151548" y="203916"/>
                    <a:pt x="197569" y="216612"/>
                  </a:cubicBezTo>
                  <a:lnTo>
                    <a:pt x="248349" y="230894"/>
                  </a:lnTo>
                  <a:cubicBezTo>
                    <a:pt x="330868" y="254697"/>
                    <a:pt x="376888" y="295956"/>
                    <a:pt x="376888" y="373714"/>
                  </a:cubicBezTo>
                  <a:cubicBezTo>
                    <a:pt x="376888" y="446712"/>
                    <a:pt x="330868" y="521296"/>
                    <a:pt x="192808" y="521296"/>
                  </a:cubicBezTo>
                  <a:cubicBezTo>
                    <a:pt x="56335" y="521296"/>
                    <a:pt x="11902" y="454646"/>
                    <a:pt x="11902" y="373714"/>
                  </a:cubicBezTo>
                  <a:lnTo>
                    <a:pt x="11902" y="361019"/>
                  </a:lnTo>
                  <a:lnTo>
                    <a:pt x="96007" y="361019"/>
                  </a:lnTo>
                  <a:lnTo>
                    <a:pt x="96007" y="373714"/>
                  </a:lnTo>
                  <a:cubicBezTo>
                    <a:pt x="96007" y="414974"/>
                    <a:pt x="115050" y="467341"/>
                    <a:pt x="200742" y="467341"/>
                  </a:cubicBezTo>
                  <a:cubicBezTo>
                    <a:pt x="272153" y="467341"/>
                    <a:pt x="295956" y="430843"/>
                    <a:pt x="295956" y="391170"/>
                  </a:cubicBezTo>
                  <a:cubicBezTo>
                    <a:pt x="295956" y="330868"/>
                    <a:pt x="248349" y="316586"/>
                    <a:pt x="203916" y="302304"/>
                  </a:cubicBezTo>
                  <a:lnTo>
                    <a:pt x="142027" y="283261"/>
                  </a:lnTo>
                  <a:cubicBezTo>
                    <a:pt x="111876" y="273740"/>
                    <a:pt x="27771" y="249936"/>
                    <a:pt x="27771" y="157896"/>
                  </a:cubicBezTo>
                  <a:cubicBezTo>
                    <a:pt x="27771" y="88073"/>
                    <a:pt x="69030" y="11902"/>
                    <a:pt x="200742" y="11902"/>
                  </a:cubicBezTo>
                  <a:cubicBezTo>
                    <a:pt x="284848" y="11902"/>
                    <a:pt x="368954" y="46813"/>
                    <a:pt x="368954" y="156309"/>
                  </a:cubicBezTo>
                  <a:lnTo>
                    <a:pt x="368954" y="162657"/>
                  </a:lnTo>
                  <a:lnTo>
                    <a:pt x="288022" y="162657"/>
                  </a:lnTo>
                  <a:close/>
                </a:path>
              </a:pathLst>
            </a:custGeom>
            <a:grp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71C290F-4ED0-40FD-852E-52590B3A1E4B}"/>
                </a:ext>
              </a:extLst>
            </p:cNvPr>
            <p:cNvSpPr/>
            <p:nvPr/>
          </p:nvSpPr>
          <p:spPr>
            <a:xfrm>
              <a:off x="6131155" y="2840186"/>
              <a:ext cx="888662" cy="634759"/>
            </a:xfrm>
            <a:custGeom>
              <a:avLst/>
              <a:gdLst>
                <a:gd name="connsiteX0" fmla="*/ 802177 w 888662"/>
                <a:gd name="connsiteY0" fmla="*/ 134093 h 634759"/>
                <a:gd name="connsiteX1" fmla="*/ 692681 w 888662"/>
                <a:gd name="connsiteY1" fmla="*/ 535578 h 634759"/>
                <a:gd name="connsiteX2" fmla="*/ 581598 w 888662"/>
                <a:gd name="connsiteY2" fmla="*/ 134093 h 634759"/>
                <a:gd name="connsiteX3" fmla="*/ 503840 w 888662"/>
                <a:gd name="connsiteY3" fmla="*/ 134093 h 634759"/>
                <a:gd name="connsiteX4" fmla="*/ 378475 w 888662"/>
                <a:gd name="connsiteY4" fmla="*/ 533991 h 634759"/>
                <a:gd name="connsiteX5" fmla="*/ 273740 w 888662"/>
                <a:gd name="connsiteY5" fmla="*/ 132506 h 634759"/>
                <a:gd name="connsiteX6" fmla="*/ 97594 w 888662"/>
                <a:gd name="connsiteY6" fmla="*/ 132506 h 634759"/>
                <a:gd name="connsiteX7" fmla="*/ 97594 w 888662"/>
                <a:gd name="connsiteY7" fmla="*/ 11902 h 634759"/>
                <a:gd name="connsiteX8" fmla="*/ 13489 w 888662"/>
                <a:gd name="connsiteY8" fmla="*/ 26184 h 634759"/>
                <a:gd name="connsiteX9" fmla="*/ 11902 w 888662"/>
                <a:gd name="connsiteY9" fmla="*/ 475276 h 634759"/>
                <a:gd name="connsiteX10" fmla="*/ 48400 w 888662"/>
                <a:gd name="connsiteY10" fmla="*/ 608575 h 634759"/>
                <a:gd name="connsiteX11" fmla="*/ 124572 w 888662"/>
                <a:gd name="connsiteY11" fmla="*/ 630792 h 634759"/>
                <a:gd name="connsiteX12" fmla="*/ 216612 w 888662"/>
                <a:gd name="connsiteY12" fmla="*/ 614923 h 634759"/>
                <a:gd name="connsiteX13" fmla="*/ 216612 w 888662"/>
                <a:gd name="connsiteY13" fmla="*/ 557795 h 634759"/>
                <a:gd name="connsiteX14" fmla="*/ 161070 w 888662"/>
                <a:gd name="connsiteY14" fmla="*/ 568903 h 634759"/>
                <a:gd name="connsiteX15" fmla="*/ 97594 w 888662"/>
                <a:gd name="connsiteY15" fmla="*/ 478450 h 634759"/>
                <a:gd name="connsiteX16" fmla="*/ 99181 w 888662"/>
                <a:gd name="connsiteY16" fmla="*/ 183287 h 634759"/>
                <a:gd name="connsiteX17" fmla="*/ 202329 w 888662"/>
                <a:gd name="connsiteY17" fmla="*/ 183287 h 634759"/>
                <a:gd name="connsiteX18" fmla="*/ 329281 w 888662"/>
                <a:gd name="connsiteY18" fmla="*/ 621270 h 634759"/>
                <a:gd name="connsiteX19" fmla="*/ 418147 w 888662"/>
                <a:gd name="connsiteY19" fmla="*/ 621270 h 634759"/>
                <a:gd name="connsiteX20" fmla="*/ 535578 w 888662"/>
                <a:gd name="connsiteY20" fmla="*/ 246763 h 634759"/>
                <a:gd name="connsiteX21" fmla="*/ 643487 w 888662"/>
                <a:gd name="connsiteY21" fmla="*/ 621270 h 634759"/>
                <a:gd name="connsiteX22" fmla="*/ 733940 w 888662"/>
                <a:gd name="connsiteY22" fmla="*/ 621270 h 634759"/>
                <a:gd name="connsiteX23" fmla="*/ 878348 w 888662"/>
                <a:gd name="connsiteY23" fmla="*/ 134093 h 634759"/>
                <a:gd name="connsiteX24" fmla="*/ 802177 w 888662"/>
                <a:gd name="connsiteY24" fmla="*/ 134093 h 634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8662" h="634759">
                  <a:moveTo>
                    <a:pt x="802177" y="134093"/>
                  </a:moveTo>
                  <a:lnTo>
                    <a:pt x="692681" y="535578"/>
                  </a:lnTo>
                  <a:lnTo>
                    <a:pt x="581598" y="134093"/>
                  </a:lnTo>
                  <a:lnTo>
                    <a:pt x="503840" y="134093"/>
                  </a:lnTo>
                  <a:lnTo>
                    <a:pt x="378475" y="533991"/>
                  </a:lnTo>
                  <a:lnTo>
                    <a:pt x="273740" y="132506"/>
                  </a:lnTo>
                  <a:lnTo>
                    <a:pt x="97594" y="132506"/>
                  </a:lnTo>
                  <a:lnTo>
                    <a:pt x="97594" y="11902"/>
                  </a:lnTo>
                  <a:lnTo>
                    <a:pt x="13489" y="26184"/>
                  </a:lnTo>
                  <a:lnTo>
                    <a:pt x="11902" y="475276"/>
                  </a:lnTo>
                  <a:cubicBezTo>
                    <a:pt x="11902" y="553034"/>
                    <a:pt x="15076" y="583185"/>
                    <a:pt x="48400" y="608575"/>
                  </a:cubicBezTo>
                  <a:cubicBezTo>
                    <a:pt x="76965" y="630792"/>
                    <a:pt x="113463" y="630792"/>
                    <a:pt x="124572" y="630792"/>
                  </a:cubicBezTo>
                  <a:cubicBezTo>
                    <a:pt x="167418" y="630792"/>
                    <a:pt x="199156" y="619684"/>
                    <a:pt x="216612" y="614923"/>
                  </a:cubicBezTo>
                  <a:lnTo>
                    <a:pt x="216612" y="557795"/>
                  </a:lnTo>
                  <a:cubicBezTo>
                    <a:pt x="207090" y="560968"/>
                    <a:pt x="188047" y="568903"/>
                    <a:pt x="161070" y="568903"/>
                  </a:cubicBezTo>
                  <a:cubicBezTo>
                    <a:pt x="103942" y="568903"/>
                    <a:pt x="97594" y="529230"/>
                    <a:pt x="97594" y="478450"/>
                  </a:cubicBezTo>
                  <a:lnTo>
                    <a:pt x="99181" y="183287"/>
                  </a:lnTo>
                  <a:lnTo>
                    <a:pt x="202329" y="183287"/>
                  </a:lnTo>
                  <a:lnTo>
                    <a:pt x="329281" y="621270"/>
                  </a:lnTo>
                  <a:lnTo>
                    <a:pt x="418147" y="621270"/>
                  </a:lnTo>
                  <a:lnTo>
                    <a:pt x="535578" y="246763"/>
                  </a:lnTo>
                  <a:lnTo>
                    <a:pt x="643487" y="621270"/>
                  </a:lnTo>
                  <a:lnTo>
                    <a:pt x="733940" y="621270"/>
                  </a:lnTo>
                  <a:lnTo>
                    <a:pt x="878348" y="134093"/>
                  </a:lnTo>
                  <a:lnTo>
                    <a:pt x="802177" y="134093"/>
                  </a:lnTo>
                  <a:close/>
                </a:path>
              </a:pathLst>
            </a:custGeom>
            <a:grp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A8A1CE7E-4B3F-4C4F-9DD5-1697A924EFFB}"/>
                </a:ext>
              </a:extLst>
            </p:cNvPr>
            <p:cNvSpPr/>
            <p:nvPr/>
          </p:nvSpPr>
          <p:spPr>
            <a:xfrm>
              <a:off x="7013470" y="2951269"/>
              <a:ext cx="412593" cy="523676"/>
            </a:xfrm>
            <a:custGeom>
              <a:avLst/>
              <a:gdLst>
                <a:gd name="connsiteX0" fmla="*/ 348324 w 412593"/>
                <a:gd name="connsiteY0" fmla="*/ 510188 h 523676"/>
                <a:gd name="connsiteX1" fmla="*/ 308651 w 412593"/>
                <a:gd name="connsiteY1" fmla="*/ 470515 h 523676"/>
                <a:gd name="connsiteX2" fmla="*/ 308651 w 412593"/>
                <a:gd name="connsiteY2" fmla="*/ 456233 h 523676"/>
                <a:gd name="connsiteX3" fmla="*/ 164244 w 412593"/>
                <a:gd name="connsiteY3" fmla="*/ 519709 h 523676"/>
                <a:gd name="connsiteX4" fmla="*/ 11902 w 412593"/>
                <a:gd name="connsiteY4" fmla="*/ 378475 h 523676"/>
                <a:gd name="connsiteX5" fmla="*/ 73791 w 412593"/>
                <a:gd name="connsiteY5" fmla="*/ 264218 h 523676"/>
                <a:gd name="connsiteX6" fmla="*/ 310238 w 412593"/>
                <a:gd name="connsiteY6" fmla="*/ 215025 h 523676"/>
                <a:gd name="connsiteX7" fmla="*/ 310238 w 412593"/>
                <a:gd name="connsiteY7" fmla="*/ 162657 h 523676"/>
                <a:gd name="connsiteX8" fmla="*/ 218198 w 412593"/>
                <a:gd name="connsiteY8" fmla="*/ 65856 h 523676"/>
                <a:gd name="connsiteX9" fmla="*/ 110289 w 412593"/>
                <a:gd name="connsiteY9" fmla="*/ 170591 h 523676"/>
                <a:gd name="connsiteX10" fmla="*/ 110289 w 412593"/>
                <a:gd name="connsiteY10" fmla="*/ 176939 h 523676"/>
                <a:gd name="connsiteX11" fmla="*/ 30944 w 412593"/>
                <a:gd name="connsiteY11" fmla="*/ 176939 h 523676"/>
                <a:gd name="connsiteX12" fmla="*/ 30944 w 412593"/>
                <a:gd name="connsiteY12" fmla="*/ 162657 h 523676"/>
                <a:gd name="connsiteX13" fmla="*/ 224546 w 412593"/>
                <a:gd name="connsiteY13" fmla="*/ 11902 h 523676"/>
                <a:gd name="connsiteX14" fmla="*/ 370541 w 412593"/>
                <a:gd name="connsiteY14" fmla="*/ 67443 h 523676"/>
                <a:gd name="connsiteX15" fmla="*/ 392757 w 412593"/>
                <a:gd name="connsiteY15" fmla="*/ 172178 h 523676"/>
                <a:gd name="connsiteX16" fmla="*/ 392757 w 412593"/>
                <a:gd name="connsiteY16" fmla="*/ 438777 h 523676"/>
                <a:gd name="connsiteX17" fmla="*/ 414974 w 412593"/>
                <a:gd name="connsiteY17" fmla="*/ 497492 h 523676"/>
                <a:gd name="connsiteX18" fmla="*/ 414974 w 412593"/>
                <a:gd name="connsiteY18" fmla="*/ 510188 h 523676"/>
                <a:gd name="connsiteX19" fmla="*/ 348324 w 412593"/>
                <a:gd name="connsiteY19" fmla="*/ 510188 h 523676"/>
                <a:gd name="connsiteX20" fmla="*/ 307065 w 412593"/>
                <a:gd name="connsiteY20" fmla="*/ 261045 h 523676"/>
                <a:gd name="connsiteX21" fmla="*/ 142027 w 412593"/>
                <a:gd name="connsiteY21" fmla="*/ 297543 h 523676"/>
                <a:gd name="connsiteX22" fmla="*/ 97594 w 412593"/>
                <a:gd name="connsiteY22" fmla="*/ 376888 h 523676"/>
                <a:gd name="connsiteX23" fmla="*/ 186460 w 412593"/>
                <a:gd name="connsiteY23" fmla="*/ 464168 h 523676"/>
                <a:gd name="connsiteX24" fmla="*/ 261045 w 412593"/>
                <a:gd name="connsiteY24" fmla="*/ 443538 h 523676"/>
                <a:gd name="connsiteX25" fmla="*/ 305478 w 412593"/>
                <a:gd name="connsiteY25" fmla="*/ 334042 h 523676"/>
                <a:gd name="connsiteX26" fmla="*/ 305478 w 412593"/>
                <a:gd name="connsiteY26" fmla="*/ 261045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2593" h="523676">
                  <a:moveTo>
                    <a:pt x="348324" y="510188"/>
                  </a:moveTo>
                  <a:cubicBezTo>
                    <a:pt x="316586" y="510188"/>
                    <a:pt x="308651" y="499079"/>
                    <a:pt x="308651" y="470515"/>
                  </a:cubicBezTo>
                  <a:lnTo>
                    <a:pt x="308651" y="456233"/>
                  </a:lnTo>
                  <a:cubicBezTo>
                    <a:pt x="267392" y="503840"/>
                    <a:pt x="210264" y="519709"/>
                    <a:pt x="164244" y="519709"/>
                  </a:cubicBezTo>
                  <a:cubicBezTo>
                    <a:pt x="70617" y="519709"/>
                    <a:pt x="11902" y="472102"/>
                    <a:pt x="11902" y="378475"/>
                  </a:cubicBezTo>
                  <a:cubicBezTo>
                    <a:pt x="11902" y="311825"/>
                    <a:pt x="51574" y="276914"/>
                    <a:pt x="73791" y="264218"/>
                  </a:cubicBezTo>
                  <a:cubicBezTo>
                    <a:pt x="107116" y="245176"/>
                    <a:pt x="153135" y="229307"/>
                    <a:pt x="310238" y="215025"/>
                  </a:cubicBezTo>
                  <a:lnTo>
                    <a:pt x="310238" y="162657"/>
                  </a:lnTo>
                  <a:cubicBezTo>
                    <a:pt x="310238" y="97594"/>
                    <a:pt x="283261" y="65856"/>
                    <a:pt x="218198" y="65856"/>
                  </a:cubicBezTo>
                  <a:cubicBezTo>
                    <a:pt x="188047" y="65856"/>
                    <a:pt x="110289" y="69030"/>
                    <a:pt x="110289" y="170591"/>
                  </a:cubicBezTo>
                  <a:lnTo>
                    <a:pt x="110289" y="176939"/>
                  </a:lnTo>
                  <a:lnTo>
                    <a:pt x="30944" y="176939"/>
                  </a:lnTo>
                  <a:lnTo>
                    <a:pt x="30944" y="162657"/>
                  </a:lnTo>
                  <a:cubicBezTo>
                    <a:pt x="30944" y="46813"/>
                    <a:pt x="129332" y="11902"/>
                    <a:pt x="224546" y="11902"/>
                  </a:cubicBezTo>
                  <a:cubicBezTo>
                    <a:pt x="302304" y="11902"/>
                    <a:pt x="348324" y="35705"/>
                    <a:pt x="370541" y="67443"/>
                  </a:cubicBezTo>
                  <a:cubicBezTo>
                    <a:pt x="389583" y="94420"/>
                    <a:pt x="392757" y="135680"/>
                    <a:pt x="392757" y="172178"/>
                  </a:cubicBezTo>
                  <a:lnTo>
                    <a:pt x="392757" y="438777"/>
                  </a:lnTo>
                  <a:cubicBezTo>
                    <a:pt x="392757" y="475276"/>
                    <a:pt x="397518" y="495906"/>
                    <a:pt x="414974" y="497492"/>
                  </a:cubicBezTo>
                  <a:lnTo>
                    <a:pt x="414974" y="510188"/>
                  </a:lnTo>
                  <a:lnTo>
                    <a:pt x="348324" y="510188"/>
                  </a:lnTo>
                  <a:close/>
                  <a:moveTo>
                    <a:pt x="307065" y="261045"/>
                  </a:moveTo>
                  <a:cubicBezTo>
                    <a:pt x="207090" y="272153"/>
                    <a:pt x="164244" y="284848"/>
                    <a:pt x="142027" y="297543"/>
                  </a:cubicBezTo>
                  <a:cubicBezTo>
                    <a:pt x="108703" y="316586"/>
                    <a:pt x="97594" y="346737"/>
                    <a:pt x="97594" y="376888"/>
                  </a:cubicBezTo>
                  <a:cubicBezTo>
                    <a:pt x="97594" y="430843"/>
                    <a:pt x="129332" y="464168"/>
                    <a:pt x="186460" y="464168"/>
                  </a:cubicBezTo>
                  <a:cubicBezTo>
                    <a:pt x="216611" y="464168"/>
                    <a:pt x="242002" y="456233"/>
                    <a:pt x="261045" y="443538"/>
                  </a:cubicBezTo>
                  <a:cubicBezTo>
                    <a:pt x="302304" y="416561"/>
                    <a:pt x="305478" y="370541"/>
                    <a:pt x="305478" y="334042"/>
                  </a:cubicBezTo>
                  <a:lnTo>
                    <a:pt x="305478" y="261045"/>
                  </a:lnTo>
                  <a:close/>
                </a:path>
              </a:pathLst>
            </a:custGeom>
            <a:grp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21D4F253-FCC8-4148-97EF-2AECA5E13C67}"/>
                </a:ext>
              </a:extLst>
            </p:cNvPr>
            <p:cNvSpPr/>
            <p:nvPr/>
          </p:nvSpPr>
          <p:spPr>
            <a:xfrm>
              <a:off x="7432411" y="2962377"/>
              <a:ext cx="444331" cy="507807"/>
            </a:xfrm>
            <a:custGeom>
              <a:avLst/>
              <a:gdLst>
                <a:gd name="connsiteX0" fmla="*/ 262632 w 444331"/>
                <a:gd name="connsiteY0" fmla="*/ 499079 h 507807"/>
                <a:gd name="connsiteX1" fmla="*/ 173765 w 444331"/>
                <a:gd name="connsiteY1" fmla="*/ 499079 h 507807"/>
                <a:gd name="connsiteX2" fmla="*/ 11902 w 444331"/>
                <a:gd name="connsiteY2" fmla="*/ 11902 h 507807"/>
                <a:gd name="connsiteX3" fmla="*/ 103942 w 444331"/>
                <a:gd name="connsiteY3" fmla="*/ 11902 h 507807"/>
                <a:gd name="connsiteX4" fmla="*/ 226133 w 444331"/>
                <a:gd name="connsiteY4" fmla="*/ 411800 h 507807"/>
                <a:gd name="connsiteX5" fmla="*/ 364193 w 444331"/>
                <a:gd name="connsiteY5" fmla="*/ 11902 h 507807"/>
                <a:gd name="connsiteX6" fmla="*/ 440364 w 444331"/>
                <a:gd name="connsiteY6" fmla="*/ 11902 h 50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331" h="507807">
                  <a:moveTo>
                    <a:pt x="262632" y="499079"/>
                  </a:moveTo>
                  <a:lnTo>
                    <a:pt x="173765" y="499079"/>
                  </a:lnTo>
                  <a:lnTo>
                    <a:pt x="11902" y="11902"/>
                  </a:lnTo>
                  <a:lnTo>
                    <a:pt x="103942" y="11902"/>
                  </a:lnTo>
                  <a:lnTo>
                    <a:pt x="226133" y="411800"/>
                  </a:lnTo>
                  <a:lnTo>
                    <a:pt x="364193" y="11902"/>
                  </a:lnTo>
                  <a:lnTo>
                    <a:pt x="440364" y="11902"/>
                  </a:ln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B320D60F-F1AA-4BB9-B6BC-C5B3C9F46C0D}"/>
                </a:ext>
              </a:extLst>
            </p:cNvPr>
            <p:cNvSpPr/>
            <p:nvPr/>
          </p:nvSpPr>
          <p:spPr>
            <a:xfrm>
              <a:off x="7871982" y="2951269"/>
              <a:ext cx="428462" cy="523676"/>
            </a:xfrm>
            <a:custGeom>
              <a:avLst/>
              <a:gdLst>
                <a:gd name="connsiteX0" fmla="*/ 99181 w 428462"/>
                <a:gd name="connsiteY0" fmla="*/ 268979 h 523676"/>
                <a:gd name="connsiteX1" fmla="*/ 227720 w 428462"/>
                <a:gd name="connsiteY1" fmla="*/ 465754 h 523676"/>
                <a:gd name="connsiteX2" fmla="*/ 340389 w 428462"/>
                <a:gd name="connsiteY2" fmla="*/ 361019 h 523676"/>
                <a:gd name="connsiteX3" fmla="*/ 422908 w 428462"/>
                <a:gd name="connsiteY3" fmla="*/ 361019 h 523676"/>
                <a:gd name="connsiteX4" fmla="*/ 224546 w 428462"/>
                <a:gd name="connsiteY4" fmla="*/ 519709 h 523676"/>
                <a:gd name="connsiteX5" fmla="*/ 11902 w 428462"/>
                <a:gd name="connsiteY5" fmla="*/ 280087 h 523676"/>
                <a:gd name="connsiteX6" fmla="*/ 230893 w 428462"/>
                <a:gd name="connsiteY6" fmla="*/ 11902 h 523676"/>
                <a:gd name="connsiteX7" fmla="*/ 426082 w 428462"/>
                <a:gd name="connsiteY7" fmla="*/ 240415 h 523676"/>
                <a:gd name="connsiteX8" fmla="*/ 426082 w 428462"/>
                <a:gd name="connsiteY8" fmla="*/ 264218 h 523676"/>
                <a:gd name="connsiteX9" fmla="*/ 100768 w 428462"/>
                <a:gd name="connsiteY9" fmla="*/ 264218 h 523676"/>
                <a:gd name="connsiteX10" fmla="*/ 100768 w 428462"/>
                <a:gd name="connsiteY10" fmla="*/ 268979 h 523676"/>
                <a:gd name="connsiteX11" fmla="*/ 340389 w 428462"/>
                <a:gd name="connsiteY11" fmla="*/ 213438 h 523676"/>
                <a:gd name="connsiteX12" fmla="*/ 229306 w 428462"/>
                <a:gd name="connsiteY12" fmla="*/ 65856 h 523676"/>
                <a:gd name="connsiteX13" fmla="*/ 100768 w 428462"/>
                <a:gd name="connsiteY13" fmla="*/ 213438 h 523676"/>
                <a:gd name="connsiteX14" fmla="*/ 340389 w 428462"/>
                <a:gd name="connsiteY14" fmla="*/ 213438 h 5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462" h="523676">
                  <a:moveTo>
                    <a:pt x="99181" y="268979"/>
                  </a:moveTo>
                  <a:cubicBezTo>
                    <a:pt x="99181" y="329281"/>
                    <a:pt x="100768" y="465754"/>
                    <a:pt x="227720" y="465754"/>
                  </a:cubicBezTo>
                  <a:cubicBezTo>
                    <a:pt x="259458" y="465754"/>
                    <a:pt x="334042" y="453059"/>
                    <a:pt x="340389" y="361019"/>
                  </a:cubicBezTo>
                  <a:lnTo>
                    <a:pt x="422908" y="361019"/>
                  </a:lnTo>
                  <a:cubicBezTo>
                    <a:pt x="422908" y="443538"/>
                    <a:pt x="356258" y="519709"/>
                    <a:pt x="224546" y="519709"/>
                  </a:cubicBezTo>
                  <a:cubicBezTo>
                    <a:pt x="70617" y="519709"/>
                    <a:pt x="11902" y="419735"/>
                    <a:pt x="11902" y="280087"/>
                  </a:cubicBezTo>
                  <a:cubicBezTo>
                    <a:pt x="11902" y="121398"/>
                    <a:pt x="75378" y="11902"/>
                    <a:pt x="230893" y="11902"/>
                  </a:cubicBezTo>
                  <a:cubicBezTo>
                    <a:pt x="356258" y="11902"/>
                    <a:pt x="426082" y="83312"/>
                    <a:pt x="426082" y="240415"/>
                  </a:cubicBezTo>
                  <a:lnTo>
                    <a:pt x="426082" y="264218"/>
                  </a:lnTo>
                  <a:lnTo>
                    <a:pt x="100768" y="264218"/>
                  </a:lnTo>
                  <a:lnTo>
                    <a:pt x="100768" y="268979"/>
                  </a:lnTo>
                  <a:close/>
                  <a:moveTo>
                    <a:pt x="340389" y="213438"/>
                  </a:moveTo>
                  <a:cubicBezTo>
                    <a:pt x="338803" y="183287"/>
                    <a:pt x="337216" y="65856"/>
                    <a:pt x="229306" y="65856"/>
                  </a:cubicBezTo>
                  <a:cubicBezTo>
                    <a:pt x="159483" y="65856"/>
                    <a:pt x="107116" y="115050"/>
                    <a:pt x="100768" y="213438"/>
                  </a:cubicBezTo>
                  <a:lnTo>
                    <a:pt x="340389" y="213438"/>
                  </a:ln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B908DA6A-4E34-4819-8BBB-3FC2DB30701C}"/>
                </a:ext>
              </a:extLst>
            </p:cNvPr>
            <p:cNvSpPr/>
            <p:nvPr/>
          </p:nvSpPr>
          <p:spPr>
            <a:xfrm>
              <a:off x="3671465" y="2795753"/>
              <a:ext cx="444331" cy="539545"/>
            </a:xfrm>
            <a:custGeom>
              <a:avLst/>
              <a:gdLst>
                <a:gd name="connsiteX0" fmla="*/ 11902 w 444331"/>
                <a:gd name="connsiteY0" fmla="*/ 11902 h 539545"/>
                <a:gd name="connsiteX1" fmla="*/ 11902 w 444331"/>
                <a:gd name="connsiteY1" fmla="*/ 11902 h 539545"/>
                <a:gd name="connsiteX2" fmla="*/ 11902 w 444331"/>
                <a:gd name="connsiteY2" fmla="*/ 533991 h 539545"/>
                <a:gd name="connsiteX3" fmla="*/ 275327 w 444331"/>
                <a:gd name="connsiteY3" fmla="*/ 353085 h 539545"/>
                <a:gd name="connsiteX4" fmla="*/ 445125 w 444331"/>
                <a:gd name="connsiteY4" fmla="*/ 176939 h 539545"/>
                <a:gd name="connsiteX5" fmla="*/ 11902 w 444331"/>
                <a:gd name="connsiteY5" fmla="*/ 11902 h 53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331" h="539545">
                  <a:moveTo>
                    <a:pt x="11902" y="11902"/>
                  </a:moveTo>
                  <a:lnTo>
                    <a:pt x="11902" y="11902"/>
                  </a:lnTo>
                  <a:lnTo>
                    <a:pt x="11902" y="533991"/>
                  </a:lnTo>
                  <a:cubicBezTo>
                    <a:pt x="11902" y="533991"/>
                    <a:pt x="159483" y="449886"/>
                    <a:pt x="275327" y="353085"/>
                  </a:cubicBezTo>
                  <a:cubicBezTo>
                    <a:pt x="392757" y="256284"/>
                    <a:pt x="445125" y="176939"/>
                    <a:pt x="445125" y="176939"/>
                  </a:cubicBezTo>
                  <a:cubicBezTo>
                    <a:pt x="329281" y="73791"/>
                    <a:pt x="178526" y="11902"/>
                    <a:pt x="11902" y="11902"/>
                  </a:cubicBezTo>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FFB43E9-6400-4300-876E-5F49A3C35628}"/>
                </a:ext>
              </a:extLst>
            </p:cNvPr>
            <p:cNvSpPr/>
            <p:nvPr/>
          </p:nvSpPr>
          <p:spPr>
            <a:xfrm>
              <a:off x="3888870" y="2760841"/>
              <a:ext cx="491938" cy="491938"/>
            </a:xfrm>
            <a:custGeom>
              <a:avLst/>
              <a:gdLst>
                <a:gd name="connsiteX0" fmla="*/ 11902 w 491938"/>
                <a:gd name="connsiteY0" fmla="*/ 11902 h 491938"/>
                <a:gd name="connsiteX1" fmla="*/ 481623 w 491938"/>
                <a:gd name="connsiteY1" fmla="*/ 481623 h 491938"/>
                <a:gd name="connsiteX2" fmla="*/ 481623 w 491938"/>
                <a:gd name="connsiteY2" fmla="*/ 11902 h 491938"/>
                <a:gd name="connsiteX3" fmla="*/ 11902 w 491938"/>
                <a:gd name="connsiteY3" fmla="*/ 11902 h 491938"/>
              </a:gdLst>
              <a:ahLst/>
              <a:cxnLst>
                <a:cxn ang="0">
                  <a:pos x="connsiteX0" y="connsiteY0"/>
                </a:cxn>
                <a:cxn ang="0">
                  <a:pos x="connsiteX1" y="connsiteY1"/>
                </a:cxn>
                <a:cxn ang="0">
                  <a:pos x="connsiteX2" y="connsiteY2"/>
                </a:cxn>
                <a:cxn ang="0">
                  <a:pos x="connsiteX3" y="connsiteY3"/>
                </a:cxn>
              </a:cxnLst>
              <a:rect l="l" t="t" r="r" b="b"/>
              <a:pathLst>
                <a:path w="491938" h="491938">
                  <a:moveTo>
                    <a:pt x="11902" y="11902"/>
                  </a:moveTo>
                  <a:cubicBezTo>
                    <a:pt x="235654" y="83312"/>
                    <a:pt x="411800" y="259458"/>
                    <a:pt x="481623" y="481623"/>
                  </a:cubicBezTo>
                  <a:lnTo>
                    <a:pt x="481623" y="11902"/>
                  </a:lnTo>
                  <a:lnTo>
                    <a:pt x="11902" y="11902"/>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9529EE5F-0DCD-43CD-A9A1-F0C6B36654CE}"/>
                </a:ext>
              </a:extLst>
            </p:cNvPr>
            <p:cNvSpPr/>
            <p:nvPr/>
          </p:nvSpPr>
          <p:spPr>
            <a:xfrm>
              <a:off x="3803177" y="3016331"/>
              <a:ext cx="539545" cy="444331"/>
            </a:xfrm>
            <a:custGeom>
              <a:avLst/>
              <a:gdLst>
                <a:gd name="connsiteX0" fmla="*/ 533991 w 539545"/>
                <a:gd name="connsiteY0" fmla="*/ 445125 h 444331"/>
                <a:gd name="connsiteX1" fmla="*/ 533991 w 539545"/>
                <a:gd name="connsiteY1" fmla="*/ 445125 h 444331"/>
                <a:gd name="connsiteX2" fmla="*/ 11902 w 539545"/>
                <a:gd name="connsiteY2" fmla="*/ 445125 h 444331"/>
                <a:gd name="connsiteX3" fmla="*/ 192808 w 539545"/>
                <a:gd name="connsiteY3" fmla="*/ 181700 h 444331"/>
                <a:gd name="connsiteX4" fmla="*/ 368954 w 539545"/>
                <a:gd name="connsiteY4" fmla="*/ 11902 h 444331"/>
                <a:gd name="connsiteX5" fmla="*/ 533991 w 539545"/>
                <a:gd name="connsiteY5" fmla="*/ 445125 h 44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545" h="444331">
                  <a:moveTo>
                    <a:pt x="533991" y="445125"/>
                  </a:moveTo>
                  <a:lnTo>
                    <a:pt x="533991" y="445125"/>
                  </a:lnTo>
                  <a:lnTo>
                    <a:pt x="11902" y="445125"/>
                  </a:lnTo>
                  <a:cubicBezTo>
                    <a:pt x="11902" y="445125"/>
                    <a:pt x="96007" y="297543"/>
                    <a:pt x="192808" y="181700"/>
                  </a:cubicBezTo>
                  <a:cubicBezTo>
                    <a:pt x="289609" y="64269"/>
                    <a:pt x="368954" y="11902"/>
                    <a:pt x="368954" y="11902"/>
                  </a:cubicBezTo>
                  <a:cubicBezTo>
                    <a:pt x="470515" y="126158"/>
                    <a:pt x="533991" y="278501"/>
                    <a:pt x="533991" y="445125"/>
                  </a:cubicBezTo>
                </a:path>
              </a:pathLst>
            </a:custGeom>
            <a:grp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45B0C59-71A2-4365-B988-6D502F1F3C26}"/>
                </a:ext>
              </a:extLst>
            </p:cNvPr>
            <p:cNvSpPr/>
            <p:nvPr/>
          </p:nvSpPr>
          <p:spPr>
            <a:xfrm>
              <a:off x="8365507" y="2954442"/>
              <a:ext cx="158690" cy="158690"/>
            </a:xfrm>
            <a:custGeom>
              <a:avLst/>
              <a:gdLst>
                <a:gd name="connsiteX0" fmla="*/ 86486 w 158689"/>
                <a:gd name="connsiteY0" fmla="*/ 161070 h 158689"/>
                <a:gd name="connsiteX1" fmla="*/ 11902 w 158689"/>
                <a:gd name="connsiteY1" fmla="*/ 86486 h 158689"/>
                <a:gd name="connsiteX2" fmla="*/ 86486 w 158689"/>
                <a:gd name="connsiteY2" fmla="*/ 11902 h 158689"/>
                <a:gd name="connsiteX3" fmla="*/ 161070 w 158689"/>
                <a:gd name="connsiteY3" fmla="*/ 86486 h 158689"/>
                <a:gd name="connsiteX4" fmla="*/ 86486 w 158689"/>
                <a:gd name="connsiteY4" fmla="*/ 161070 h 158689"/>
                <a:gd name="connsiteX5" fmla="*/ 86486 w 158689"/>
                <a:gd name="connsiteY5" fmla="*/ 19836 h 158689"/>
                <a:gd name="connsiteX6" fmla="*/ 19836 w 158689"/>
                <a:gd name="connsiteY6" fmla="*/ 88073 h 158689"/>
                <a:gd name="connsiteX7" fmla="*/ 86486 w 158689"/>
                <a:gd name="connsiteY7" fmla="*/ 154723 h 158689"/>
                <a:gd name="connsiteX8" fmla="*/ 153135 w 158689"/>
                <a:gd name="connsiteY8" fmla="*/ 88073 h 158689"/>
                <a:gd name="connsiteX9" fmla="*/ 86486 w 158689"/>
                <a:gd name="connsiteY9" fmla="*/ 19836 h 158689"/>
                <a:gd name="connsiteX10" fmla="*/ 92833 w 158689"/>
                <a:gd name="connsiteY10" fmla="*/ 42053 h 158689"/>
                <a:gd name="connsiteX11" fmla="*/ 119811 w 158689"/>
                <a:gd name="connsiteY11" fmla="*/ 64269 h 158689"/>
                <a:gd name="connsiteX12" fmla="*/ 102355 w 158689"/>
                <a:gd name="connsiteY12" fmla="*/ 88073 h 158689"/>
                <a:gd name="connsiteX13" fmla="*/ 116637 w 158689"/>
                <a:gd name="connsiteY13" fmla="*/ 103942 h 158689"/>
                <a:gd name="connsiteX14" fmla="*/ 121398 w 158689"/>
                <a:gd name="connsiteY14" fmla="*/ 121398 h 158689"/>
                <a:gd name="connsiteX15" fmla="*/ 126158 w 158689"/>
                <a:gd name="connsiteY15" fmla="*/ 132506 h 158689"/>
                <a:gd name="connsiteX16" fmla="*/ 110289 w 158689"/>
                <a:gd name="connsiteY16" fmla="*/ 132506 h 158689"/>
                <a:gd name="connsiteX17" fmla="*/ 107116 w 158689"/>
                <a:gd name="connsiteY17" fmla="*/ 126158 h 158689"/>
                <a:gd name="connsiteX18" fmla="*/ 102355 w 158689"/>
                <a:gd name="connsiteY18" fmla="*/ 110289 h 158689"/>
                <a:gd name="connsiteX19" fmla="*/ 78551 w 158689"/>
                <a:gd name="connsiteY19" fmla="*/ 94420 h 158689"/>
                <a:gd name="connsiteX20" fmla="*/ 72204 w 158689"/>
                <a:gd name="connsiteY20" fmla="*/ 94420 h 158689"/>
                <a:gd name="connsiteX21" fmla="*/ 72204 w 158689"/>
                <a:gd name="connsiteY21" fmla="*/ 132506 h 158689"/>
                <a:gd name="connsiteX22" fmla="*/ 56335 w 158689"/>
                <a:gd name="connsiteY22" fmla="*/ 132506 h 158689"/>
                <a:gd name="connsiteX23" fmla="*/ 56335 w 158689"/>
                <a:gd name="connsiteY23" fmla="*/ 43640 h 158689"/>
                <a:gd name="connsiteX24" fmla="*/ 92833 w 158689"/>
                <a:gd name="connsiteY24" fmla="*/ 43640 h 158689"/>
                <a:gd name="connsiteX25" fmla="*/ 72204 w 158689"/>
                <a:gd name="connsiteY25" fmla="*/ 83312 h 158689"/>
                <a:gd name="connsiteX26" fmla="*/ 81725 w 158689"/>
                <a:gd name="connsiteY26" fmla="*/ 83312 h 158689"/>
                <a:gd name="connsiteX27" fmla="*/ 105529 w 158689"/>
                <a:gd name="connsiteY27" fmla="*/ 67443 h 158689"/>
                <a:gd name="connsiteX28" fmla="*/ 86486 w 158689"/>
                <a:gd name="connsiteY28" fmla="*/ 53161 h 158689"/>
                <a:gd name="connsiteX29" fmla="*/ 73791 w 158689"/>
                <a:gd name="connsiteY29" fmla="*/ 53161 h 158689"/>
                <a:gd name="connsiteX30" fmla="*/ 73791 w 158689"/>
                <a:gd name="connsiteY30" fmla="*/ 83312 h 158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8689" h="158689">
                  <a:moveTo>
                    <a:pt x="86486" y="161070"/>
                  </a:moveTo>
                  <a:cubicBezTo>
                    <a:pt x="45226" y="161070"/>
                    <a:pt x="11902" y="127745"/>
                    <a:pt x="11902" y="86486"/>
                  </a:cubicBezTo>
                  <a:cubicBezTo>
                    <a:pt x="11902" y="45227"/>
                    <a:pt x="45226" y="11902"/>
                    <a:pt x="86486" y="11902"/>
                  </a:cubicBezTo>
                  <a:cubicBezTo>
                    <a:pt x="127745" y="11902"/>
                    <a:pt x="161070" y="45227"/>
                    <a:pt x="161070" y="86486"/>
                  </a:cubicBezTo>
                  <a:cubicBezTo>
                    <a:pt x="161070" y="127745"/>
                    <a:pt x="127745" y="161070"/>
                    <a:pt x="86486" y="161070"/>
                  </a:cubicBezTo>
                  <a:moveTo>
                    <a:pt x="86486" y="19836"/>
                  </a:moveTo>
                  <a:cubicBezTo>
                    <a:pt x="48400" y="19836"/>
                    <a:pt x="19836" y="49987"/>
                    <a:pt x="19836" y="88073"/>
                  </a:cubicBezTo>
                  <a:cubicBezTo>
                    <a:pt x="19836" y="124572"/>
                    <a:pt x="49987" y="154723"/>
                    <a:pt x="86486" y="154723"/>
                  </a:cubicBezTo>
                  <a:cubicBezTo>
                    <a:pt x="122985" y="154723"/>
                    <a:pt x="153135" y="124572"/>
                    <a:pt x="153135" y="88073"/>
                  </a:cubicBezTo>
                  <a:cubicBezTo>
                    <a:pt x="153135" y="49987"/>
                    <a:pt x="124571" y="19836"/>
                    <a:pt x="86486" y="19836"/>
                  </a:cubicBezTo>
                  <a:moveTo>
                    <a:pt x="92833" y="42053"/>
                  </a:moveTo>
                  <a:cubicBezTo>
                    <a:pt x="110289" y="42053"/>
                    <a:pt x="119811" y="48400"/>
                    <a:pt x="119811" y="64269"/>
                  </a:cubicBezTo>
                  <a:cubicBezTo>
                    <a:pt x="119811" y="76965"/>
                    <a:pt x="113463" y="83312"/>
                    <a:pt x="102355" y="88073"/>
                  </a:cubicBezTo>
                  <a:cubicBezTo>
                    <a:pt x="110289" y="89660"/>
                    <a:pt x="113463" y="94420"/>
                    <a:pt x="116637" y="103942"/>
                  </a:cubicBezTo>
                  <a:lnTo>
                    <a:pt x="121398" y="121398"/>
                  </a:lnTo>
                  <a:cubicBezTo>
                    <a:pt x="122985" y="126158"/>
                    <a:pt x="124571" y="129332"/>
                    <a:pt x="126158" y="132506"/>
                  </a:cubicBezTo>
                  <a:lnTo>
                    <a:pt x="110289" y="132506"/>
                  </a:lnTo>
                  <a:cubicBezTo>
                    <a:pt x="108702" y="130919"/>
                    <a:pt x="107116" y="129332"/>
                    <a:pt x="107116" y="126158"/>
                  </a:cubicBezTo>
                  <a:lnTo>
                    <a:pt x="102355" y="110289"/>
                  </a:lnTo>
                  <a:cubicBezTo>
                    <a:pt x="99181" y="97594"/>
                    <a:pt x="96007" y="94420"/>
                    <a:pt x="78551" y="94420"/>
                  </a:cubicBezTo>
                  <a:lnTo>
                    <a:pt x="72204" y="94420"/>
                  </a:lnTo>
                  <a:lnTo>
                    <a:pt x="72204" y="132506"/>
                  </a:lnTo>
                  <a:lnTo>
                    <a:pt x="56335" y="132506"/>
                  </a:lnTo>
                  <a:lnTo>
                    <a:pt x="56335" y="43640"/>
                  </a:lnTo>
                  <a:lnTo>
                    <a:pt x="92833" y="43640"/>
                  </a:lnTo>
                  <a:close/>
                  <a:moveTo>
                    <a:pt x="72204" y="83312"/>
                  </a:moveTo>
                  <a:lnTo>
                    <a:pt x="81725" y="83312"/>
                  </a:lnTo>
                  <a:cubicBezTo>
                    <a:pt x="97594" y="83312"/>
                    <a:pt x="105529" y="80138"/>
                    <a:pt x="105529" y="67443"/>
                  </a:cubicBezTo>
                  <a:cubicBezTo>
                    <a:pt x="105529" y="56335"/>
                    <a:pt x="100768" y="53161"/>
                    <a:pt x="86486" y="53161"/>
                  </a:cubicBezTo>
                  <a:lnTo>
                    <a:pt x="73791" y="53161"/>
                  </a:lnTo>
                  <a:lnTo>
                    <a:pt x="73791" y="83312"/>
                  </a:lnTo>
                  <a:close/>
                </a:path>
              </a:pathLst>
            </a:custGeom>
            <a:grpFill/>
            <a:ln w="9525" cap="flat">
              <a:noFill/>
              <a:prstDash val="solid"/>
              <a:miter/>
            </a:ln>
          </p:spPr>
          <p:txBody>
            <a:bodyPr rtlCol="0" anchor="ctr"/>
            <a:lstStyle/>
            <a:p>
              <a:endParaRPr lang="en-US"/>
            </a:p>
          </p:txBody>
        </p:sp>
      </p:grpSp>
      <p:sp>
        <p:nvSpPr>
          <p:cNvPr id="15" name="Rectangle 14">
            <a:extLst>
              <a:ext uri="{FF2B5EF4-FFF2-40B4-BE49-F238E27FC236}">
                <a16:creationId xmlns:a16="http://schemas.microsoft.com/office/drawing/2014/main" id="{487B7DD5-CDF9-4902-9E22-414E547BA974}"/>
              </a:ext>
            </a:extLst>
          </p:cNvPr>
          <p:cNvSpPr/>
          <p:nvPr/>
        </p:nvSpPr>
        <p:spPr>
          <a:xfrm>
            <a:off x="871046" y="5796171"/>
            <a:ext cx="10520218" cy="1061829"/>
          </a:xfrm>
          <a:prstGeom prst="rect">
            <a:avLst/>
          </a:prstGeom>
        </p:spPr>
        <p:txBody>
          <a:bodyPr wrap="square">
            <a:spAutoFit/>
          </a:bodyPr>
          <a:lstStyle/>
          <a:p>
            <a:pPr algn="ctr"/>
            <a:r>
              <a:rPr lang="en-SG" sz="900">
                <a:solidFill>
                  <a:schemeClr val="bg1"/>
                </a:solidFill>
              </a:rPr>
              <a:t>This presentation and the information contained herein (the “Materials”) is provided to the best of Trustwave’s reasonable knowledge and belief at the time of drafting, is confidential and proprietary and is not to be reproduced or distributed without the express written consent of Trustwave Holdings, Inc. (“Trustwave”). The Materials are provided solely for information purposes and are not a commitment, promise or legal obligation to purchase or deliver any product, features, functionalities or services, and should not be relied upon in any manner. Separate terms and conditions will be entered into in the event that Trustwave elects to enter any future transactions.  The Materials and any Trustwave product or service  offerings are subject to change without further notice at Trustwave’s sole and absolute discretion. THE MATERIALS ARE PROVIDED “AS IS”. TRUSTWAVE EXPRESSLY DISCLAIMS ANY AND ALL WARRANTIES, EXPRESS AND IMPLIED, INCLUDING WITHOUT LIMITATION WARRANTIES OF MERCHANTABILITY AND FITNESS FOR A PARTICULAR PURPOSE, WITH RESPECT TO THESE MATERIALS. IN NO EVENT SHALL TRUSTWAVE BE LIABLE FOR ANY DIRECT, INDIRECT, INCIDENTAL, PUNITIVE OR CONSEQUENTIAL DAMAGES OF ANY KIND WHATSOEVER WITH RESPECT TO THESE MATERIALS.</a:t>
            </a:r>
          </a:p>
        </p:txBody>
      </p:sp>
    </p:spTree>
    <p:extLst>
      <p:ext uri="{BB962C8B-B14F-4D97-AF65-F5344CB8AC3E}">
        <p14:creationId xmlns:p14="http://schemas.microsoft.com/office/powerpoint/2010/main" val="3872608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36C5F-EA53-4E04-9F23-4043BC12F01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43BC45EB-2418-4AAE-A0A2-55A7823E00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709181AA-84BF-43F2-91B0-31762D2EEE58}"/>
              </a:ext>
            </a:extLst>
          </p:cNvPr>
          <p:cNvSpPr>
            <a:spLocks noGrp="1"/>
          </p:cNvSpPr>
          <p:nvPr>
            <p:ph type="dt" sz="half" idx="10"/>
          </p:nvPr>
        </p:nvSpPr>
        <p:spPr/>
        <p:txBody>
          <a:bodyPr/>
          <a:lstStyle/>
          <a:p>
            <a:fld id="{B4F9BCBB-3ED8-48DA-A65F-9DADA9D11216}" type="datetimeFigureOut">
              <a:rPr lang="en-SG" smtClean="0"/>
              <a:t>20/10/2021</a:t>
            </a:fld>
            <a:endParaRPr lang="en-SG"/>
          </a:p>
        </p:txBody>
      </p:sp>
      <p:sp>
        <p:nvSpPr>
          <p:cNvPr id="5" name="Footer Placeholder 4">
            <a:extLst>
              <a:ext uri="{FF2B5EF4-FFF2-40B4-BE49-F238E27FC236}">
                <a16:creationId xmlns:a16="http://schemas.microsoft.com/office/drawing/2014/main" id="{5D356A4F-DFB1-47D7-9ED5-46A57CAF58CF}"/>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F3EA77FA-F090-4191-B2C8-C0491F13FDB8}"/>
              </a:ext>
            </a:extLst>
          </p:cNvPr>
          <p:cNvSpPr>
            <a:spLocks noGrp="1"/>
          </p:cNvSpPr>
          <p:nvPr>
            <p:ph type="sldNum" sz="quarter" idx="12"/>
          </p:nvPr>
        </p:nvSpPr>
        <p:spPr/>
        <p:txBody>
          <a:bodyPr/>
          <a:lstStyle/>
          <a:p>
            <a:fld id="{54939E03-9150-4A70-B4B2-A2AFB6334D4D}" type="slidenum">
              <a:rPr lang="en-SG" smtClean="0"/>
              <a:t>‹#›</a:t>
            </a:fld>
            <a:endParaRPr lang="en-SG"/>
          </a:p>
        </p:txBody>
      </p:sp>
    </p:spTree>
    <p:extLst>
      <p:ext uri="{BB962C8B-B14F-4D97-AF65-F5344CB8AC3E}">
        <p14:creationId xmlns:p14="http://schemas.microsoft.com/office/powerpoint/2010/main" val="11470926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slideLayout" Target="../slideLayouts/slideLayout99.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slideLayout" Target="../slideLayouts/slideLayout98.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51" Type="http://schemas.openxmlformats.org/officeDocument/2006/relationships/theme" Target="../theme/theme2.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3014"/>
            <a:ext cx="10953750" cy="553998"/>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457200" y="1955800"/>
            <a:ext cx="11277598" cy="4445000"/>
          </a:xfrm>
          <a:prstGeom prst="rect">
            <a:avLst/>
          </a:prstGeom>
        </p:spPr>
        <p:txBody>
          <a:bodyPr vert="horz" lIns="0" tIns="0" rIns="0" bIns="0" rtlCol="0">
            <a:noAutofit/>
          </a:bodyPr>
          <a:lstStyle/>
          <a:p>
            <a:pPr lvl="0"/>
            <a:r>
              <a:rPr lang="en-US"/>
              <a:t>Edit Master text styles: heading</a:t>
            </a:r>
          </a:p>
          <a:p>
            <a:pPr lvl="1"/>
            <a:r>
              <a:rPr lang="en-US"/>
              <a:t>Second level: primary bullet</a:t>
            </a:r>
          </a:p>
          <a:p>
            <a:pPr lvl="2"/>
            <a:r>
              <a:rPr lang="en-US"/>
              <a:t>Third level: primary bullet two</a:t>
            </a:r>
          </a:p>
          <a:p>
            <a:pPr lvl="3"/>
            <a:r>
              <a:rPr lang="en-US"/>
              <a:t>Fourth level : secondary bullet</a:t>
            </a:r>
          </a:p>
          <a:p>
            <a:pPr lvl="4"/>
            <a:r>
              <a:rPr lang="en-US"/>
              <a:t>Fifth level : large stats</a:t>
            </a:r>
          </a:p>
          <a:p>
            <a:pPr lvl="5"/>
            <a:r>
              <a:rPr lang="en-US"/>
              <a:t>Sixth Level: Stat Callout</a:t>
            </a:r>
          </a:p>
          <a:p>
            <a:pPr lvl="6"/>
            <a:r>
              <a:rPr lang="en-US"/>
              <a:t>7: secondary heading</a:t>
            </a:r>
          </a:p>
          <a:p>
            <a:pPr lvl="7"/>
            <a:r>
              <a:rPr lang="en-US"/>
              <a:t>8: secondary subheading</a:t>
            </a:r>
          </a:p>
          <a:p>
            <a:pPr lvl="8"/>
            <a:r>
              <a:rPr lang="en-US"/>
              <a:t>9: secondary bullet body</a:t>
            </a:r>
          </a:p>
        </p:txBody>
      </p:sp>
      <p:grpSp>
        <p:nvGrpSpPr>
          <p:cNvPr id="12" name="Group 11">
            <a:extLst>
              <a:ext uri="{FF2B5EF4-FFF2-40B4-BE49-F238E27FC236}">
                <a16:creationId xmlns:a16="http://schemas.microsoft.com/office/drawing/2014/main" id="{FC91376F-B099-44D5-8DAE-0DAC66F0D8F9}"/>
              </a:ext>
            </a:extLst>
          </p:cNvPr>
          <p:cNvGrpSpPr/>
          <p:nvPr userDrawn="1"/>
        </p:nvGrpSpPr>
        <p:grpSpPr>
          <a:xfrm>
            <a:off x="11420680" y="457200"/>
            <a:ext cx="323850" cy="324895"/>
            <a:chOff x="11693125" y="130630"/>
            <a:chExt cx="368246" cy="369434"/>
          </a:xfrm>
        </p:grpSpPr>
        <p:sp>
          <p:nvSpPr>
            <p:cNvPr id="13" name="Freeform 5">
              <a:extLst>
                <a:ext uri="{FF2B5EF4-FFF2-40B4-BE49-F238E27FC236}">
                  <a16:creationId xmlns:a16="http://schemas.microsoft.com/office/drawing/2014/main" id="{24711E64-71C2-4823-ACFF-0666A12E153C}"/>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D8150610-1264-43DE-9B2B-307A6E02A73C}"/>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68522D88-7411-473F-A84A-01C1D4B410BE}"/>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Number Placeholder 7">
            <a:extLst>
              <a:ext uri="{FF2B5EF4-FFF2-40B4-BE49-F238E27FC236}">
                <a16:creationId xmlns:a16="http://schemas.microsoft.com/office/drawing/2014/main" id="{B163D734-1936-48F8-A1BB-C973D675E191}"/>
              </a:ext>
            </a:extLst>
          </p:cNvPr>
          <p:cNvSpPr>
            <a:spLocks noGrp="1"/>
          </p:cNvSpPr>
          <p:nvPr>
            <p:ph type="sldNum" sz="quarter" idx="4"/>
          </p:nvPr>
        </p:nvSpPr>
        <p:spPr>
          <a:xfrm>
            <a:off x="11360150" y="6356350"/>
            <a:ext cx="384380" cy="365125"/>
          </a:xfrm>
          <a:prstGeom prst="rect">
            <a:avLst/>
          </a:prstGeom>
        </p:spPr>
        <p:txBody>
          <a:bodyPr vert="horz" lIns="91440" tIns="45720" rIns="0" bIns="45720" rtlCol="0" anchor="ctr"/>
          <a:lstStyle>
            <a:lvl1pPr algn="r">
              <a:defRPr sz="900">
                <a:solidFill>
                  <a:schemeClr val="bg2"/>
                </a:solidFill>
              </a:defRPr>
            </a:lvl1pPr>
          </a:lstStyle>
          <a:p>
            <a:fld id="{4C9EABC9-A6DF-4002-BA8F-FA0D4CABB02D}" type="slidenum">
              <a:rPr lang="en-US" smtClean="0"/>
              <a:pPr/>
              <a:t>‹#›</a:t>
            </a:fld>
            <a:endParaRPr lang="en-US"/>
          </a:p>
        </p:txBody>
      </p:sp>
    </p:spTree>
    <p:extLst>
      <p:ext uri="{BB962C8B-B14F-4D97-AF65-F5344CB8AC3E}">
        <p14:creationId xmlns:p14="http://schemas.microsoft.com/office/powerpoint/2010/main" val="1458747245"/>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 id="2147483814" r:id="rId38"/>
    <p:sldLayoutId id="2147483815" r:id="rId39"/>
    <p:sldLayoutId id="2147483816" r:id="rId40"/>
    <p:sldLayoutId id="2147483817" r:id="rId41"/>
    <p:sldLayoutId id="2147483818" r:id="rId42"/>
    <p:sldLayoutId id="2147483819" r:id="rId43"/>
    <p:sldLayoutId id="2147483820" r:id="rId44"/>
    <p:sldLayoutId id="2147483821" r:id="rId45"/>
    <p:sldLayoutId id="2147483822" r:id="rId46"/>
    <p:sldLayoutId id="2147483823" r:id="rId47"/>
    <p:sldLayoutId id="2147483824" r:id="rId48"/>
    <p:sldLayoutId id="2147483825" r:id="rId49"/>
  </p:sldLayoutIdLst>
  <p:hf hdr="0" ftr="0" dt="0"/>
  <p:txStyles>
    <p:titleStyle>
      <a:lvl1pPr algn="l" defTabSz="914400" rtl="0" eaLnBrk="1" latinLnBrk="0" hangingPunct="1">
        <a:lnSpc>
          <a:spcPct val="90000"/>
        </a:lnSpc>
        <a:spcBef>
          <a:spcPct val="0"/>
        </a:spcBef>
        <a:buNone/>
        <a:defRPr sz="4000" kern="1200">
          <a:ln w="3175">
            <a:noFill/>
          </a:ln>
          <a:solidFill>
            <a:schemeClr val="accent1"/>
          </a:solidFill>
          <a:latin typeface="+mj-lt"/>
          <a:ea typeface="+mj-ea"/>
          <a:cs typeface="+mj-cs"/>
        </a:defRPr>
      </a:lvl1pPr>
    </p:titleStyle>
    <p:bodyStyle>
      <a:lvl1pPr marL="0" indent="0" algn="l" defTabSz="914400" rtl="0" eaLnBrk="1" latinLnBrk="0" hangingPunct="1">
        <a:lnSpc>
          <a:spcPct val="90000"/>
        </a:lnSpc>
        <a:spcBef>
          <a:spcPts val="1800"/>
        </a:spcBef>
        <a:spcAft>
          <a:spcPts val="200"/>
        </a:spcAft>
        <a:buFont typeface="Arial" panose="020B0604020202020204" pitchFamily="34" charset="0"/>
        <a:buChar char="​"/>
        <a:defRPr sz="1800" b="1"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800"/>
        </a:spcAft>
        <a:buFont typeface="CiscoSansTT ExtraLight" panose="020B0303020201020303" pitchFamily="34" charset="0"/>
        <a:buChar char="​"/>
        <a:defRPr sz="1800" kern="1200">
          <a:solidFill>
            <a:schemeClr val="tx1"/>
          </a:solidFill>
          <a:latin typeface="+mn-lt"/>
          <a:ea typeface="+mn-ea"/>
          <a:cs typeface="+mn-cs"/>
        </a:defRPr>
      </a:lvl2pPr>
      <a:lvl3pPr marL="228600" indent="-228600" algn="l" defTabSz="914400" rtl="0" eaLnBrk="1" latinLnBrk="0" hangingPunct="1">
        <a:lnSpc>
          <a:spcPct val="90000"/>
        </a:lnSpc>
        <a:spcBef>
          <a:spcPts val="600"/>
        </a:spcBef>
        <a:spcAft>
          <a:spcPts val="600"/>
        </a:spcAft>
        <a:buFont typeface="Arial" panose="020B0604020202020204" pitchFamily="34" charset="0"/>
        <a:buChar char="•"/>
        <a:defRPr sz="1600" kern="1200">
          <a:solidFill>
            <a:schemeClr val="tx1"/>
          </a:solidFill>
          <a:latin typeface="+mn-lt"/>
          <a:ea typeface="+mn-ea"/>
          <a:cs typeface="+mn-cs"/>
        </a:defRPr>
      </a:lvl3pPr>
      <a:lvl4pPr marL="514350" indent="-228600" algn="l" defTabSz="914400" rtl="0" eaLnBrk="1" latinLnBrk="0" hangingPunct="1">
        <a:lnSpc>
          <a:spcPct val="90000"/>
        </a:lnSpc>
        <a:spcBef>
          <a:spcPts val="600"/>
        </a:spcBef>
        <a:spcAft>
          <a:spcPts val="0"/>
        </a:spcAft>
        <a:buFont typeface="Arial" panose="020B0604020202020204" pitchFamily="34" charset="0"/>
        <a:buChar char="–"/>
        <a:defRPr sz="1400" b="0" kern="1200" spc="0">
          <a:solidFill>
            <a:schemeClr val="bg2">
              <a:lumMod val="75000"/>
            </a:schemeClr>
          </a:solidFill>
          <a:latin typeface="+mn-lt"/>
          <a:ea typeface="+mn-ea"/>
          <a:cs typeface="+mn-cs"/>
        </a:defRPr>
      </a:lvl4pPr>
      <a:lvl5pPr marL="0" indent="0" algn="l" defTabSz="914400" rtl="0" eaLnBrk="1" latinLnBrk="0" hangingPunct="1">
        <a:lnSpc>
          <a:spcPct val="85000"/>
        </a:lnSpc>
        <a:spcBef>
          <a:spcPts val="1800"/>
        </a:spcBef>
        <a:spcAft>
          <a:spcPts val="0"/>
        </a:spcAft>
        <a:buFont typeface="Arial" panose="020B0604020202020204" pitchFamily="34" charset="0"/>
        <a:buChar char="​"/>
        <a:defRPr sz="4400" b="1" kern="1200" spc="-150">
          <a:solidFill>
            <a:schemeClr val="accent1"/>
          </a:solidFill>
          <a:latin typeface="+mn-lt"/>
          <a:ea typeface="+mn-ea"/>
          <a:cs typeface="+mn-cs"/>
        </a:defRPr>
      </a:lvl5pPr>
      <a:lvl6pPr marL="0" indent="0" algn="l" defTabSz="914400" rtl="0" eaLnBrk="1" latinLnBrk="0" hangingPunct="1">
        <a:lnSpc>
          <a:spcPct val="90000"/>
        </a:lnSpc>
        <a:spcBef>
          <a:spcPts val="1200"/>
        </a:spcBef>
        <a:spcAft>
          <a:spcPts val="600"/>
        </a:spcAft>
        <a:buFont typeface="Arial" panose="020B0604020202020204" pitchFamily="34" charset="0"/>
        <a:buChar char="​"/>
        <a:defRPr sz="1600" b="1" kern="1200" spc="-50" baseline="0">
          <a:solidFill>
            <a:schemeClr val="tx2"/>
          </a:solidFill>
          <a:latin typeface="+mn-lt"/>
          <a:ea typeface="+mn-ea"/>
          <a:cs typeface="+mn-cs"/>
        </a:defRPr>
      </a:lvl6pPr>
      <a:lvl7pPr marL="0" indent="0" algn="l" defTabSz="914400" rtl="0" eaLnBrk="1" latinLnBrk="0" hangingPunct="1">
        <a:lnSpc>
          <a:spcPct val="100000"/>
        </a:lnSpc>
        <a:spcBef>
          <a:spcPts val="1200"/>
        </a:spcBef>
        <a:spcAft>
          <a:spcPts val="0"/>
        </a:spcAft>
        <a:buFont typeface="Arial" panose="020B0604020202020204" pitchFamily="34" charset="0"/>
        <a:buChar char="​"/>
        <a:defRPr sz="1600" b="1" kern="1200">
          <a:solidFill>
            <a:schemeClr val="accent1"/>
          </a:solidFill>
          <a:latin typeface="+mn-lt"/>
          <a:ea typeface="+mn-ea"/>
          <a:cs typeface="+mn-cs"/>
        </a:defRPr>
      </a:lvl7pPr>
      <a:lvl8pPr marL="0" indent="0" algn="l" defTabSz="914400" rtl="0" eaLnBrk="1" latinLnBrk="0" hangingPunct="1">
        <a:lnSpc>
          <a:spcPct val="110000"/>
        </a:lnSpc>
        <a:spcBef>
          <a:spcPts val="600"/>
        </a:spcBef>
        <a:spcAft>
          <a:spcPts val="200"/>
        </a:spcAft>
        <a:buFont typeface="Arial" panose="020B0604020202020204" pitchFamily="34" charset="0"/>
        <a:buChar char="​"/>
        <a:defRPr sz="1400" kern="1200">
          <a:solidFill>
            <a:schemeClr val="tx1"/>
          </a:solidFill>
          <a:latin typeface="+mn-lt"/>
          <a:ea typeface="+mn-ea"/>
          <a:cs typeface="+mn-cs"/>
        </a:defRPr>
      </a:lvl8pPr>
      <a:lvl9pPr marL="115888" indent="-115888" algn="l" defTabSz="914400" rtl="0" eaLnBrk="1" latinLnBrk="0" hangingPunct="1">
        <a:lnSpc>
          <a:spcPct val="90000"/>
        </a:lnSpc>
        <a:spcBef>
          <a:spcPts val="800"/>
        </a:spcBef>
        <a:spcAft>
          <a:spcPts val="200"/>
        </a:spcAft>
        <a:buFont typeface="Arial" panose="020B0604020202020204" pitchFamily="34" charset="0"/>
        <a:buChar char="•"/>
        <a:defRPr sz="1200" kern="1200">
          <a:solidFill>
            <a:schemeClr val="bg2">
              <a:lumMod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288">
          <p15:clr>
            <a:srgbClr val="F26B43"/>
          </p15:clr>
        </p15:guide>
        <p15:guide id="4" orient="horz" pos="4032">
          <p15:clr>
            <a:srgbClr val="F26B43"/>
          </p15:clr>
        </p15:guide>
        <p15:guide id="5" pos="3984">
          <p15:clr>
            <a:srgbClr val="F26B43"/>
          </p15:clr>
        </p15:guide>
        <p15:guide id="6" pos="3696">
          <p15:clr>
            <a:srgbClr val="F26B43"/>
          </p15:clr>
        </p15:guide>
        <p15:guide id="7" pos="5832">
          <p15:clr>
            <a:srgbClr val="F26B43"/>
          </p15:clr>
        </p15:guide>
        <p15:guide id="8" pos="5544">
          <p15:clr>
            <a:srgbClr val="F26B43"/>
          </p15:clr>
        </p15:guide>
        <p15:guide id="9" pos="2136">
          <p15:clr>
            <a:srgbClr val="F26B43"/>
          </p15:clr>
        </p15:guide>
        <p15:guide id="10" pos="1824">
          <p15:clr>
            <a:srgbClr val="F26B43"/>
          </p15:clr>
        </p15:guide>
        <p15:guide id="11" pos="7392">
          <p15:clr>
            <a:srgbClr val="F26B43"/>
          </p15:clr>
        </p15:guide>
        <p15:guide id="12" pos="288">
          <p15:clr>
            <a:srgbClr val="F26B43"/>
          </p15:clr>
        </p15:guide>
        <p15:guide id="13" orient="horz" pos="12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3014"/>
            <a:ext cx="10953750" cy="553998"/>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457200" y="1955800"/>
            <a:ext cx="11277598" cy="4445000"/>
          </a:xfrm>
          <a:prstGeom prst="rect">
            <a:avLst/>
          </a:prstGeom>
        </p:spPr>
        <p:txBody>
          <a:bodyPr vert="horz" lIns="0" tIns="0" rIns="0" bIns="0" rtlCol="0">
            <a:noAutofit/>
          </a:bodyPr>
          <a:lstStyle/>
          <a:p>
            <a:pPr lvl="0"/>
            <a:r>
              <a:rPr lang="en-US"/>
              <a:t>Edit Master text styles: heading</a:t>
            </a:r>
          </a:p>
          <a:p>
            <a:pPr lvl="1"/>
            <a:r>
              <a:rPr lang="en-US"/>
              <a:t>Second level: primary bullet</a:t>
            </a:r>
          </a:p>
          <a:p>
            <a:pPr lvl="2"/>
            <a:r>
              <a:rPr lang="en-US"/>
              <a:t>Third level: primary bullet two</a:t>
            </a:r>
          </a:p>
          <a:p>
            <a:pPr lvl="3"/>
            <a:r>
              <a:rPr lang="en-US"/>
              <a:t>Fourth level : secondary bullet</a:t>
            </a:r>
          </a:p>
          <a:p>
            <a:pPr lvl="4"/>
            <a:r>
              <a:rPr lang="en-US"/>
              <a:t>Fifth level : large stats</a:t>
            </a:r>
          </a:p>
          <a:p>
            <a:pPr lvl="5"/>
            <a:r>
              <a:rPr lang="en-US"/>
              <a:t>Sixth Level: Stat Callout</a:t>
            </a:r>
          </a:p>
          <a:p>
            <a:pPr lvl="6"/>
            <a:r>
              <a:rPr lang="en-US"/>
              <a:t>7: secondary heading</a:t>
            </a:r>
          </a:p>
          <a:p>
            <a:pPr lvl="7"/>
            <a:r>
              <a:rPr lang="en-US"/>
              <a:t>8: secondary subheading</a:t>
            </a:r>
          </a:p>
          <a:p>
            <a:pPr lvl="8"/>
            <a:r>
              <a:rPr lang="en-US"/>
              <a:t>9: secondary bullet body</a:t>
            </a:r>
          </a:p>
        </p:txBody>
      </p:sp>
      <p:grpSp>
        <p:nvGrpSpPr>
          <p:cNvPr id="12" name="Group 11">
            <a:extLst>
              <a:ext uri="{FF2B5EF4-FFF2-40B4-BE49-F238E27FC236}">
                <a16:creationId xmlns:a16="http://schemas.microsoft.com/office/drawing/2014/main" id="{FC91376F-B099-44D5-8DAE-0DAC66F0D8F9}"/>
              </a:ext>
            </a:extLst>
          </p:cNvPr>
          <p:cNvGrpSpPr/>
          <p:nvPr/>
        </p:nvGrpSpPr>
        <p:grpSpPr>
          <a:xfrm>
            <a:off x="11420680" y="457200"/>
            <a:ext cx="323850" cy="324895"/>
            <a:chOff x="11693125" y="130630"/>
            <a:chExt cx="368246" cy="369434"/>
          </a:xfrm>
        </p:grpSpPr>
        <p:sp>
          <p:nvSpPr>
            <p:cNvPr id="13" name="Freeform 5">
              <a:extLst>
                <a:ext uri="{FF2B5EF4-FFF2-40B4-BE49-F238E27FC236}">
                  <a16:creationId xmlns:a16="http://schemas.microsoft.com/office/drawing/2014/main" id="{24711E64-71C2-4823-ACFF-0666A12E153C}"/>
                </a:ext>
              </a:extLst>
            </p:cNvPr>
            <p:cNvSpPr>
              <a:spLocks/>
            </p:cNvSpPr>
            <p:nvPr/>
          </p:nvSpPr>
          <p:spPr bwMode="auto">
            <a:xfrm>
              <a:off x="11693125" y="148448"/>
              <a:ext cx="232233" cy="280342"/>
            </a:xfrm>
            <a:custGeom>
              <a:avLst/>
              <a:gdLst>
                <a:gd name="T0" fmla="*/ 0 w 193"/>
                <a:gd name="T1" fmla="*/ 0 h 233"/>
                <a:gd name="T2" fmla="*/ 0 w 193"/>
                <a:gd name="T3" fmla="*/ 0 h 233"/>
                <a:gd name="T4" fmla="*/ 0 w 193"/>
                <a:gd name="T5" fmla="*/ 233 h 233"/>
                <a:gd name="T6" fmla="*/ 117 w 193"/>
                <a:gd name="T7" fmla="*/ 152 h 233"/>
                <a:gd name="T8" fmla="*/ 193 w 193"/>
                <a:gd name="T9" fmla="*/ 73 h 233"/>
                <a:gd name="T10" fmla="*/ 0 w 193"/>
                <a:gd name="T11" fmla="*/ 0 h 233"/>
              </a:gdLst>
              <a:ahLst/>
              <a:cxnLst>
                <a:cxn ang="0">
                  <a:pos x="T0" y="T1"/>
                </a:cxn>
                <a:cxn ang="0">
                  <a:pos x="T2" y="T3"/>
                </a:cxn>
                <a:cxn ang="0">
                  <a:pos x="T4" y="T5"/>
                </a:cxn>
                <a:cxn ang="0">
                  <a:pos x="T6" y="T7"/>
                </a:cxn>
                <a:cxn ang="0">
                  <a:pos x="T8" y="T9"/>
                </a:cxn>
                <a:cxn ang="0">
                  <a:pos x="T10" y="T11"/>
                </a:cxn>
              </a:cxnLst>
              <a:rect l="0" t="0" r="r" b="b"/>
              <a:pathLst>
                <a:path w="193" h="233">
                  <a:moveTo>
                    <a:pt x="0" y="0"/>
                  </a:moveTo>
                  <a:cubicBezTo>
                    <a:pt x="0" y="0"/>
                    <a:pt x="0" y="0"/>
                    <a:pt x="0" y="0"/>
                  </a:cubicBezTo>
                  <a:cubicBezTo>
                    <a:pt x="0" y="233"/>
                    <a:pt x="0" y="233"/>
                    <a:pt x="0" y="233"/>
                  </a:cubicBezTo>
                  <a:cubicBezTo>
                    <a:pt x="0" y="233"/>
                    <a:pt x="65" y="195"/>
                    <a:pt x="117" y="152"/>
                  </a:cubicBezTo>
                  <a:cubicBezTo>
                    <a:pt x="170" y="109"/>
                    <a:pt x="193" y="73"/>
                    <a:pt x="193" y="73"/>
                  </a:cubicBezTo>
                  <a:cubicBezTo>
                    <a:pt x="142" y="28"/>
                    <a:pt x="74" y="0"/>
                    <a:pt x="0" y="0"/>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D8150610-1264-43DE-9B2B-307A6E02A73C}"/>
                </a:ext>
              </a:extLst>
            </p:cNvPr>
            <p:cNvSpPr>
              <a:spLocks/>
            </p:cNvSpPr>
            <p:nvPr/>
          </p:nvSpPr>
          <p:spPr bwMode="auto">
            <a:xfrm>
              <a:off x="11810132" y="130630"/>
              <a:ext cx="251239" cy="251239"/>
            </a:xfrm>
            <a:custGeom>
              <a:avLst/>
              <a:gdLst>
                <a:gd name="T0" fmla="*/ 0 w 209"/>
                <a:gd name="T1" fmla="*/ 0 h 209"/>
                <a:gd name="T2" fmla="*/ 209 w 209"/>
                <a:gd name="T3" fmla="*/ 209 h 209"/>
                <a:gd name="T4" fmla="*/ 209 w 209"/>
                <a:gd name="T5" fmla="*/ 0 h 209"/>
                <a:gd name="T6" fmla="*/ 0 w 209"/>
                <a:gd name="T7" fmla="*/ 0 h 209"/>
              </a:gdLst>
              <a:ahLst/>
              <a:cxnLst>
                <a:cxn ang="0">
                  <a:pos x="T0" y="T1"/>
                </a:cxn>
                <a:cxn ang="0">
                  <a:pos x="T2" y="T3"/>
                </a:cxn>
                <a:cxn ang="0">
                  <a:pos x="T4" y="T5"/>
                </a:cxn>
                <a:cxn ang="0">
                  <a:pos x="T6" y="T7"/>
                </a:cxn>
              </a:cxnLst>
              <a:rect l="0" t="0" r="r" b="b"/>
              <a:pathLst>
                <a:path w="209" h="209">
                  <a:moveTo>
                    <a:pt x="0" y="0"/>
                  </a:moveTo>
                  <a:cubicBezTo>
                    <a:pt x="99" y="31"/>
                    <a:pt x="178" y="110"/>
                    <a:pt x="209" y="209"/>
                  </a:cubicBezTo>
                  <a:cubicBezTo>
                    <a:pt x="209" y="0"/>
                    <a:pt x="209" y="0"/>
                    <a:pt x="209" y="0"/>
                  </a:cubicBezTo>
                  <a:lnTo>
                    <a:pt x="0" y="0"/>
                  </a:ln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68522D88-7411-473F-A84A-01C1D4B410BE}"/>
                </a:ext>
              </a:extLst>
            </p:cNvPr>
            <p:cNvSpPr>
              <a:spLocks/>
            </p:cNvSpPr>
            <p:nvPr/>
          </p:nvSpPr>
          <p:spPr bwMode="auto">
            <a:xfrm>
              <a:off x="11762617" y="266643"/>
              <a:ext cx="280936" cy="233421"/>
            </a:xfrm>
            <a:custGeom>
              <a:avLst/>
              <a:gdLst>
                <a:gd name="T0" fmla="*/ 233 w 233"/>
                <a:gd name="T1" fmla="*/ 194 h 194"/>
                <a:gd name="T2" fmla="*/ 233 w 233"/>
                <a:gd name="T3" fmla="*/ 194 h 194"/>
                <a:gd name="T4" fmla="*/ 0 w 233"/>
                <a:gd name="T5" fmla="*/ 194 h 194"/>
                <a:gd name="T6" fmla="*/ 81 w 233"/>
                <a:gd name="T7" fmla="*/ 76 h 194"/>
                <a:gd name="T8" fmla="*/ 160 w 233"/>
                <a:gd name="T9" fmla="*/ 0 h 194"/>
                <a:gd name="T10" fmla="*/ 233 w 233"/>
                <a:gd name="T11" fmla="*/ 194 h 194"/>
              </a:gdLst>
              <a:ahLst/>
              <a:cxnLst>
                <a:cxn ang="0">
                  <a:pos x="T0" y="T1"/>
                </a:cxn>
                <a:cxn ang="0">
                  <a:pos x="T2" y="T3"/>
                </a:cxn>
                <a:cxn ang="0">
                  <a:pos x="T4" y="T5"/>
                </a:cxn>
                <a:cxn ang="0">
                  <a:pos x="T6" y="T7"/>
                </a:cxn>
                <a:cxn ang="0">
                  <a:pos x="T8" y="T9"/>
                </a:cxn>
                <a:cxn ang="0">
                  <a:pos x="T10" y="T11"/>
                </a:cxn>
              </a:cxnLst>
              <a:rect l="0" t="0" r="r" b="b"/>
              <a:pathLst>
                <a:path w="233" h="194">
                  <a:moveTo>
                    <a:pt x="233" y="194"/>
                  </a:moveTo>
                  <a:cubicBezTo>
                    <a:pt x="233" y="194"/>
                    <a:pt x="233" y="194"/>
                    <a:pt x="233" y="194"/>
                  </a:cubicBezTo>
                  <a:cubicBezTo>
                    <a:pt x="0" y="194"/>
                    <a:pt x="0" y="194"/>
                    <a:pt x="0" y="194"/>
                  </a:cubicBezTo>
                  <a:cubicBezTo>
                    <a:pt x="0" y="194"/>
                    <a:pt x="38" y="128"/>
                    <a:pt x="81" y="76"/>
                  </a:cubicBezTo>
                  <a:cubicBezTo>
                    <a:pt x="124" y="24"/>
                    <a:pt x="160" y="0"/>
                    <a:pt x="160" y="0"/>
                  </a:cubicBezTo>
                  <a:cubicBezTo>
                    <a:pt x="206" y="51"/>
                    <a:pt x="233" y="119"/>
                    <a:pt x="233" y="194"/>
                  </a:cubicBezTo>
                  <a:close/>
                </a:path>
              </a:pathLst>
            </a:custGeom>
            <a:solidFill>
              <a:schemeClr val="tx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Slide Number Placeholder 7">
            <a:extLst>
              <a:ext uri="{FF2B5EF4-FFF2-40B4-BE49-F238E27FC236}">
                <a16:creationId xmlns:a16="http://schemas.microsoft.com/office/drawing/2014/main" id="{B163D734-1936-48F8-A1BB-C973D675E191}"/>
              </a:ext>
            </a:extLst>
          </p:cNvPr>
          <p:cNvSpPr>
            <a:spLocks noGrp="1"/>
          </p:cNvSpPr>
          <p:nvPr>
            <p:ph type="sldNum" sz="quarter" idx="4"/>
          </p:nvPr>
        </p:nvSpPr>
        <p:spPr>
          <a:xfrm>
            <a:off x="11360150" y="6356350"/>
            <a:ext cx="384380" cy="365125"/>
          </a:xfrm>
          <a:prstGeom prst="rect">
            <a:avLst/>
          </a:prstGeom>
        </p:spPr>
        <p:txBody>
          <a:bodyPr vert="horz" lIns="91440" tIns="45720" rIns="0" bIns="45720" rtlCol="0" anchor="ctr"/>
          <a:lstStyle>
            <a:lvl1pPr algn="r">
              <a:defRPr sz="900">
                <a:solidFill>
                  <a:schemeClr val="bg2"/>
                </a:solidFill>
              </a:defRPr>
            </a:lvl1pPr>
          </a:lstStyle>
          <a:p>
            <a:fld id="{54939E03-9150-4A70-B4B2-A2AFB6334D4D}" type="slidenum">
              <a:rPr lang="en-SG" smtClean="0"/>
              <a:t>‹#›</a:t>
            </a:fld>
            <a:endParaRPr lang="en-SG"/>
          </a:p>
        </p:txBody>
      </p:sp>
    </p:spTree>
    <p:extLst>
      <p:ext uri="{BB962C8B-B14F-4D97-AF65-F5344CB8AC3E}">
        <p14:creationId xmlns:p14="http://schemas.microsoft.com/office/powerpoint/2010/main" val="2137991660"/>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2" r:id="rId24"/>
    <p:sldLayoutId id="2147483933" r:id="rId25"/>
    <p:sldLayoutId id="2147483934" r:id="rId26"/>
    <p:sldLayoutId id="2147483935" r:id="rId27"/>
    <p:sldLayoutId id="2147483936" r:id="rId28"/>
    <p:sldLayoutId id="2147483937" r:id="rId29"/>
    <p:sldLayoutId id="2147483938" r:id="rId30"/>
    <p:sldLayoutId id="2147483939" r:id="rId31"/>
    <p:sldLayoutId id="2147483940" r:id="rId32"/>
    <p:sldLayoutId id="2147483941" r:id="rId33"/>
    <p:sldLayoutId id="2147483942" r:id="rId34"/>
    <p:sldLayoutId id="2147483943" r:id="rId35"/>
    <p:sldLayoutId id="2147483944" r:id="rId36"/>
    <p:sldLayoutId id="2147483945" r:id="rId37"/>
    <p:sldLayoutId id="2147483946" r:id="rId38"/>
    <p:sldLayoutId id="2147483947" r:id="rId39"/>
    <p:sldLayoutId id="2147483948" r:id="rId40"/>
    <p:sldLayoutId id="2147483949" r:id="rId41"/>
    <p:sldLayoutId id="2147483950" r:id="rId42"/>
    <p:sldLayoutId id="2147483951" r:id="rId43"/>
    <p:sldLayoutId id="2147483952" r:id="rId44"/>
    <p:sldLayoutId id="2147483953" r:id="rId45"/>
    <p:sldLayoutId id="2147483954" r:id="rId46"/>
    <p:sldLayoutId id="2147483955" r:id="rId47"/>
    <p:sldLayoutId id="2147483956" r:id="rId48"/>
    <p:sldLayoutId id="2147483957" r:id="rId49"/>
    <p:sldLayoutId id="2147483958" r:id="rId50"/>
  </p:sldLayoutIdLst>
  <p:txStyles>
    <p:titleStyle>
      <a:lvl1pPr algn="l" defTabSz="914400" rtl="0" eaLnBrk="1" latinLnBrk="0" hangingPunct="1">
        <a:lnSpc>
          <a:spcPct val="90000"/>
        </a:lnSpc>
        <a:spcBef>
          <a:spcPct val="0"/>
        </a:spcBef>
        <a:buNone/>
        <a:defRPr sz="4000" kern="1200">
          <a:ln w="3175">
            <a:noFill/>
          </a:ln>
          <a:solidFill>
            <a:schemeClr val="accent1"/>
          </a:solidFill>
          <a:latin typeface="+mj-lt"/>
          <a:ea typeface="+mj-ea"/>
          <a:cs typeface="+mj-cs"/>
        </a:defRPr>
      </a:lvl1pPr>
    </p:titleStyle>
    <p:bodyStyle>
      <a:lvl1pPr marL="0" indent="0" algn="l" defTabSz="914400" rtl="0" eaLnBrk="1" latinLnBrk="0" hangingPunct="1">
        <a:lnSpc>
          <a:spcPct val="90000"/>
        </a:lnSpc>
        <a:spcBef>
          <a:spcPts val="1800"/>
        </a:spcBef>
        <a:spcAft>
          <a:spcPts val="200"/>
        </a:spcAft>
        <a:buFont typeface="Arial" panose="020B0604020202020204" pitchFamily="34" charset="0"/>
        <a:buChar char="​"/>
        <a:defRPr sz="1800" b="1"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800"/>
        </a:spcAft>
        <a:buFont typeface="CiscoSansTT ExtraLight" panose="020B0303020201020303" pitchFamily="34" charset="0"/>
        <a:buChar char="​"/>
        <a:defRPr sz="1800" kern="1200">
          <a:solidFill>
            <a:schemeClr val="tx1"/>
          </a:solidFill>
          <a:latin typeface="+mn-lt"/>
          <a:ea typeface="+mn-ea"/>
          <a:cs typeface="+mn-cs"/>
        </a:defRPr>
      </a:lvl2pPr>
      <a:lvl3pPr marL="228600" indent="-228600" algn="l" defTabSz="914400" rtl="0" eaLnBrk="1" latinLnBrk="0" hangingPunct="1">
        <a:lnSpc>
          <a:spcPct val="90000"/>
        </a:lnSpc>
        <a:spcBef>
          <a:spcPts val="600"/>
        </a:spcBef>
        <a:spcAft>
          <a:spcPts val="600"/>
        </a:spcAft>
        <a:buFont typeface="Arial" panose="020B0604020202020204" pitchFamily="34" charset="0"/>
        <a:buChar char="•"/>
        <a:defRPr sz="1600" kern="1200">
          <a:solidFill>
            <a:schemeClr val="tx1"/>
          </a:solidFill>
          <a:latin typeface="+mn-lt"/>
          <a:ea typeface="+mn-ea"/>
          <a:cs typeface="+mn-cs"/>
        </a:defRPr>
      </a:lvl3pPr>
      <a:lvl4pPr marL="514350" indent="-228600" algn="l" defTabSz="914400" rtl="0" eaLnBrk="1" latinLnBrk="0" hangingPunct="1">
        <a:lnSpc>
          <a:spcPct val="90000"/>
        </a:lnSpc>
        <a:spcBef>
          <a:spcPts val="600"/>
        </a:spcBef>
        <a:spcAft>
          <a:spcPts val="0"/>
        </a:spcAft>
        <a:buFont typeface="Arial" panose="020B0604020202020204" pitchFamily="34" charset="0"/>
        <a:buChar char="–"/>
        <a:defRPr sz="1400" b="0" kern="1200" spc="0">
          <a:solidFill>
            <a:schemeClr val="bg2">
              <a:lumMod val="75000"/>
            </a:schemeClr>
          </a:solidFill>
          <a:latin typeface="+mn-lt"/>
          <a:ea typeface="+mn-ea"/>
          <a:cs typeface="+mn-cs"/>
        </a:defRPr>
      </a:lvl4pPr>
      <a:lvl5pPr marL="0" indent="0" algn="l" defTabSz="914400" rtl="0" eaLnBrk="1" latinLnBrk="0" hangingPunct="1">
        <a:lnSpc>
          <a:spcPct val="85000"/>
        </a:lnSpc>
        <a:spcBef>
          <a:spcPts val="1800"/>
        </a:spcBef>
        <a:spcAft>
          <a:spcPts val="0"/>
        </a:spcAft>
        <a:buFont typeface="Arial" panose="020B0604020202020204" pitchFamily="34" charset="0"/>
        <a:buChar char="​"/>
        <a:defRPr sz="4400" b="1" kern="1200" spc="-150">
          <a:solidFill>
            <a:schemeClr val="accent1"/>
          </a:solidFill>
          <a:latin typeface="+mn-lt"/>
          <a:ea typeface="+mn-ea"/>
          <a:cs typeface="+mn-cs"/>
        </a:defRPr>
      </a:lvl5pPr>
      <a:lvl6pPr marL="0" indent="0" algn="l" defTabSz="914400" rtl="0" eaLnBrk="1" latinLnBrk="0" hangingPunct="1">
        <a:lnSpc>
          <a:spcPct val="90000"/>
        </a:lnSpc>
        <a:spcBef>
          <a:spcPts val="1200"/>
        </a:spcBef>
        <a:spcAft>
          <a:spcPts val="600"/>
        </a:spcAft>
        <a:buFont typeface="Arial" panose="020B0604020202020204" pitchFamily="34" charset="0"/>
        <a:buChar char="​"/>
        <a:defRPr sz="1600" b="1" kern="1200" spc="-50" baseline="0">
          <a:solidFill>
            <a:schemeClr val="tx2"/>
          </a:solidFill>
          <a:latin typeface="+mn-lt"/>
          <a:ea typeface="+mn-ea"/>
          <a:cs typeface="+mn-cs"/>
        </a:defRPr>
      </a:lvl6pPr>
      <a:lvl7pPr marL="0" indent="0" algn="l" defTabSz="914400" rtl="0" eaLnBrk="1" latinLnBrk="0" hangingPunct="1">
        <a:lnSpc>
          <a:spcPct val="100000"/>
        </a:lnSpc>
        <a:spcBef>
          <a:spcPts val="1200"/>
        </a:spcBef>
        <a:spcAft>
          <a:spcPts val="0"/>
        </a:spcAft>
        <a:buFont typeface="Arial" panose="020B0604020202020204" pitchFamily="34" charset="0"/>
        <a:buChar char="​"/>
        <a:defRPr sz="1600" b="1" kern="1200">
          <a:solidFill>
            <a:schemeClr val="accent1"/>
          </a:solidFill>
          <a:latin typeface="+mn-lt"/>
          <a:ea typeface="+mn-ea"/>
          <a:cs typeface="+mn-cs"/>
        </a:defRPr>
      </a:lvl7pPr>
      <a:lvl8pPr marL="0" indent="0" algn="l" defTabSz="914400" rtl="0" eaLnBrk="1" latinLnBrk="0" hangingPunct="1">
        <a:lnSpc>
          <a:spcPct val="110000"/>
        </a:lnSpc>
        <a:spcBef>
          <a:spcPts val="600"/>
        </a:spcBef>
        <a:spcAft>
          <a:spcPts val="200"/>
        </a:spcAft>
        <a:buFont typeface="Arial" panose="020B0604020202020204" pitchFamily="34" charset="0"/>
        <a:buChar char="​"/>
        <a:defRPr sz="1400" kern="1200">
          <a:solidFill>
            <a:schemeClr val="tx1"/>
          </a:solidFill>
          <a:latin typeface="+mn-lt"/>
          <a:ea typeface="+mn-ea"/>
          <a:cs typeface="+mn-cs"/>
        </a:defRPr>
      </a:lvl8pPr>
      <a:lvl9pPr marL="115888" indent="-115888" algn="l" defTabSz="914400" rtl="0" eaLnBrk="1" latinLnBrk="0" hangingPunct="1">
        <a:lnSpc>
          <a:spcPct val="90000"/>
        </a:lnSpc>
        <a:spcBef>
          <a:spcPts val="800"/>
        </a:spcBef>
        <a:spcAft>
          <a:spcPts val="200"/>
        </a:spcAft>
        <a:buFont typeface="Arial" panose="020B0604020202020204" pitchFamily="34" charset="0"/>
        <a:buChar char="•"/>
        <a:defRPr sz="1200" kern="1200">
          <a:solidFill>
            <a:schemeClr val="bg2">
              <a:lumMod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288">
          <p15:clr>
            <a:srgbClr val="F26B43"/>
          </p15:clr>
        </p15:guide>
        <p15:guide id="4" orient="horz" pos="4032">
          <p15:clr>
            <a:srgbClr val="F26B43"/>
          </p15:clr>
        </p15:guide>
        <p15:guide id="5" pos="3984">
          <p15:clr>
            <a:srgbClr val="F26B43"/>
          </p15:clr>
        </p15:guide>
        <p15:guide id="6" pos="3696">
          <p15:clr>
            <a:srgbClr val="F26B43"/>
          </p15:clr>
        </p15:guide>
        <p15:guide id="7" pos="5832">
          <p15:clr>
            <a:srgbClr val="F26B43"/>
          </p15:clr>
        </p15:guide>
        <p15:guide id="8" pos="5544">
          <p15:clr>
            <a:srgbClr val="F26B43"/>
          </p15:clr>
        </p15:guide>
        <p15:guide id="9" pos="2136">
          <p15:clr>
            <a:srgbClr val="F26B43"/>
          </p15:clr>
        </p15:guide>
        <p15:guide id="10" pos="1824">
          <p15:clr>
            <a:srgbClr val="F26B43"/>
          </p15:clr>
        </p15:guide>
        <p15:guide id="11" pos="7392">
          <p15:clr>
            <a:srgbClr val="F26B43"/>
          </p15:clr>
        </p15:guide>
        <p15:guide id="12" pos="288">
          <p15:clr>
            <a:srgbClr val="F26B43"/>
          </p15:clr>
        </p15:guide>
        <p15:guide id="13" orient="horz" pos="12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F8F8F8"/>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ctrTitle"/>
          </p:nvPr>
        </p:nvSpPr>
        <p:spPr>
          <a:xfrm>
            <a:off x="457199" y="3501736"/>
            <a:ext cx="9059779" cy="1477328"/>
          </a:xfrm>
        </p:spPr>
        <p:txBody>
          <a:bodyPr/>
          <a:lstStyle/>
          <a:p>
            <a:br>
              <a:rPr lang="en-US" sz="4800" b="1" dirty="0"/>
            </a:br>
            <a:br>
              <a:rPr lang="en-US" sz="4800" b="1" dirty="0"/>
            </a:br>
            <a:r>
              <a:rPr lang="en-US" altLang="zh-CN" sz="2400" dirty="0"/>
              <a:t>By </a:t>
            </a:r>
            <a:endParaRPr lang="en-US" sz="2400" dirty="0"/>
          </a:p>
        </p:txBody>
      </p:sp>
      <p:sp>
        <p:nvSpPr>
          <p:cNvPr id="3" name="Text Placeholder 2"/>
          <p:cNvSpPr>
            <a:spLocks noGrp="1"/>
          </p:cNvSpPr>
          <p:nvPr>
            <p:ph type="body" sz="quarter" idx="10"/>
          </p:nvPr>
        </p:nvSpPr>
        <p:spPr>
          <a:xfrm>
            <a:off x="457200" y="5049170"/>
            <a:ext cx="6724650" cy="684290"/>
          </a:xfrm>
        </p:spPr>
        <p:txBody>
          <a:bodyPr/>
          <a:lstStyle/>
          <a:p>
            <a:pPr>
              <a:buNone/>
            </a:pPr>
            <a:endParaRPr lang="en-US" b="0" dirty="0"/>
          </a:p>
          <a:p>
            <a:pPr>
              <a:buNone/>
            </a:pPr>
            <a:r>
              <a:rPr lang="en-US" sz="1800" b="0" dirty="0"/>
              <a:t>oct 2021</a:t>
            </a:r>
          </a:p>
        </p:txBody>
      </p:sp>
    </p:spTree>
    <p:extLst>
      <p:ext uri="{BB962C8B-B14F-4D97-AF65-F5344CB8AC3E}">
        <p14:creationId xmlns:p14="http://schemas.microsoft.com/office/powerpoint/2010/main" val="4273025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9044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2t.C3e1QGa2jZqi9BMtRA"/>
</p:tagLst>
</file>

<file path=ppt/theme/theme1.xml><?xml version="1.0" encoding="utf-8"?>
<a:theme xmlns:a="http://schemas.openxmlformats.org/drawingml/2006/main" name="2_2018 Trustwave Corporate Template">
  <a:themeElements>
    <a:clrScheme name="Trustwave 2018">
      <a:dk1>
        <a:srgbClr val="000000"/>
      </a:dk1>
      <a:lt1>
        <a:srgbClr val="F8F8F8"/>
      </a:lt1>
      <a:dk2>
        <a:srgbClr val="1D3444"/>
      </a:dk2>
      <a:lt2>
        <a:srgbClr val="C0C2C4"/>
      </a:lt2>
      <a:accent1>
        <a:srgbClr val="ED1A3D"/>
      </a:accent1>
      <a:accent2>
        <a:srgbClr val="B10C2A"/>
      </a:accent2>
      <a:accent3>
        <a:srgbClr val="006F91"/>
      </a:accent3>
      <a:accent4>
        <a:srgbClr val="0096B3"/>
      </a:accent4>
      <a:accent5>
        <a:srgbClr val="ABD8DC"/>
      </a:accent5>
      <a:accent6>
        <a:srgbClr val="EBE013"/>
      </a:accent6>
      <a:hlink>
        <a:srgbClr val="00B9E3"/>
      </a:hlink>
      <a:folHlink>
        <a:srgbClr val="C0C2C4"/>
      </a:folHlink>
    </a:clrScheme>
    <a:fontScheme name="Custom 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bg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2018 Trustwave Corporate Template">
  <a:themeElements>
    <a:clrScheme name="Trustwave 2018">
      <a:dk1>
        <a:srgbClr val="000000"/>
      </a:dk1>
      <a:lt1>
        <a:srgbClr val="F8F8F8"/>
      </a:lt1>
      <a:dk2>
        <a:srgbClr val="1D3444"/>
      </a:dk2>
      <a:lt2>
        <a:srgbClr val="C0C2C4"/>
      </a:lt2>
      <a:accent1>
        <a:srgbClr val="ED1A3D"/>
      </a:accent1>
      <a:accent2>
        <a:srgbClr val="B10C2A"/>
      </a:accent2>
      <a:accent3>
        <a:srgbClr val="006F91"/>
      </a:accent3>
      <a:accent4>
        <a:srgbClr val="0096B3"/>
      </a:accent4>
      <a:accent5>
        <a:srgbClr val="ABD8DC"/>
      </a:accent5>
      <a:accent6>
        <a:srgbClr val="EBE013"/>
      </a:accent6>
      <a:hlink>
        <a:srgbClr val="00B9E3"/>
      </a:hlink>
      <a:folHlink>
        <a:srgbClr val="C0C2C4"/>
      </a:folHlink>
    </a:clrScheme>
    <a:fontScheme name="Custom 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bg2"/>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83451952540FE4A82BF3E05A0285443" ma:contentTypeVersion="12" ma:contentTypeDescription="Create a new document." ma:contentTypeScope="" ma:versionID="84004746525ca112d62fb195de1cea48">
  <xsd:schema xmlns:xsd="http://www.w3.org/2001/XMLSchema" xmlns:xs="http://www.w3.org/2001/XMLSchema" xmlns:p="http://schemas.microsoft.com/office/2006/metadata/properties" xmlns:ns3="4563a12d-1ffd-45bb-bbbb-49d763be5f80" xmlns:ns4="5e83aa4e-1619-44b8-9c22-c5f688f66e29" targetNamespace="http://schemas.microsoft.com/office/2006/metadata/properties" ma:root="true" ma:fieldsID="3fe4e09e577eedf57ef7197cc3bb1944" ns3:_="" ns4:_="">
    <xsd:import namespace="4563a12d-1ffd-45bb-bbbb-49d763be5f80"/>
    <xsd:import namespace="5e83aa4e-1619-44b8-9c22-c5f688f66e2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63a12d-1ffd-45bb-bbbb-49d763be5f8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83aa4e-1619-44b8-9c22-c5f688f66e2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F07A57-92F2-4D75-8047-BAC07BF8C1BF}">
  <ds:schemaRefs>
    <ds:schemaRef ds:uri="http://schemas.openxmlformats.org/package/2006/metadata/core-properties"/>
    <ds:schemaRef ds:uri="5e83aa4e-1619-44b8-9c22-c5f688f66e29"/>
    <ds:schemaRef ds:uri="http://purl.org/dc/elements/1.1/"/>
    <ds:schemaRef ds:uri="http://purl.org/dc/dcmitype/"/>
    <ds:schemaRef ds:uri="http://schemas.microsoft.com/office/infopath/2007/PartnerControls"/>
    <ds:schemaRef ds:uri="http://www.w3.org/XML/1998/namespace"/>
    <ds:schemaRef ds:uri="http://schemas.microsoft.com/office/2006/documentManagement/types"/>
    <ds:schemaRef ds:uri="4563a12d-1ffd-45bb-bbbb-49d763be5f80"/>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5B863DF0-9FA5-48FA-B234-5B0C63B6DA19}">
  <ds:schemaRefs>
    <ds:schemaRef ds:uri="http://schemas.microsoft.com/sharepoint/v3/contenttype/forms"/>
  </ds:schemaRefs>
</ds:datastoreItem>
</file>

<file path=customXml/itemProps3.xml><?xml version="1.0" encoding="utf-8"?>
<ds:datastoreItem xmlns:ds="http://schemas.openxmlformats.org/officeDocument/2006/customXml" ds:itemID="{3688B75A-F188-4789-BAA4-3AB7AF19A43B}">
  <ds:schemaRefs>
    <ds:schemaRef ds:uri="4563a12d-1ffd-45bb-bbbb-49d763be5f80"/>
    <ds:schemaRef ds:uri="5e83aa4e-1619-44b8-9c22-c5f688f66e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1</TotalTime>
  <Words>6</Words>
  <Application>Microsoft Office PowerPoint</Application>
  <PresentationFormat>Widescreen</PresentationFormat>
  <Paragraphs>4</Paragraphs>
  <Slides>2</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9" baseType="lpstr">
      <vt:lpstr>CiscoSansTT ExtraLight</vt:lpstr>
      <vt:lpstr>Arial</vt:lpstr>
      <vt:lpstr>Calibri</vt:lpstr>
      <vt:lpstr>Century Gothic</vt:lpstr>
      <vt:lpstr>2_2018 Trustwave Corporate Template</vt:lpstr>
      <vt:lpstr>1_2018 Trustwave Corporate Template</vt:lpstr>
      <vt:lpstr>think-cell Slide</vt:lpstr>
      <vt:lpstr>  By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ranus QS-VPN Andriod Client</dc:title>
  <dc:creator>Peter Goi Lim Ping</dc:creator>
  <cp:lastModifiedBy>Liu yuancheng</cp:lastModifiedBy>
  <cp:revision>54</cp:revision>
  <dcterms:created xsi:type="dcterms:W3CDTF">2021-01-18T07:03:27Z</dcterms:created>
  <dcterms:modified xsi:type="dcterms:W3CDTF">2021-10-20T03:1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3451952540FE4A82BF3E05A0285443</vt:lpwstr>
  </property>
</Properties>
</file>